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3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14.xml" ContentType="application/vnd.openxmlformats-officedocument.presentationml.tags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15.xml" ContentType="application/vnd.openxmlformats-officedocument.presentationml.tags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tags/tag16.xml" ContentType="application/vnd.openxmlformats-officedocument.presentationml.tags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tags/tag17.xml" ContentType="application/vnd.openxmlformats-officedocument.presentationml.tags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tags/tag18.xml" ContentType="application/vnd.openxmlformats-officedocument.presentationml.tags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tags/tag22.xml" ContentType="application/vnd.openxmlformats-officedocument.presentationml.tags+xml"/>
  <Override PartName="/ppt/charts/chart57.xml" ContentType="application/vnd.openxmlformats-officedocument.drawingml.chart+xml"/>
  <Override PartName="/ppt/theme/themeOverride1.xml" ContentType="application/vnd.openxmlformats-officedocument.themeOverride+xml"/>
  <Override PartName="/ppt/charts/chart58.xml" ContentType="application/vnd.openxmlformats-officedocument.drawingml.chart+xml"/>
  <Override PartName="/ppt/theme/themeOverride2.xml" ContentType="application/vnd.openxmlformats-officedocument.themeOverride+xml"/>
  <Override PartName="/ppt/charts/chart59.xml" ContentType="application/vnd.openxmlformats-officedocument.drawingml.chart+xml"/>
  <Override PartName="/ppt/theme/themeOverride3.xml" ContentType="application/vnd.openxmlformats-officedocument.themeOverride+xml"/>
  <Override PartName="/ppt/charts/chart60.xml" ContentType="application/vnd.openxmlformats-officedocument.drawingml.chart+xml"/>
  <Override PartName="/ppt/theme/themeOverride4.xml" ContentType="application/vnd.openxmlformats-officedocument.themeOverride+xml"/>
  <Override PartName="/ppt/charts/chart61.xml" ContentType="application/vnd.openxmlformats-officedocument.drawingml.chart+xml"/>
  <Override PartName="/ppt/theme/themeOverride5.xml" ContentType="application/vnd.openxmlformats-officedocument.themeOverride+xml"/>
  <Override PartName="/ppt/charts/chart62.xml" ContentType="application/vnd.openxmlformats-officedocument.drawingml.chart+xml"/>
  <Override PartName="/ppt/theme/themeOverride6.xml" ContentType="application/vnd.openxmlformats-officedocument.themeOverride+xml"/>
  <Override PartName="/ppt/charts/chart6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7.xml" ContentType="application/vnd.openxmlformats-officedocument.themeOverride+xml"/>
  <Override PartName="/ppt/charts/chart6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8.xml" ContentType="application/vnd.openxmlformats-officedocument.themeOverride+xml"/>
  <Override PartName="/ppt/charts/chart6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9.xml" ContentType="application/vnd.openxmlformats-officedocument.themeOverride+xml"/>
  <Override PartName="/ppt/charts/chart6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0.xml" ContentType="application/vnd.openxmlformats-officedocument.themeOverride+xml"/>
  <Override PartName="/ppt/tags/tag23.xml" ContentType="application/vnd.openxmlformats-officedocument.presentationml.tags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charts/chart71.xml" ContentType="application/vnd.openxmlformats-officedocument.drawingml.chart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2.xml" ContentType="application/vnd.openxmlformats-officedocument.drawingml.chart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charts/chart77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78.xml" ContentType="application/vnd.openxmlformats-officedocument.drawingml.chart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charts/chart83.xml" ContentType="application/vnd.openxmlformats-officedocument.drawingml.chart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85.xml" ContentType="application/vnd.openxmlformats-officedocument.drawingml.chart+xml"/>
  <Override PartName="/ppt/charts/chart86.xml" ContentType="application/vnd.openxmlformats-officedocument.drawingml.chart+xml"/>
  <Override PartName="/ppt/charts/chart87.xml" ContentType="application/vnd.openxmlformats-officedocument.drawingml.chart+xml"/>
  <Override PartName="/ppt/charts/chart88.xml" ContentType="application/vnd.openxmlformats-officedocument.drawingml.chart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charts/chart93.xml" ContentType="application/vnd.openxmlformats-officedocument.drawingml.chart+xml"/>
  <Override PartName="/ppt/charts/chart94.xml" ContentType="application/vnd.openxmlformats-officedocument.drawingml.chart+xml"/>
  <Override PartName="/ppt/charts/chart95.xml" ContentType="application/vnd.openxmlformats-officedocument.drawingml.chart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96.xml" ContentType="application/vnd.openxmlformats-officedocument.drawingml.chart+xml"/>
  <Override PartName="/ppt/charts/chart97.xml" ContentType="application/vnd.openxmlformats-officedocument.drawingml.chart+xml"/>
  <Override PartName="/ppt/charts/chart98.xml" ContentType="application/vnd.openxmlformats-officedocument.drawingml.chart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01.xml" ContentType="application/vnd.openxmlformats-officedocument.drawingml.chart+xml"/>
  <Override PartName="/ppt/charts/chart102.xml" ContentType="application/vnd.openxmlformats-officedocument.drawingml.chart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charts/chart105.xml" ContentType="application/vnd.openxmlformats-officedocument.drawingml.chart+xml"/>
  <Override PartName="/ppt/charts/chart106.xml" ContentType="application/vnd.openxmlformats-officedocument.drawingml.chart+xml"/>
  <Override PartName="/ppt/tags/tag35.xml" ContentType="application/vnd.openxmlformats-officedocument.presentationml.tags+xml"/>
  <Override PartName="/ppt/charts/chart107.xml" ContentType="application/vnd.openxmlformats-officedocument.drawingml.chart+xml"/>
  <Override PartName="/ppt/charts/chart108.xml" ContentType="application/vnd.openxmlformats-officedocument.drawingml.chart+xml"/>
  <Override PartName="/ppt/charts/chart109.xml" ContentType="application/vnd.openxmlformats-officedocument.drawingml.chart+xml"/>
  <Override PartName="/ppt/charts/chart110.xml" ContentType="application/vnd.openxmlformats-officedocument.drawingml.chart+xml"/>
  <Override PartName="/ppt/charts/chart111.xml" ContentType="application/vnd.openxmlformats-officedocument.drawingml.chart+xml"/>
  <Override PartName="/ppt/tags/tag36.xml" ContentType="application/vnd.openxmlformats-officedocument.presentationml.tags+xml"/>
  <Override PartName="/ppt/charts/chart112.xml" ContentType="application/vnd.openxmlformats-officedocument.drawingml.chart+xml"/>
  <Override PartName="/ppt/charts/chart113.xml" ContentType="application/vnd.openxmlformats-officedocument.drawingml.chart+xml"/>
  <Override PartName="/ppt/charts/chart114.xml" ContentType="application/vnd.openxmlformats-officedocument.drawingml.chart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charts/chart117.xml" ContentType="application/vnd.openxmlformats-officedocument.drawingml.chart+xml"/>
  <Override PartName="/ppt/charts/chart11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1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2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2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7.xml" ContentType="application/vnd.openxmlformats-officedocument.presentationml.tags+xml"/>
  <Override PartName="/ppt/charts/chart122.xml" ContentType="application/vnd.openxmlformats-officedocument.drawingml.chart+xml"/>
  <Override PartName="/ppt/charts/chart123.xml" ContentType="application/vnd.openxmlformats-officedocument.drawingml.chart+xml"/>
  <Override PartName="/ppt/charts/chart124.xml" ContentType="application/vnd.openxmlformats-officedocument.drawingml.chart+xml"/>
  <Override PartName="/ppt/charts/chart125.xml" ContentType="application/vnd.openxmlformats-officedocument.drawingml.chart+xml"/>
  <Override PartName="/ppt/charts/chart126.xml" ContentType="application/vnd.openxmlformats-officedocument.drawingml.chart+xml"/>
  <Override PartName="/ppt/charts/chart127.xml" ContentType="application/vnd.openxmlformats-officedocument.drawingml.chart+xml"/>
  <Override PartName="/ppt/charts/chart128.xml" ContentType="application/vnd.openxmlformats-officedocument.drawingml.chart+xml"/>
  <Override PartName="/ppt/charts/chart129.xml" ContentType="application/vnd.openxmlformats-officedocument.drawingml.chart+xml"/>
  <Override PartName="/ppt/charts/chart130.xml" ContentType="application/vnd.openxmlformats-officedocument.drawingml.chart+xml"/>
  <Override PartName="/ppt/charts/chart131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32.xml" ContentType="application/vnd.openxmlformats-officedocument.drawingml.chart+xml"/>
  <Override PartName="/ppt/charts/chart133.xml" ContentType="application/vnd.openxmlformats-officedocument.drawingml.chart+xml"/>
  <Override PartName="/ppt/charts/chart134.xml" ContentType="application/vnd.openxmlformats-officedocument.drawingml.chart+xml"/>
  <Override PartName="/ppt/charts/chart135.xml" ContentType="application/vnd.openxmlformats-officedocument.drawingml.chart+xml"/>
  <Override PartName="/ppt/charts/chart136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37.xml" ContentType="application/vnd.openxmlformats-officedocument.drawingml.chart+xml"/>
  <Override PartName="/ppt/charts/chart138.xml" ContentType="application/vnd.openxmlformats-officedocument.drawingml.chart+xml"/>
  <Override PartName="/ppt/charts/chart139.xml" ContentType="application/vnd.openxmlformats-officedocument.drawingml.chart+xml"/>
  <Override PartName="/ppt/charts/chart140.xml" ContentType="application/vnd.openxmlformats-officedocument.drawingml.chart+xml"/>
  <Override PartName="/ppt/charts/chart141.xml" ContentType="application/vnd.openxmlformats-officedocument.drawingml.chart+xml"/>
  <Override PartName="/ppt/tags/tag4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42.xml" ContentType="application/vnd.openxmlformats-officedocument.drawingml.chart+xml"/>
  <Override PartName="/ppt/charts/chart143.xml" ContentType="application/vnd.openxmlformats-officedocument.drawingml.chart+xml"/>
  <Override PartName="/ppt/charts/chart144.xml" ContentType="application/vnd.openxmlformats-officedocument.drawingml.chart+xml"/>
  <Override PartName="/ppt/charts/chart145.xml" ContentType="application/vnd.openxmlformats-officedocument.drawingml.chart+xml"/>
  <Override PartName="/ppt/charts/chart146.xml" ContentType="application/vnd.openxmlformats-officedocument.drawingml.chart+xml"/>
  <Override PartName="/ppt/charts/chart147.xml" ContentType="application/vnd.openxmlformats-officedocument.drawingml.chart+xml"/>
  <Override PartName="/ppt/charts/chart148.xml" ContentType="application/vnd.openxmlformats-officedocument.drawingml.chart+xml"/>
  <Override PartName="/ppt/charts/chart149.xml" ContentType="application/vnd.openxmlformats-officedocument.drawingml.chart+xml"/>
  <Override PartName="/ppt/charts/chart150.xml" ContentType="application/vnd.openxmlformats-officedocument.drawingml.chart+xml"/>
  <Override PartName="/ppt/charts/chart151.xml" ContentType="application/vnd.openxmlformats-officedocument.drawingml.chart+xml"/>
  <Override PartName="/ppt/tags/tag43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52.xml" ContentType="application/vnd.openxmlformats-officedocument.drawingml.chart+xml"/>
  <Override PartName="/ppt/charts/chart153.xml" ContentType="application/vnd.openxmlformats-officedocument.drawingml.chart+xml"/>
  <Override PartName="/ppt/charts/chart154.xml" ContentType="application/vnd.openxmlformats-officedocument.drawingml.chart+xml"/>
  <Override PartName="/ppt/charts/chart155.xml" ContentType="application/vnd.openxmlformats-officedocument.drawingml.chart+xml"/>
  <Override PartName="/ppt/charts/chart156.xml" ContentType="application/vnd.openxmlformats-officedocument.drawingml.chart+xml"/>
  <Override PartName="/ppt/charts/chart157.xml" ContentType="application/vnd.openxmlformats-officedocument.drawingml.chart+xml"/>
  <Override PartName="/ppt/charts/chart158.xml" ContentType="application/vnd.openxmlformats-officedocument.drawingml.chart+xml"/>
  <Override PartName="/ppt/charts/chart159.xml" ContentType="application/vnd.openxmlformats-officedocument.drawingml.chart+xml"/>
  <Override PartName="/ppt/charts/chart160.xml" ContentType="application/vnd.openxmlformats-officedocument.drawingml.chart+xml"/>
  <Override PartName="/ppt/charts/chart161.xml" ContentType="application/vnd.openxmlformats-officedocument.drawingml.chart+xml"/>
  <Override PartName="/ppt/tags/tag44.xml" ContentType="application/vnd.openxmlformats-officedocument.presentationml.tags+xml"/>
  <Override PartName="/ppt/charts/chart162.xml" ContentType="application/vnd.openxmlformats-officedocument.drawingml.chart+xml"/>
  <Override PartName="/ppt/charts/chart163.xml" ContentType="application/vnd.openxmlformats-officedocument.drawingml.chart+xml"/>
  <Override PartName="/ppt/charts/chart164.xml" ContentType="application/vnd.openxmlformats-officedocument.drawingml.chart+xml"/>
  <Override PartName="/ppt/charts/chart165.xml" ContentType="application/vnd.openxmlformats-officedocument.drawingml.chart+xml"/>
  <Override PartName="/ppt/charts/chart166.xml" ContentType="application/vnd.openxmlformats-officedocument.drawingml.chart+xml"/>
  <Override PartName="/ppt/tags/tag4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67.xml" ContentType="application/vnd.openxmlformats-officedocument.drawingml.chart+xml"/>
  <Override PartName="/ppt/charts/chart168.xml" ContentType="application/vnd.openxmlformats-officedocument.drawingml.chart+xml"/>
  <Override PartName="/ppt/charts/chart169.xml" ContentType="application/vnd.openxmlformats-officedocument.drawingml.chart+xml"/>
  <Override PartName="/ppt/charts/chart170.xml" ContentType="application/vnd.openxmlformats-officedocument.drawingml.chart+xml"/>
  <Override PartName="/ppt/charts/chart171.xml" ContentType="application/vnd.openxmlformats-officedocument.drawingml.chart+xml"/>
  <Override PartName="/ppt/charts/chart172.xml" ContentType="application/vnd.openxmlformats-officedocument.drawingml.chart+xml"/>
  <Override PartName="/ppt/charts/chart173.xml" ContentType="application/vnd.openxmlformats-officedocument.drawingml.chart+xml"/>
  <Override PartName="/ppt/charts/chart174.xml" ContentType="application/vnd.openxmlformats-officedocument.drawingml.chart+xml"/>
  <Override PartName="/ppt/charts/chart175.xml" ContentType="application/vnd.openxmlformats-officedocument.drawingml.chart+xml"/>
  <Override PartName="/ppt/charts/chart176.xml" ContentType="application/vnd.openxmlformats-officedocument.drawingml.chart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77.xml" ContentType="application/vnd.openxmlformats-officedocument.drawingml.chart+xml"/>
  <Override PartName="/ppt/charts/chart178.xml" ContentType="application/vnd.openxmlformats-officedocument.drawingml.chart+xml"/>
  <Override PartName="/ppt/charts/chart179.xml" ContentType="application/vnd.openxmlformats-officedocument.drawingml.chart+xml"/>
  <Override PartName="/ppt/charts/chart180.xml" ContentType="application/vnd.openxmlformats-officedocument.drawingml.chart+xml"/>
  <Override PartName="/ppt/charts/chart181.xml" ContentType="application/vnd.openxmlformats-officedocument.drawingml.chart+xml"/>
  <Override PartName="/ppt/charts/chart182.xml" ContentType="application/vnd.openxmlformats-officedocument.drawingml.chart+xml"/>
  <Override PartName="/ppt/charts/chart183.xml" ContentType="application/vnd.openxmlformats-officedocument.drawingml.chart+xml"/>
  <Override PartName="/ppt/charts/chart184.xml" ContentType="application/vnd.openxmlformats-officedocument.drawingml.chart+xml"/>
  <Override PartName="/ppt/charts/chart185.xml" ContentType="application/vnd.openxmlformats-officedocument.drawingml.chart+xml"/>
  <Override PartName="/ppt/charts/chart186.xml" ContentType="application/vnd.openxmlformats-officedocument.drawingml.chart+xml"/>
  <Override PartName="/ppt/charts/chart187.xml" ContentType="application/vnd.openxmlformats-officedocument.drawingml.chart+xml"/>
  <Override PartName="/ppt/charts/chart188.xml" ContentType="application/vnd.openxmlformats-officedocument.drawingml.chart+xml"/>
  <Override PartName="/ppt/charts/chart189.xml" ContentType="application/vnd.openxmlformats-officedocument.drawingml.chart+xml"/>
  <Override PartName="/ppt/charts/chart190.xml" ContentType="application/vnd.openxmlformats-officedocument.drawingml.chart+xml"/>
  <Override PartName="/ppt/charts/chart191.xml" ContentType="application/vnd.openxmlformats-officedocument.drawingml.chart+xml"/>
  <Override PartName="/ppt/tags/tag4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92.xml" ContentType="application/vnd.openxmlformats-officedocument.drawingml.chart+xml"/>
  <Override PartName="/ppt/charts/chart193.xml" ContentType="application/vnd.openxmlformats-officedocument.drawingml.chart+xml"/>
  <Override PartName="/ppt/charts/chart194.xml" ContentType="application/vnd.openxmlformats-officedocument.drawingml.chart+xml"/>
  <Override PartName="/ppt/charts/chart195.xml" ContentType="application/vnd.openxmlformats-officedocument.drawingml.chart+xml"/>
  <Override PartName="/ppt/charts/chart196.xml" ContentType="application/vnd.openxmlformats-officedocument.drawingml.chart+xml"/>
  <Override PartName="/ppt/charts/chart197.xml" ContentType="application/vnd.openxmlformats-officedocument.drawingml.chart+xml"/>
  <Override PartName="/ppt/charts/chart198.xml" ContentType="application/vnd.openxmlformats-officedocument.drawingml.chart+xml"/>
  <Override PartName="/ppt/charts/chart199.xml" ContentType="application/vnd.openxmlformats-officedocument.drawingml.chart+xml"/>
  <Override PartName="/ppt/charts/chart200.xml" ContentType="application/vnd.openxmlformats-officedocument.drawingml.chart+xml"/>
  <Override PartName="/ppt/charts/chart201.xml" ContentType="application/vnd.openxmlformats-officedocument.drawingml.chart+xml"/>
  <Override PartName="/ppt/charts/chart202.xml" ContentType="application/vnd.openxmlformats-officedocument.drawingml.chart+xml"/>
  <Override PartName="/ppt/charts/chart203.xml" ContentType="application/vnd.openxmlformats-officedocument.drawingml.chart+xml"/>
  <Override PartName="/ppt/charts/chart204.xml" ContentType="application/vnd.openxmlformats-officedocument.drawingml.chart+xml"/>
  <Override PartName="/ppt/charts/chart205.xml" ContentType="application/vnd.openxmlformats-officedocument.drawingml.chart+xml"/>
  <Override PartName="/ppt/charts/chart206.xml" ContentType="application/vnd.openxmlformats-officedocument.drawingml.chart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Ex1.xml" ContentType="application/vnd.ms-office.chartex+xml"/>
  <Override PartName="/ppt/charts/style10.xml" ContentType="application/vnd.ms-office.chartstyle+xml"/>
  <Override PartName="/ppt/charts/colors10.xml" ContentType="application/vnd.ms-office.chartcolorstyle+xml"/>
  <Override PartName="/ppt/tags/tag50.xml" ContentType="application/vnd.openxmlformats-officedocument.presentationml.tags+xml"/>
  <Override PartName="/ppt/charts/chart207.xml" ContentType="application/vnd.openxmlformats-officedocument.drawingml.chart+xml"/>
  <Override PartName="/ppt/charts/chart208.xml" ContentType="application/vnd.openxmlformats-officedocument.drawingml.chart+xml"/>
  <Override PartName="/ppt/charts/chart209.xml" ContentType="application/vnd.openxmlformats-officedocument.drawingml.chart+xml"/>
  <Override PartName="/ppt/charts/chart210.xml" ContentType="application/vnd.openxmlformats-officedocument.drawingml.chart+xml"/>
  <Override PartName="/ppt/charts/chart211.xml" ContentType="application/vnd.openxmlformats-officedocument.drawingml.chart+xml"/>
  <Override PartName="/ppt/charts/chart212.xml" ContentType="application/vnd.openxmlformats-officedocument.drawingml.chart+xml"/>
  <Override PartName="/ppt/charts/chart213.xml" ContentType="application/vnd.openxmlformats-officedocument.drawingml.chart+xml"/>
  <Override PartName="/ppt/charts/chart214.xml" ContentType="application/vnd.openxmlformats-officedocument.drawingml.chart+xml"/>
  <Override PartName="/ppt/tags/tag51.xml" ContentType="application/vnd.openxmlformats-officedocument.presentationml.tags+xml"/>
  <Override PartName="/ppt/charts/chart215.xml" ContentType="application/vnd.openxmlformats-officedocument.drawingml.chart+xml"/>
  <Override PartName="/ppt/charts/chart216.xml" ContentType="application/vnd.openxmlformats-officedocument.drawingml.chart+xml"/>
  <Override PartName="/ppt/charts/chart217.xml" ContentType="application/vnd.openxmlformats-officedocument.drawingml.chart+xml"/>
  <Override PartName="/ppt/charts/chart218.xml" ContentType="application/vnd.openxmlformats-officedocument.drawingml.chart+xml"/>
  <Override PartName="/ppt/charts/chart219.xml" ContentType="application/vnd.openxmlformats-officedocument.drawingml.chart+xml"/>
  <Override PartName="/ppt/charts/chart220.xml" ContentType="application/vnd.openxmlformats-officedocument.drawingml.chart+xml"/>
  <Override PartName="/ppt/charts/chart221.xml" ContentType="application/vnd.openxmlformats-officedocument.drawingml.chart+xml"/>
  <Override PartName="/ppt/charts/chart222.xml" ContentType="application/vnd.openxmlformats-officedocument.drawingml.chart+xml"/>
  <Override PartName="/ppt/tags/tag52.xml" ContentType="application/vnd.openxmlformats-officedocument.presentationml.tags+xml"/>
  <Override PartName="/ppt/charts/chart223.xml" ContentType="application/vnd.openxmlformats-officedocument.drawingml.chart+xml"/>
  <Override PartName="/ppt/charts/chart224.xml" ContentType="application/vnd.openxmlformats-officedocument.drawingml.chart+xml"/>
  <Override PartName="/ppt/charts/chart225.xml" ContentType="application/vnd.openxmlformats-officedocument.drawingml.chart+xml"/>
  <Override PartName="/ppt/charts/chart226.xml" ContentType="application/vnd.openxmlformats-officedocument.drawingml.chart+xml"/>
  <Override PartName="/ppt/charts/chart227.xml" ContentType="application/vnd.openxmlformats-officedocument.drawingml.chart+xml"/>
  <Override PartName="/ppt/charts/chart228.xml" ContentType="application/vnd.openxmlformats-officedocument.drawingml.chart+xml"/>
  <Override PartName="/ppt/charts/chart229.xml" ContentType="application/vnd.openxmlformats-officedocument.drawingml.chart+xml"/>
  <Override PartName="/ppt/charts/chart230.xml" ContentType="application/vnd.openxmlformats-officedocument.drawingml.chart+xml"/>
  <Override PartName="/ppt/tags/tag53.xml" ContentType="application/vnd.openxmlformats-officedocument.presentationml.tags+xml"/>
  <Override PartName="/ppt/charts/chart231.xml" ContentType="application/vnd.openxmlformats-officedocument.drawingml.chart+xml"/>
  <Override PartName="/ppt/charts/chart232.xml" ContentType="application/vnd.openxmlformats-officedocument.drawingml.chart+xml"/>
  <Override PartName="/ppt/charts/chart233.xml" ContentType="application/vnd.openxmlformats-officedocument.drawingml.chart+xml"/>
  <Override PartName="/ppt/charts/chart234.xml" ContentType="application/vnd.openxmlformats-officedocument.drawingml.chart+xml"/>
  <Override PartName="/ppt/charts/chart235.xml" ContentType="application/vnd.openxmlformats-officedocument.drawingml.chart+xml"/>
  <Override PartName="/ppt/charts/chart236.xml" ContentType="application/vnd.openxmlformats-officedocument.drawingml.chart+xml"/>
  <Override PartName="/ppt/charts/chart237.xml" ContentType="application/vnd.openxmlformats-officedocument.drawingml.chart+xml"/>
  <Override PartName="/ppt/charts/chart238.xml" ContentType="application/vnd.openxmlformats-officedocument.drawingml.chart+xml"/>
  <Override PartName="/ppt/tags/tag54.xml" ContentType="application/vnd.openxmlformats-officedocument.presentationml.tags+xml"/>
  <Override PartName="/ppt/charts/chart239.xml" ContentType="application/vnd.openxmlformats-officedocument.drawingml.chart+xml"/>
  <Override PartName="/ppt/charts/chart240.xml" ContentType="application/vnd.openxmlformats-officedocument.drawingml.chart+xml"/>
  <Override PartName="/ppt/charts/chart241.xml" ContentType="application/vnd.openxmlformats-officedocument.drawingml.chart+xml"/>
  <Override PartName="/ppt/charts/chart242.xml" ContentType="application/vnd.openxmlformats-officedocument.drawingml.chart+xml"/>
  <Override PartName="/ppt/charts/chart243.xml" ContentType="application/vnd.openxmlformats-officedocument.drawingml.chart+xml"/>
  <Override PartName="/ppt/charts/chart244.xml" ContentType="application/vnd.openxmlformats-officedocument.drawingml.chart+xml"/>
  <Override PartName="/ppt/charts/chart245.xml" ContentType="application/vnd.openxmlformats-officedocument.drawingml.chart+xml"/>
  <Override PartName="/ppt/charts/chart246.xml" ContentType="application/vnd.openxmlformats-officedocument.drawingml.chart+xml"/>
  <Override PartName="/ppt/tags/tag55.xml" ContentType="application/vnd.openxmlformats-officedocument.presentationml.tags+xml"/>
  <Override PartName="/ppt/charts/chart247.xml" ContentType="application/vnd.openxmlformats-officedocument.drawingml.chart+xml"/>
  <Override PartName="/ppt/charts/chart248.xml" ContentType="application/vnd.openxmlformats-officedocument.drawingml.chart+xml"/>
  <Override PartName="/ppt/charts/chart249.xml" ContentType="application/vnd.openxmlformats-officedocument.drawingml.chart+xml"/>
  <Override PartName="/ppt/charts/chart250.xml" ContentType="application/vnd.openxmlformats-officedocument.drawingml.chart+xml"/>
  <Override PartName="/ppt/charts/chart251.xml" ContentType="application/vnd.openxmlformats-officedocument.drawingml.chart+xml"/>
  <Override PartName="/ppt/charts/chart252.xml" ContentType="application/vnd.openxmlformats-officedocument.drawingml.chart+xml"/>
  <Override PartName="/ppt/charts/chart253.xml" ContentType="application/vnd.openxmlformats-officedocument.drawingml.chart+xml"/>
  <Override PartName="/ppt/charts/chart254.xml" ContentType="application/vnd.openxmlformats-officedocument.drawingml.chart+xml"/>
  <Override PartName="/ppt/tags/tag56.xml" ContentType="application/vnd.openxmlformats-officedocument.presentationml.tags+xml"/>
  <Override PartName="/ppt/charts/chart255.xml" ContentType="application/vnd.openxmlformats-officedocument.drawingml.chart+xml"/>
  <Override PartName="/ppt/charts/chart256.xml" ContentType="application/vnd.openxmlformats-officedocument.drawingml.chart+xml"/>
  <Override PartName="/ppt/charts/chart257.xml" ContentType="application/vnd.openxmlformats-officedocument.drawingml.chart+xml"/>
  <Override PartName="/ppt/charts/chart258.xml" ContentType="application/vnd.openxmlformats-officedocument.drawingml.chart+xml"/>
  <Override PartName="/ppt/tags/tag57.xml" ContentType="application/vnd.openxmlformats-officedocument.presentationml.tags+xml"/>
  <Override PartName="/ppt/charts/chart259.xml" ContentType="application/vnd.openxmlformats-officedocument.drawingml.chart+xml"/>
  <Override PartName="/ppt/charts/chart260.xml" ContentType="application/vnd.openxmlformats-officedocument.drawingml.chart+xml"/>
  <Override PartName="/ppt/charts/chart261.xml" ContentType="application/vnd.openxmlformats-officedocument.drawingml.chart+xml"/>
  <Override PartName="/ppt/charts/chart262.xml" ContentType="application/vnd.openxmlformats-officedocument.drawingml.chart+xml"/>
  <Override PartName="/ppt/tags/tag58.xml" ContentType="application/vnd.openxmlformats-officedocument.presentationml.tags+xml"/>
  <Override PartName="/ppt/charts/chart263.xml" ContentType="application/vnd.openxmlformats-officedocument.drawingml.chart+xml"/>
  <Override PartName="/ppt/charts/chart264.xml" ContentType="application/vnd.openxmlformats-officedocument.drawingml.chart+xml"/>
  <Override PartName="/ppt/charts/chart265.xml" ContentType="application/vnd.openxmlformats-officedocument.drawingml.chart+xml"/>
  <Override PartName="/ppt/charts/chart266.xml" ContentType="application/vnd.openxmlformats-officedocument.drawingml.chart+xml"/>
  <Override PartName="/ppt/tags/tag59.xml" ContentType="application/vnd.openxmlformats-officedocument.presentationml.tags+xml"/>
  <Override PartName="/ppt/charts/chart267.xml" ContentType="application/vnd.openxmlformats-officedocument.drawingml.chart+xml"/>
  <Override PartName="/ppt/charts/chart268.xml" ContentType="application/vnd.openxmlformats-officedocument.drawingml.chart+xml"/>
  <Override PartName="/ppt/charts/chart269.xml" ContentType="application/vnd.openxmlformats-officedocument.drawingml.chart+xml"/>
  <Override PartName="/ppt/charts/chart270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71.xml" ContentType="application/vnd.openxmlformats-officedocument.drawingml.chart+xml"/>
  <Override PartName="/ppt/charts/chart272.xml" ContentType="application/vnd.openxmlformats-officedocument.drawingml.chart+xml"/>
  <Override PartName="/ppt/charts/chart273.xml" ContentType="application/vnd.openxmlformats-officedocument.drawingml.chart+xml"/>
  <Override PartName="/ppt/charts/chart274.xml" ContentType="application/vnd.openxmlformats-officedocument.drawingml.chart+xml"/>
  <Override PartName="/ppt/charts/chart275.xml" ContentType="application/vnd.openxmlformats-officedocument.drawingml.chart+xml"/>
  <Override PartName="/ppt/tags/tag62.xml" ContentType="application/vnd.openxmlformats-officedocument.presentationml.tags+xml"/>
  <Override PartName="/ppt/charts/chart276.xml" ContentType="application/vnd.openxmlformats-officedocument.drawingml.chart+xml"/>
  <Override PartName="/ppt/theme/themeOverride11.xml" ContentType="application/vnd.openxmlformats-officedocument.themeOverride+xml"/>
  <Override PartName="/ppt/charts/chart277.xml" ContentType="application/vnd.openxmlformats-officedocument.drawingml.chart+xml"/>
  <Override PartName="/ppt/theme/themeOverride12.xml" ContentType="application/vnd.openxmlformats-officedocument.themeOverride+xml"/>
  <Override PartName="/ppt/charts/chart278.xml" ContentType="application/vnd.openxmlformats-officedocument.drawingml.chart+xml"/>
  <Override PartName="/ppt/theme/themeOverride13.xml" ContentType="application/vnd.openxmlformats-officedocument.themeOverride+xml"/>
  <Override PartName="/ppt/charts/chart279.xml" ContentType="application/vnd.openxmlformats-officedocument.drawingml.chart+xml"/>
  <Override PartName="/ppt/theme/themeOverride14.xml" ContentType="application/vnd.openxmlformats-officedocument.themeOverride+xml"/>
  <Override PartName="/ppt/charts/chart280.xml" ContentType="application/vnd.openxmlformats-officedocument.drawingml.chart+xml"/>
  <Override PartName="/ppt/theme/themeOverride15.xml" ContentType="application/vnd.openxmlformats-officedocument.themeOverride+xml"/>
  <Override PartName="/ppt/charts/chart28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6.xml" ContentType="application/vnd.openxmlformats-officedocument.themeOverride+xml"/>
  <Override PartName="/ppt/charts/chart28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7.xml" ContentType="application/vnd.openxmlformats-officedocument.themeOverride+xml"/>
  <Override PartName="/ppt/charts/chart28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8.xml" ContentType="application/vnd.openxmlformats-officedocument.themeOverride+xml"/>
  <Override PartName="/ppt/tags/tag6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84.xml" ContentType="application/vnd.openxmlformats-officedocument.drawingml.chart+xml"/>
  <Override PartName="/ppt/charts/chart285.xml" ContentType="application/vnd.openxmlformats-officedocument.drawingml.chart+xml"/>
  <Override PartName="/ppt/charts/chart286.xml" ContentType="application/vnd.openxmlformats-officedocument.drawingml.chart+xml"/>
  <Override PartName="/ppt/charts/chart287.xml" ContentType="application/vnd.openxmlformats-officedocument.drawingml.chart+xml"/>
  <Override PartName="/ppt/charts/chart288.xml" ContentType="application/vnd.openxmlformats-officedocument.drawingml.chart+xml"/>
  <Override PartName="/ppt/tags/tag64.xml" ContentType="application/vnd.openxmlformats-officedocument.presentationml.tags+xml"/>
  <Override PartName="/ppt/charts/chart289.xml" ContentType="application/vnd.openxmlformats-officedocument.drawingml.chart+xml"/>
  <Override PartName="/ppt/theme/themeOverride19.xml" ContentType="application/vnd.openxmlformats-officedocument.themeOverride+xml"/>
  <Override PartName="/ppt/charts/chart290.xml" ContentType="application/vnd.openxmlformats-officedocument.drawingml.chart+xml"/>
  <Override PartName="/ppt/theme/themeOverride20.xml" ContentType="application/vnd.openxmlformats-officedocument.themeOverride+xml"/>
  <Override PartName="/ppt/charts/chart291.xml" ContentType="application/vnd.openxmlformats-officedocument.drawingml.chart+xml"/>
  <Override PartName="/ppt/theme/themeOverride21.xml" ContentType="application/vnd.openxmlformats-officedocument.themeOverride+xml"/>
  <Override PartName="/ppt/charts/chart292.xml" ContentType="application/vnd.openxmlformats-officedocument.drawingml.chart+xml"/>
  <Override PartName="/ppt/theme/themeOverride22.xml" ContentType="application/vnd.openxmlformats-officedocument.themeOverride+xml"/>
  <Override PartName="/ppt/charts/chart293.xml" ContentType="application/vnd.openxmlformats-officedocument.drawingml.chart+xml"/>
  <Override PartName="/ppt/theme/themeOverride23.xml" ContentType="application/vnd.openxmlformats-officedocument.themeOverride+xml"/>
  <Override PartName="/ppt/charts/chart29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24.xml" ContentType="application/vnd.openxmlformats-officedocument.themeOverride+xml"/>
  <Override PartName="/ppt/charts/chart29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25.xml" ContentType="application/vnd.openxmlformats-officedocument.themeOverride+xml"/>
  <Override PartName="/ppt/charts/chart29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26.xml" ContentType="application/vnd.openxmlformats-officedocument.themeOverride+xml"/>
  <Override PartName="/ppt/tags/tag65.xml" ContentType="application/vnd.openxmlformats-officedocument.presentationml.tags+xml"/>
  <Override PartName="/ppt/charts/chart297.xml" ContentType="application/vnd.openxmlformats-officedocument.drawingml.chart+xml"/>
  <Override PartName="/ppt/charts/chart298.xml" ContentType="application/vnd.openxmlformats-officedocument.drawingml.chart+xml"/>
  <Override PartName="/ppt/charts/chart299.xml" ContentType="application/vnd.openxmlformats-officedocument.drawingml.chart+xml"/>
  <Override PartName="/ppt/charts/chart300.xml" ContentType="application/vnd.openxmlformats-officedocument.drawingml.chart+xml"/>
  <Override PartName="/ppt/tags/tag66.xml" ContentType="application/vnd.openxmlformats-officedocument.presentationml.tags+xml"/>
  <Override PartName="/ppt/charts/chart301.xml" ContentType="application/vnd.openxmlformats-officedocument.drawingml.chart+xml"/>
  <Override PartName="/ppt/charts/chart302.xml" ContentType="application/vnd.openxmlformats-officedocument.drawingml.chart+xml"/>
  <Override PartName="/ppt/charts/chart303.xml" ContentType="application/vnd.openxmlformats-officedocument.drawingml.chart+xml"/>
  <Override PartName="/ppt/charts/chart304.xml" ContentType="application/vnd.openxmlformats-officedocument.drawingml.chart+xml"/>
  <Override PartName="/ppt/tags/tag67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305.xml" ContentType="application/vnd.openxmlformats-officedocument.drawingml.chart+xml"/>
  <Override PartName="/ppt/charts/chart306.xml" ContentType="application/vnd.openxmlformats-officedocument.drawingml.chart+xml"/>
  <Override PartName="/ppt/charts/chart307.xml" ContentType="application/vnd.openxmlformats-officedocument.drawingml.chart+xml"/>
  <Override PartName="/ppt/charts/chart308.xml" ContentType="application/vnd.openxmlformats-officedocument.drawingml.chart+xml"/>
  <Override PartName="/ppt/charts/chart309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310.xml" ContentType="application/vnd.openxmlformats-officedocument.drawingml.chart+xml"/>
  <Override PartName="/ppt/charts/chart311.xml" ContentType="application/vnd.openxmlformats-officedocument.drawingml.chart+xml"/>
  <Override PartName="/ppt/charts/chart312.xml" ContentType="application/vnd.openxmlformats-officedocument.drawingml.chart+xml"/>
  <Override PartName="/ppt/charts/chart313.xml" ContentType="application/vnd.openxmlformats-officedocument.drawingml.chart+xml"/>
  <Override PartName="/ppt/charts/chart314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315.xml" ContentType="application/vnd.openxmlformats-officedocument.drawingml.chart+xml"/>
  <Override PartName="/ppt/charts/chart316.xml" ContentType="application/vnd.openxmlformats-officedocument.drawingml.chart+xml"/>
  <Override PartName="/ppt/charts/chart317.xml" ContentType="application/vnd.openxmlformats-officedocument.drawingml.chart+xml"/>
  <Override PartName="/ppt/charts/chart318.xml" ContentType="application/vnd.openxmlformats-officedocument.drawingml.chart+xml"/>
  <Override PartName="/ppt/charts/chart319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320.xml" ContentType="application/vnd.openxmlformats-officedocument.drawingml.chart+xml"/>
  <Override PartName="/ppt/charts/chart321.xml" ContentType="application/vnd.openxmlformats-officedocument.drawingml.chart+xml"/>
  <Override PartName="/ppt/charts/chart322.xml" ContentType="application/vnd.openxmlformats-officedocument.drawingml.chart+xml"/>
  <Override PartName="/ppt/charts/chart323.xml" ContentType="application/vnd.openxmlformats-officedocument.drawingml.chart+xml"/>
  <Override PartName="/ppt/charts/chart324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325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7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326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78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327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79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328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8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329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81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330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331.xml" ContentType="application/vnd.openxmlformats-officedocument.drawingml.chart+xml"/>
  <Override PartName="/ppt/charts/chart332.xml" ContentType="application/vnd.openxmlformats-officedocument.drawingml.chart+xml"/>
  <Override PartName="/ppt/charts/chart333.xml" ContentType="application/vnd.openxmlformats-officedocument.drawingml.chart+xml"/>
  <Override PartName="/ppt/charts/chart334.xml" ContentType="application/vnd.openxmlformats-officedocument.drawingml.chart+xml"/>
  <Override PartName="/ppt/charts/chart335.xml" ContentType="application/vnd.openxmlformats-officedocument.drawingml.chart+xml"/>
  <Override PartName="/ppt/tags/tag84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336.xml" ContentType="application/vnd.openxmlformats-officedocument.drawingml.chart+xml"/>
  <Override PartName="/ppt/charts/chart337.xml" ContentType="application/vnd.openxmlformats-officedocument.drawingml.chart+xml"/>
  <Override PartName="/ppt/charts/chart338.xml" ContentType="application/vnd.openxmlformats-officedocument.drawingml.chart+xml"/>
  <Override PartName="/ppt/charts/chart339.xml" ContentType="application/vnd.openxmlformats-officedocument.drawingml.chart+xml"/>
  <Override PartName="/ppt/charts/chart340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341.xml" ContentType="application/vnd.openxmlformats-officedocument.drawingml.chart+xml"/>
  <Override PartName="/ppt/charts/chart342.xml" ContentType="application/vnd.openxmlformats-officedocument.drawingml.chart+xml"/>
  <Override PartName="/ppt/charts/chart343.xml" ContentType="application/vnd.openxmlformats-officedocument.drawingml.chart+xml"/>
  <Override PartName="/ppt/charts/chart344.xml" ContentType="application/vnd.openxmlformats-officedocument.drawingml.chart+xml"/>
  <Override PartName="/ppt/tags/tag8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45.xml" ContentType="application/vnd.openxmlformats-officedocument.drawingml.chart+xml"/>
  <Override PartName="/ppt/charts/chart346.xml" ContentType="application/vnd.openxmlformats-officedocument.drawingml.chart+xml"/>
  <Override PartName="/ppt/charts/chart347.xml" ContentType="application/vnd.openxmlformats-officedocument.drawingml.chart+xml"/>
  <Override PartName="/ppt/charts/chart348.xml" ContentType="application/vnd.openxmlformats-officedocument.drawingml.chart+xml"/>
  <Override PartName="/ppt/tags/tag88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349.xml" ContentType="application/vnd.openxmlformats-officedocument.drawingml.chart+xml"/>
  <Override PartName="/ppt/charts/chart350.xml" ContentType="application/vnd.openxmlformats-officedocument.drawingml.chart+xml"/>
  <Override PartName="/ppt/charts/chart351.xml" ContentType="application/vnd.openxmlformats-officedocument.drawingml.chart+xml"/>
  <Override PartName="/ppt/charts/chart352.xml" ContentType="application/vnd.openxmlformats-officedocument.drawingml.chart+xml"/>
  <Override PartName="/ppt/tags/tag89.xml" ContentType="application/vnd.openxmlformats-officedocument.presentationml.tags+xml"/>
  <Override PartName="/ppt/notesSlides/notesSlide32.xml" ContentType="application/vnd.openxmlformats-officedocument.presentationml.notesSlide+xml"/>
  <Override PartName="/ppt/charts/chart353.xml" ContentType="application/vnd.openxmlformats-officedocument.drawingml.chart+xml"/>
  <Override PartName="/ppt/charts/chart354.xml" ContentType="application/vnd.openxmlformats-officedocument.drawingml.chart+xml"/>
  <Override PartName="/ppt/charts/chart355.xml" ContentType="application/vnd.openxmlformats-officedocument.drawingml.chart+xml"/>
  <Override PartName="/ppt/charts/chart356.xml" ContentType="application/vnd.openxmlformats-officedocument.drawingml.chart+xml"/>
  <Override PartName="/ppt/tags/tag90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357.xml" ContentType="application/vnd.openxmlformats-officedocument.drawingml.chart+xml"/>
  <Override PartName="/ppt/charts/chart358.xml" ContentType="application/vnd.openxmlformats-officedocument.drawingml.chart+xml"/>
  <Override PartName="/ppt/charts/chart359.xml" ContentType="application/vnd.openxmlformats-officedocument.drawingml.chart+xml"/>
  <Override PartName="/ppt/charts/chart360.xml" ContentType="application/vnd.openxmlformats-officedocument.drawingml.chart+xml"/>
  <Override PartName="/ppt/charts/chart361.xml" ContentType="application/vnd.openxmlformats-officedocument.drawingml.chart+xml"/>
  <Override PartName="/ppt/tags/tag91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362.xml" ContentType="application/vnd.openxmlformats-officedocument.drawingml.chart+xml"/>
  <Override PartName="/ppt/charts/chart363.xml" ContentType="application/vnd.openxmlformats-officedocument.drawingml.chart+xml"/>
  <Override PartName="/ppt/charts/chart364.xml" ContentType="application/vnd.openxmlformats-officedocument.drawingml.chart+xml"/>
  <Override PartName="/ppt/charts/chart365.xml" ContentType="application/vnd.openxmlformats-officedocument.drawingml.chart+xml"/>
  <Override PartName="/ppt/charts/chart366.xml" ContentType="application/vnd.openxmlformats-officedocument.drawingml.chart+xml"/>
  <Override PartName="/ppt/tags/tag92.xml" ContentType="application/vnd.openxmlformats-officedocument.presentationml.tags+xml"/>
  <Override PartName="/ppt/charts/chart367.xml" ContentType="application/vnd.openxmlformats-officedocument.drawingml.chart+xml"/>
  <Override PartName="/ppt/charts/chart368.xml" ContentType="application/vnd.openxmlformats-officedocument.drawingml.chart+xml"/>
  <Override PartName="/ppt/charts/chart369.xml" ContentType="application/vnd.openxmlformats-officedocument.drawingml.chart+xml"/>
  <Override PartName="/ppt/charts/chart370.xml" ContentType="application/vnd.openxmlformats-officedocument.drawingml.chart+xml"/>
  <Override PartName="/ppt/tags/tag93.xml" ContentType="application/vnd.openxmlformats-officedocument.presentationml.tags+xml"/>
  <Override PartName="/ppt/charts/chart371.xml" ContentType="application/vnd.openxmlformats-officedocument.drawingml.chart+xml"/>
  <Override PartName="/ppt/charts/chart372.xml" ContentType="application/vnd.openxmlformats-officedocument.drawingml.chart+xml"/>
  <Override PartName="/ppt/charts/chart373.xml" ContentType="application/vnd.openxmlformats-officedocument.drawingml.chart+xml"/>
  <Override PartName="/ppt/charts/chart374.xml" ContentType="application/vnd.openxmlformats-officedocument.drawingml.chart+xml"/>
  <Override PartName="/ppt/charts/chart375.xml" ContentType="application/vnd.openxmlformats-officedocument.drawingml.chart+xml"/>
  <Override PartName="/ppt/charts/chart376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77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378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94.xml" ContentType="application/vnd.openxmlformats-officedocument.presentationml.tags+xml"/>
  <Override PartName="/ppt/charts/chart379.xml" ContentType="application/vnd.openxmlformats-officedocument.drawingml.chart+xml"/>
  <Override PartName="/ppt/charts/chart380.xml" ContentType="application/vnd.openxmlformats-officedocument.drawingml.chart+xml"/>
  <Override PartName="/ppt/charts/chart381.xml" ContentType="application/vnd.openxmlformats-officedocument.drawingml.chart+xml"/>
  <Override PartName="/ppt/charts/chart382.xml" ContentType="application/vnd.openxmlformats-officedocument.drawingml.chart+xml"/>
  <Override PartName="/ppt/charts/chart383.xml" ContentType="application/vnd.openxmlformats-officedocument.drawingml.chart+xml"/>
  <Override PartName="/ppt/charts/chart384.xml" ContentType="application/vnd.openxmlformats-officedocument.drawingml.chart+xml"/>
  <Override PartName="/ppt/charts/chart385.xml" ContentType="application/vnd.openxmlformats-officedocument.drawingml.chart+xml"/>
  <Override PartName="/ppt/charts/chart386.xml" ContentType="application/vnd.openxmlformats-officedocument.drawingml.chart+xml"/>
  <Override PartName="/ppt/tags/tag95.xml" ContentType="application/vnd.openxmlformats-officedocument.presentationml.tags+xml"/>
  <Override PartName="/ppt/charts/chart387.xml" ContentType="application/vnd.openxmlformats-officedocument.drawingml.chart+xml"/>
  <Override PartName="/ppt/charts/chart388.xml" ContentType="application/vnd.openxmlformats-officedocument.drawingml.chart+xml"/>
  <Override PartName="/ppt/charts/chart389.xml" ContentType="application/vnd.openxmlformats-officedocument.drawingml.chart+xml"/>
  <Override PartName="/ppt/charts/chart390.xml" ContentType="application/vnd.openxmlformats-officedocument.drawingml.chart+xml"/>
  <Override PartName="/ppt/tags/tag96.xml" ContentType="application/vnd.openxmlformats-officedocument.presentationml.tags+xml"/>
  <Override PartName="/ppt/charts/chart391.xml" ContentType="application/vnd.openxmlformats-officedocument.drawingml.chart+xml"/>
  <Override PartName="/ppt/charts/chart392.xml" ContentType="application/vnd.openxmlformats-officedocument.drawingml.chart+xml"/>
  <Override PartName="/ppt/charts/chart393.xml" ContentType="application/vnd.openxmlformats-officedocument.drawingml.chart+xml"/>
  <Override PartName="/ppt/charts/chart394.xml" ContentType="application/vnd.openxmlformats-officedocument.drawingml.chart+xml"/>
  <Override PartName="/ppt/charts/chart395.xml" ContentType="application/vnd.openxmlformats-officedocument.drawingml.chart+xml"/>
  <Override PartName="/ppt/charts/chart39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9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9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97.xml" ContentType="application/vnd.openxmlformats-officedocument.presentationml.tags+xml"/>
  <Override PartName="/ppt/charts/chart399.xml" ContentType="application/vnd.openxmlformats-officedocument.drawingml.chart+xml"/>
  <Override PartName="/ppt/charts/chart400.xml" ContentType="application/vnd.openxmlformats-officedocument.drawingml.chart+xml"/>
  <Override PartName="/ppt/charts/chart401.xml" ContentType="application/vnd.openxmlformats-officedocument.drawingml.chart+xml"/>
  <Override PartName="/ppt/charts/chart402.xml" ContentType="application/vnd.openxmlformats-officedocument.drawingml.chart+xml"/>
  <Override PartName="/ppt/charts/chart403.xml" ContentType="application/vnd.openxmlformats-officedocument.drawingml.chart+xml"/>
  <Override PartName="/ppt/charts/chart404.xml" ContentType="application/vnd.openxmlformats-officedocument.drawingml.chart+xml"/>
  <Override PartName="/ppt/charts/chart405.xml" ContentType="application/vnd.openxmlformats-officedocument.drawingml.chart+xml"/>
  <Override PartName="/ppt/charts/chart406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35.xml" ContentType="application/vnd.openxmlformats-officedocument.presentationml.notesSlide+xml"/>
  <Override PartName="/ppt/charts/chart407.xml" ContentType="application/vnd.openxmlformats-officedocument.drawingml.chart+xml"/>
  <Override PartName="/ppt/charts/chart408.xml" ContentType="application/vnd.openxmlformats-officedocument.drawingml.chart+xml"/>
  <Override PartName="/ppt/charts/chart409.xml" ContentType="application/vnd.openxmlformats-officedocument.drawingml.chart+xml"/>
  <Override PartName="/ppt/charts/chart410.xml" ContentType="application/vnd.openxmlformats-officedocument.drawingml.chart+xml"/>
  <Override PartName="/ppt/tags/tag100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411.xml" ContentType="application/vnd.openxmlformats-officedocument.drawingml.chart+xml"/>
  <Override PartName="/ppt/charts/chart412.xml" ContentType="application/vnd.openxmlformats-officedocument.drawingml.chart+xml"/>
  <Override PartName="/ppt/charts/chart413.xml" ContentType="application/vnd.openxmlformats-officedocument.drawingml.chart+xml"/>
  <Override PartName="/ppt/charts/chart414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415.xml" ContentType="application/vnd.openxmlformats-officedocument.drawingml.chart+xml"/>
  <Override PartName="/ppt/charts/chart416.xml" ContentType="application/vnd.openxmlformats-officedocument.drawingml.chart+xml"/>
  <Override PartName="/ppt/charts/chart417.xml" ContentType="application/vnd.openxmlformats-officedocument.drawingml.chart+xml"/>
  <Override PartName="/ppt/charts/chart418.xml" ContentType="application/vnd.openxmlformats-officedocument.drawingml.chart+xml"/>
  <Override PartName="/ppt/charts/chart419.xml" ContentType="application/vnd.openxmlformats-officedocument.drawingml.chart+xml"/>
  <Override PartName="/ppt/tags/tag103.xml" ContentType="application/vnd.openxmlformats-officedocument.presentationml.tags+xml"/>
  <Override PartName="/ppt/charts/chart420.xml" ContentType="application/vnd.openxmlformats-officedocument.drawingml.chart+xml"/>
  <Override PartName="/ppt/tags/tag104.xml" ContentType="application/vnd.openxmlformats-officedocument.presentationml.tags+xml"/>
  <Override PartName="/ppt/charts/chart421.xml" ContentType="application/vnd.openxmlformats-officedocument.drawingml.chart+xml"/>
  <Override PartName="/ppt/tags/tag105.xml" ContentType="application/vnd.openxmlformats-officedocument.presentationml.tags+xml"/>
  <Override PartName="/ppt/charts/chart422.xml" ContentType="application/vnd.openxmlformats-officedocument.drawingml.chart+xml"/>
  <Override PartName="/ppt/charts/chart423.xml" ContentType="application/vnd.openxmlformats-officedocument.drawingml.chart+xml"/>
  <Override PartName="/ppt/charts/chart424.xml" ContentType="application/vnd.openxmlformats-officedocument.drawingml.chart+xml"/>
  <Override PartName="/ppt/tags/tag106.xml" ContentType="application/vnd.openxmlformats-officedocument.presentationml.tags+xml"/>
  <Override PartName="/ppt/charts/chart425.xml" ContentType="application/vnd.openxmlformats-officedocument.drawingml.chart+xml"/>
  <Override PartName="/ppt/charts/chart426.xml" ContentType="application/vnd.openxmlformats-officedocument.drawingml.chart+xml"/>
  <Override PartName="/ppt/charts/chart427.xml" ContentType="application/vnd.openxmlformats-officedocument.drawingml.chart+xml"/>
  <Override PartName="/ppt/charts/chart428.xml" ContentType="application/vnd.openxmlformats-officedocument.drawingml.chart+xml"/>
  <Override PartName="/ppt/tags/tag107.xml" ContentType="application/vnd.openxmlformats-officedocument.presentationml.tags+xml"/>
  <Override PartName="/ppt/charts/chart429.xml" ContentType="application/vnd.openxmlformats-officedocument.drawingml.chart+xml"/>
  <Override PartName="/ppt/charts/chart430.xml" ContentType="application/vnd.openxmlformats-officedocument.drawingml.chart+xml"/>
  <Override PartName="/ppt/charts/chart431.xml" ContentType="application/vnd.openxmlformats-officedocument.drawingml.chart+xml"/>
  <Override PartName="/ppt/charts/chart432.xml" ContentType="application/vnd.openxmlformats-officedocument.drawingml.chart+xml"/>
  <Override PartName="/ppt/charts/chart433.xml" ContentType="application/vnd.openxmlformats-officedocument.drawingml.chart+xml"/>
  <Override PartName="/ppt/charts/chart434.xml" ContentType="application/vnd.openxmlformats-officedocument.drawingml.chart+xml"/>
  <Override PartName="/ppt/charts/chart435.xml" ContentType="application/vnd.openxmlformats-officedocument.drawingml.chart+xml"/>
  <Override PartName="/ppt/charts/chart436.xml" ContentType="application/vnd.openxmlformats-officedocument.drawingml.chart+xml"/>
  <Override PartName="/ppt/charts/chart437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charts/chart438.xml" ContentType="application/vnd.openxmlformats-officedocument.drawingml.chart+xml"/>
  <Override PartName="/ppt/charts/chart439.xml" ContentType="application/vnd.openxmlformats-officedocument.drawingml.chart+xml"/>
  <Override PartName="/ppt/charts/chart440.xml" ContentType="application/vnd.openxmlformats-officedocument.drawingml.chart+xml"/>
  <Override PartName="/ppt/charts/chart441.xml" ContentType="application/vnd.openxmlformats-officedocument.drawingml.chart+xml"/>
  <Override PartName="/ppt/charts/chart442.xml" ContentType="application/vnd.openxmlformats-officedocument.drawingml.chart+xml"/>
  <Override PartName="/ppt/tags/tag110.xml" ContentType="application/vnd.openxmlformats-officedocument.presentationml.tags+xml"/>
  <Override PartName="/ppt/charts/chart443.xml" ContentType="application/vnd.openxmlformats-officedocument.drawingml.chart+xml"/>
  <Override PartName="/ppt/charts/chart444.xml" ContentType="application/vnd.openxmlformats-officedocument.drawingml.chart+xml"/>
  <Override PartName="/ppt/charts/chart445.xml" ContentType="application/vnd.openxmlformats-officedocument.drawingml.chart+xml"/>
  <Override PartName="/ppt/charts/chart446.xml" ContentType="application/vnd.openxmlformats-officedocument.drawingml.chart+xml"/>
  <Override PartName="/ppt/charts/chart447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448.xml" ContentType="application/vnd.openxmlformats-officedocument.drawingml.chart+xml"/>
  <Override PartName="/ppt/charts/chart449.xml" ContentType="application/vnd.openxmlformats-officedocument.drawingml.chart+xml"/>
  <Override PartName="/ppt/charts/chart450.xml" ContentType="application/vnd.openxmlformats-officedocument.drawingml.chart+xml"/>
  <Override PartName="/ppt/charts/chart451.xml" ContentType="application/vnd.openxmlformats-officedocument.drawingml.chart+xml"/>
  <Override PartName="/ppt/charts/chart452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453.xml" ContentType="application/vnd.openxmlformats-officedocument.drawingml.chart+xml"/>
  <Override PartName="/ppt/charts/chart454.xml" ContentType="application/vnd.openxmlformats-officedocument.drawingml.chart+xml"/>
  <Override PartName="/ppt/charts/chart455.xml" ContentType="application/vnd.openxmlformats-officedocument.drawingml.chart+xml"/>
  <Override PartName="/ppt/charts/chart456.xml" ContentType="application/vnd.openxmlformats-officedocument.drawingml.chart+xml"/>
  <Override PartName="/ppt/charts/chart457.xml" ContentType="application/vnd.openxmlformats-officedocument.drawingml.chart+xml"/>
  <Override PartName="/ppt/charts/chart458.xml" ContentType="application/vnd.openxmlformats-officedocument.drawingml.chart+xml"/>
  <Override PartName="/ppt/charts/chart459.xml" ContentType="application/vnd.openxmlformats-officedocument.drawingml.chart+xml"/>
  <Override PartName="/ppt/charts/chart460.xml" ContentType="application/vnd.openxmlformats-officedocument.drawingml.chart+xml"/>
  <Override PartName="/ppt/charts/chart461.xml" ContentType="application/vnd.openxmlformats-officedocument.drawingml.chart+xml"/>
  <Override PartName="/ppt/charts/chart462.xml" ContentType="application/vnd.openxmlformats-officedocument.drawingml.chart+xml"/>
  <Override PartName="/ppt/charts/chart463.xml" ContentType="application/vnd.openxmlformats-officedocument.drawingml.chart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16"/>
  </p:notesMasterIdLst>
  <p:sldIdLst>
    <p:sldId id="325" r:id="rId6"/>
    <p:sldId id="445" r:id="rId7"/>
    <p:sldId id="422" r:id="rId8"/>
    <p:sldId id="257" r:id="rId9"/>
    <p:sldId id="327" r:id="rId10"/>
    <p:sldId id="510" r:id="rId11"/>
    <p:sldId id="511" r:id="rId12"/>
    <p:sldId id="512" r:id="rId13"/>
    <p:sldId id="514" r:id="rId14"/>
    <p:sldId id="513" r:id="rId15"/>
    <p:sldId id="515" r:id="rId16"/>
    <p:sldId id="339" r:id="rId17"/>
    <p:sldId id="636" r:id="rId18"/>
    <p:sldId id="516" r:id="rId19"/>
    <p:sldId id="637" r:id="rId20"/>
    <p:sldId id="517" r:id="rId21"/>
    <p:sldId id="518" r:id="rId22"/>
    <p:sldId id="329" r:id="rId23"/>
    <p:sldId id="343" r:id="rId24"/>
    <p:sldId id="519" r:id="rId25"/>
    <p:sldId id="547" r:id="rId26"/>
    <p:sldId id="348" r:id="rId27"/>
    <p:sldId id="524" r:id="rId28"/>
    <p:sldId id="346" r:id="rId29"/>
    <p:sldId id="543" r:id="rId30"/>
    <p:sldId id="544" r:id="rId31"/>
    <p:sldId id="520" r:id="rId32"/>
    <p:sldId id="521" r:id="rId33"/>
    <p:sldId id="522" r:id="rId34"/>
    <p:sldId id="523" r:id="rId35"/>
    <p:sldId id="545" r:id="rId36"/>
    <p:sldId id="546" r:id="rId37"/>
    <p:sldId id="449" r:id="rId38"/>
    <p:sldId id="525" r:id="rId39"/>
    <p:sldId id="526" r:id="rId40"/>
    <p:sldId id="527" r:id="rId41"/>
    <p:sldId id="528" r:id="rId42"/>
    <p:sldId id="529" r:id="rId43"/>
    <p:sldId id="531" r:id="rId44"/>
    <p:sldId id="530" r:id="rId45"/>
    <p:sldId id="607" r:id="rId46"/>
    <p:sldId id="332" r:id="rId47"/>
    <p:sldId id="608" r:id="rId48"/>
    <p:sldId id="559" r:id="rId49"/>
    <p:sldId id="609" r:id="rId50"/>
    <p:sldId id="560" r:id="rId51"/>
    <p:sldId id="610" r:id="rId52"/>
    <p:sldId id="561" r:id="rId53"/>
    <p:sldId id="611" r:id="rId54"/>
    <p:sldId id="562" r:id="rId55"/>
    <p:sldId id="612" r:id="rId56"/>
    <p:sldId id="565" r:id="rId57"/>
    <p:sldId id="613" r:id="rId58"/>
    <p:sldId id="614" r:id="rId59"/>
    <p:sldId id="328" r:id="rId60"/>
    <p:sldId id="566" r:id="rId61"/>
    <p:sldId id="638" r:id="rId62"/>
    <p:sldId id="615" r:id="rId63"/>
    <p:sldId id="568" r:id="rId64"/>
    <p:sldId id="616" r:id="rId65"/>
    <p:sldId id="570" r:id="rId66"/>
    <p:sldId id="569" r:id="rId67"/>
    <p:sldId id="556" r:id="rId68"/>
    <p:sldId id="617" r:id="rId69"/>
    <p:sldId id="618" r:id="rId70"/>
    <p:sldId id="557" r:id="rId71"/>
    <p:sldId id="571" r:id="rId72"/>
    <p:sldId id="572" r:id="rId73"/>
    <p:sldId id="550" r:id="rId74"/>
    <p:sldId id="552" r:id="rId75"/>
    <p:sldId id="573" r:id="rId76"/>
    <p:sldId id="551" r:id="rId77"/>
    <p:sldId id="574" r:id="rId78"/>
    <p:sldId id="575" r:id="rId79"/>
    <p:sldId id="619" r:id="rId80"/>
    <p:sldId id="620" r:id="rId81"/>
    <p:sldId id="582" r:id="rId82"/>
    <p:sldId id="621" r:id="rId83"/>
    <p:sldId id="622" r:id="rId84"/>
    <p:sldId id="576" r:id="rId85"/>
    <p:sldId id="623" r:id="rId86"/>
    <p:sldId id="577" r:id="rId87"/>
    <p:sldId id="624" r:id="rId88"/>
    <p:sldId id="578" r:id="rId89"/>
    <p:sldId id="625" r:id="rId90"/>
    <p:sldId id="626" r:id="rId91"/>
    <p:sldId id="627" r:id="rId92"/>
    <p:sldId id="579" r:id="rId93"/>
    <p:sldId id="580" r:id="rId94"/>
    <p:sldId id="581" r:id="rId95"/>
    <p:sldId id="628" r:id="rId96"/>
    <p:sldId id="629" r:id="rId97"/>
    <p:sldId id="590" r:id="rId98"/>
    <p:sldId id="353" r:id="rId99"/>
    <p:sldId id="532" r:id="rId100"/>
    <p:sldId id="533" r:id="rId101"/>
    <p:sldId id="534" r:id="rId102"/>
    <p:sldId id="535" r:id="rId103"/>
    <p:sldId id="536" r:id="rId104"/>
    <p:sldId id="537" r:id="rId105"/>
    <p:sldId id="358" r:id="rId106"/>
    <p:sldId id="539" r:id="rId107"/>
    <p:sldId id="540" r:id="rId108"/>
    <p:sldId id="356" r:id="rId109"/>
    <p:sldId id="538" r:id="rId110"/>
    <p:sldId id="360" r:id="rId111"/>
    <p:sldId id="541" r:id="rId112"/>
    <p:sldId id="639" r:id="rId113"/>
    <p:sldId id="490" r:id="rId114"/>
    <p:sldId id="640" r:id="rId115"/>
  </p:sldIdLst>
  <p:sldSz cx="12192000" cy="6858000"/>
  <p:notesSz cx="6858000" cy="9144000"/>
  <p:custDataLst>
    <p:tags r:id="rId117"/>
  </p:custDataLst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езультати опитування мешканців" id="{6E099AF2-BEA5-43C1-AA3A-2F1B72958A95}">
          <p14:sldIdLst>
            <p14:sldId id="325"/>
          </p14:sldIdLst>
        </p14:section>
        <p14:section name="Довідка про дослідження" id="{DBEE0BA0-A633-470F-AFCE-09F1E31F1581}">
          <p14:sldIdLst>
            <p14:sldId id="445"/>
            <p14:sldId id="422"/>
          </p14:sldIdLst>
        </p14:section>
        <p14:section name="Демографічна інформація" id="{D0790D12-374B-4C6C-BDC1-786B9B0DE86B}">
          <p14:sldIdLst>
            <p14:sldId id="257"/>
            <p14:sldId id="327"/>
            <p14:sldId id="510"/>
            <p14:sldId id="511"/>
            <p14:sldId id="512"/>
            <p14:sldId id="514"/>
            <p14:sldId id="513"/>
            <p14:sldId id="515"/>
          </p14:sldIdLst>
        </p14:section>
        <p14:section name="Життєві цінності і пріоритети" id="{54970E82-3A65-488A-B3E0-8615D9D015C5}">
          <p14:sldIdLst>
            <p14:sldId id="339"/>
            <p14:sldId id="636"/>
            <p14:sldId id="516"/>
            <p14:sldId id="637"/>
            <p14:sldId id="517"/>
            <p14:sldId id="518"/>
            <p14:sldId id="329"/>
          </p14:sldIdLst>
        </p14:section>
        <p14:section name="Можливість реалізації у місті Вінниця" id="{BF6EC235-395A-4BB1-A51C-CA8337989A08}">
          <p14:sldIdLst>
            <p14:sldId id="343"/>
            <p14:sldId id="519"/>
            <p14:sldId id="547"/>
          </p14:sldIdLst>
        </p14:section>
        <p14:section name="Цільовий індекс сприйняття Вінниці" id="{F427170A-AF1A-44AA-81E6-5B2D9825B0B4}">
          <p14:sldIdLst>
            <p14:sldId id="348"/>
            <p14:sldId id="524"/>
          </p14:sldIdLst>
        </p14:section>
        <p14:section name="Сприйняття міста" id="{93AADB8A-F537-4DCE-9EBD-650D3504868A}">
          <p14:sldIdLst>
            <p14:sldId id="346"/>
            <p14:sldId id="543"/>
            <p14:sldId id="544"/>
            <p14:sldId id="520"/>
            <p14:sldId id="521"/>
            <p14:sldId id="522"/>
            <p14:sldId id="523"/>
          </p14:sldIdLst>
        </p14:section>
        <p14:section name="Бачення ідеального міста" id="{B3546476-C3DC-4EB7-AF0E-0928DAD6E945}">
          <p14:sldIdLst>
            <p14:sldId id="545"/>
            <p14:sldId id="546"/>
          </p14:sldIdLst>
        </p14:section>
        <p14:section name="Наміри виїхати з міста Вінниця" id="{5CEF0320-EC75-4D33-A35F-38F786705FE9}">
          <p14:sldIdLst>
            <p14:sldId id="449"/>
            <p14:sldId id="525"/>
            <p14:sldId id="526"/>
            <p14:sldId id="527"/>
            <p14:sldId id="528"/>
            <p14:sldId id="529"/>
            <p14:sldId id="531"/>
            <p14:sldId id="530"/>
          </p14:sldIdLst>
        </p14:section>
        <p14:section name="Аналіз за намірами виїзду" id="{BED116DB-2E5E-4F79-A8A1-DE733A0C28E8}">
          <p14:sldIdLst>
            <p14:sldId id="607"/>
            <p14:sldId id="332"/>
            <p14:sldId id="608"/>
            <p14:sldId id="559"/>
            <p14:sldId id="609"/>
            <p14:sldId id="560"/>
            <p14:sldId id="610"/>
            <p14:sldId id="561"/>
            <p14:sldId id="611"/>
            <p14:sldId id="562"/>
            <p14:sldId id="612"/>
            <p14:sldId id="565"/>
            <p14:sldId id="613"/>
            <p14:sldId id="614"/>
            <p14:sldId id="328"/>
            <p14:sldId id="566"/>
            <p14:sldId id="638"/>
            <p14:sldId id="615"/>
            <p14:sldId id="568"/>
            <p14:sldId id="616"/>
            <p14:sldId id="570"/>
            <p14:sldId id="569"/>
            <p14:sldId id="556"/>
            <p14:sldId id="617"/>
            <p14:sldId id="618"/>
            <p14:sldId id="557"/>
            <p14:sldId id="571"/>
            <p14:sldId id="572"/>
            <p14:sldId id="550"/>
            <p14:sldId id="552"/>
            <p14:sldId id="573"/>
            <p14:sldId id="551"/>
            <p14:sldId id="574"/>
            <p14:sldId id="575"/>
            <p14:sldId id="619"/>
            <p14:sldId id="620"/>
            <p14:sldId id="582"/>
            <p14:sldId id="621"/>
            <p14:sldId id="622"/>
            <p14:sldId id="576"/>
            <p14:sldId id="623"/>
            <p14:sldId id="577"/>
            <p14:sldId id="624"/>
            <p14:sldId id="578"/>
            <p14:sldId id="625"/>
            <p14:sldId id="626"/>
            <p14:sldId id="627"/>
            <p14:sldId id="579"/>
            <p14:sldId id="580"/>
            <p14:sldId id="581"/>
            <p14:sldId id="628"/>
            <p14:sldId id="629"/>
            <p14:sldId id="590"/>
          </p14:sldIdLst>
        </p14:section>
        <p14:section name="Освіта і працевлаштування" id="{970996CD-BC0C-4E6E-8F4A-D046EFA8A9CB}">
          <p14:sldIdLst>
            <p14:sldId id="353"/>
            <p14:sldId id="532"/>
            <p14:sldId id="533"/>
            <p14:sldId id="534"/>
            <p14:sldId id="535"/>
            <p14:sldId id="536"/>
            <p14:sldId id="537"/>
          </p14:sldIdLst>
        </p14:section>
        <p14:section name="Дозвілля і саморозвиток" id="{EB187CA6-0CD6-4E73-BCED-A3EA8FCED432}">
          <p14:sldIdLst>
            <p14:sldId id="358"/>
            <p14:sldId id="539"/>
            <p14:sldId id="540"/>
          </p14:sldIdLst>
        </p14:section>
        <p14:section name="Створення  і розвиток бізнесу" id="{1FD91104-9CC2-406B-93AF-93A0054B8071}">
          <p14:sldIdLst>
            <p14:sldId id="356"/>
            <p14:sldId id="538"/>
          </p14:sldIdLst>
        </p14:section>
        <p14:section name="Очікування від міської влади" id="{6DF06144-18F1-4A14-A654-FCA4D3761BAC}">
          <p14:sldIdLst>
            <p14:sldId id="360"/>
            <p14:sldId id="541"/>
            <p14:sldId id="639"/>
            <p14:sldId id="490"/>
            <p14:sldId id="64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DC5BC"/>
    <a:srgbClr val="FDF0E9"/>
    <a:srgbClr val="7AD3F6"/>
    <a:srgbClr val="E3F9E6"/>
    <a:srgbClr val="5BC436"/>
    <a:srgbClr val="EA7B3E"/>
    <a:srgbClr val="EEA686"/>
    <a:srgbClr val="ED824D"/>
    <a:srgbClr val="F09B70"/>
    <a:srgbClr val="4B88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C35EC4-63FD-4FC6-9123-8F535B31AAFD}" v="16" dt="2025-07-25T04:31:54.1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1" autoAdjust="0"/>
    <p:restoredTop sz="94641" autoAdjust="0"/>
  </p:normalViewPr>
  <p:slideViewPr>
    <p:cSldViewPr snapToGrid="0">
      <p:cViewPr varScale="1">
        <p:scale>
          <a:sx n="78" d="100"/>
          <a:sy n="78" d="100"/>
        </p:scale>
        <p:origin x="1032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91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117" Type="http://schemas.openxmlformats.org/officeDocument/2006/relationships/tags" Target="tags/tag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12" Type="http://schemas.openxmlformats.org/officeDocument/2006/relationships/slide" Target="slides/slide107.xml"/><Relationship Id="rId16" Type="http://schemas.openxmlformats.org/officeDocument/2006/relationships/slide" Target="slides/slide11.xml"/><Relationship Id="rId107" Type="http://schemas.openxmlformats.org/officeDocument/2006/relationships/slide" Target="slides/slide102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slide" Target="slides/slide97.xml"/><Relationship Id="rId12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113" Type="http://schemas.openxmlformats.org/officeDocument/2006/relationships/slide" Target="slides/slide108.xml"/><Relationship Id="rId118" Type="http://schemas.openxmlformats.org/officeDocument/2006/relationships/presProps" Target="presProps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slide" Target="slides/slide98.xml"/><Relationship Id="rId108" Type="http://schemas.openxmlformats.org/officeDocument/2006/relationships/slide" Target="slides/slide103.xml"/><Relationship Id="rId54" Type="http://schemas.openxmlformats.org/officeDocument/2006/relationships/slide" Target="slides/slide49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49" Type="http://schemas.openxmlformats.org/officeDocument/2006/relationships/slide" Target="slides/slide44.xml"/><Relationship Id="rId114" Type="http://schemas.openxmlformats.org/officeDocument/2006/relationships/slide" Target="slides/slide109.xml"/><Relationship Id="rId119" Type="http://schemas.openxmlformats.org/officeDocument/2006/relationships/viewProps" Target="viewProps.xml"/><Relationship Id="rId44" Type="http://schemas.openxmlformats.org/officeDocument/2006/relationships/slide" Target="slides/slide39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openxmlformats.org/officeDocument/2006/relationships/slide" Target="slides/slide10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slide" Target="slides/slide99.xml"/><Relationship Id="rId120" Type="http://schemas.openxmlformats.org/officeDocument/2006/relationships/theme" Target="theme/theme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110" Type="http://schemas.openxmlformats.org/officeDocument/2006/relationships/slide" Target="slides/slide105.xml"/><Relationship Id="rId115" Type="http://schemas.openxmlformats.org/officeDocument/2006/relationships/slide" Target="slides/slide110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slide" Target="slides/slide100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121" Type="http://schemas.openxmlformats.org/officeDocument/2006/relationships/tableStyles" Target="tableStyles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Relationship Id="rId116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62" Type="http://schemas.openxmlformats.org/officeDocument/2006/relationships/slide" Target="slides/slide57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111" Type="http://schemas.openxmlformats.org/officeDocument/2006/relationships/slide" Target="slides/slide106.xml"/><Relationship Id="rId15" Type="http://schemas.openxmlformats.org/officeDocument/2006/relationships/slide" Target="slides/slide10.xml"/><Relationship Id="rId36" Type="http://schemas.openxmlformats.org/officeDocument/2006/relationships/slide" Target="slides/slide31.xml"/><Relationship Id="rId57" Type="http://schemas.openxmlformats.org/officeDocument/2006/relationships/slide" Target="slides/slide52.xml"/><Relationship Id="rId106" Type="http://schemas.openxmlformats.org/officeDocument/2006/relationships/slide" Target="slides/slide101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52" Type="http://schemas.openxmlformats.org/officeDocument/2006/relationships/slide" Target="slides/slide47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1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na Demianenko" userId="f449491b-f673-4714-8f3c-6bb304697c5c" providerId="ADAL" clId="{93D2B0B7-EBED-4C89-9B79-48EBE877FAB7}"/>
    <pc:docChg chg="undo custSel modSld">
      <pc:chgData name="Marina Demianenko" userId="f449491b-f673-4714-8f3c-6bb304697c5c" providerId="ADAL" clId="{93D2B0B7-EBED-4C89-9B79-48EBE877FAB7}" dt="2025-06-17T14:09:50.446" v="94" actId="478"/>
      <pc:docMkLst>
        <pc:docMk/>
      </pc:docMkLst>
      <pc:sldChg chg="delSp modSp mod">
        <pc:chgData name="Marina Demianenko" userId="f449491b-f673-4714-8f3c-6bb304697c5c" providerId="ADAL" clId="{93D2B0B7-EBED-4C89-9B79-48EBE877FAB7}" dt="2025-06-17T14:09:40.870" v="92" actId="478"/>
        <pc:sldMkLst>
          <pc:docMk/>
          <pc:sldMk cId="1951620583" sldId="534"/>
        </pc:sldMkLst>
        <pc:spChg chg="mod">
          <ac:chgData name="Marina Demianenko" userId="f449491b-f673-4714-8f3c-6bb304697c5c" providerId="ADAL" clId="{93D2B0B7-EBED-4C89-9B79-48EBE877FAB7}" dt="2025-06-17T14:09:36.465" v="90" actId="1038"/>
          <ac:spMkLst>
            <pc:docMk/>
            <pc:sldMk cId="1951620583" sldId="534"/>
            <ac:spMk id="14" creationId="{325B0C8A-4427-3CAE-CD7A-0D52D13B9236}"/>
          </ac:spMkLst>
        </pc:spChg>
        <pc:graphicFrameChg chg="mod modGraphic">
          <ac:chgData name="Marina Demianenko" userId="f449491b-f673-4714-8f3c-6bb304697c5c" providerId="ADAL" clId="{93D2B0B7-EBED-4C89-9B79-48EBE877FAB7}" dt="2025-06-17T14:09:36.465" v="90" actId="1038"/>
          <ac:graphicFrameMkLst>
            <pc:docMk/>
            <pc:sldMk cId="1951620583" sldId="534"/>
            <ac:graphicFrameMk id="9" creationId="{20AB662E-63B6-68A2-95A5-E98B2B474E2E}"/>
          </ac:graphicFrameMkLst>
        </pc:graphicFrameChg>
        <pc:graphicFrameChg chg="mod">
          <ac:chgData name="Marina Demianenko" userId="f449491b-f673-4714-8f3c-6bb304697c5c" providerId="ADAL" clId="{93D2B0B7-EBED-4C89-9B79-48EBE877FAB7}" dt="2025-06-17T14:09:36.465" v="90" actId="1038"/>
          <ac:graphicFrameMkLst>
            <pc:docMk/>
            <pc:sldMk cId="1951620583" sldId="534"/>
            <ac:graphicFrameMk id="10" creationId="{6FA93E97-CE8F-7639-8612-0A1C034F01E6}"/>
          </ac:graphicFrameMkLst>
        </pc:graphicFrameChg>
        <pc:graphicFrameChg chg="mod modGraphic">
          <ac:chgData name="Marina Demianenko" userId="f449491b-f673-4714-8f3c-6bb304697c5c" providerId="ADAL" clId="{93D2B0B7-EBED-4C89-9B79-48EBE877FAB7}" dt="2025-06-17T14:09:36.465" v="90" actId="1038"/>
          <ac:graphicFrameMkLst>
            <pc:docMk/>
            <pc:sldMk cId="1951620583" sldId="534"/>
            <ac:graphicFrameMk id="11" creationId="{E51994DB-6467-FBCB-C040-0AA1A720A5C2}"/>
          </ac:graphicFrameMkLst>
        </pc:graphicFrameChg>
        <pc:graphicFrameChg chg="mod modGraphic">
          <ac:chgData name="Marina Demianenko" userId="f449491b-f673-4714-8f3c-6bb304697c5c" providerId="ADAL" clId="{93D2B0B7-EBED-4C89-9B79-48EBE877FAB7}" dt="2025-06-17T14:09:36.465" v="90" actId="1038"/>
          <ac:graphicFrameMkLst>
            <pc:docMk/>
            <pc:sldMk cId="1951620583" sldId="534"/>
            <ac:graphicFrameMk id="18" creationId="{A3D36D40-3599-9F44-BDEB-898DEC33A640}"/>
          </ac:graphicFrameMkLst>
        </pc:graphicFrameChg>
      </pc:sldChg>
      <pc:sldChg chg="delSp modSp mod">
        <pc:chgData name="Marina Demianenko" userId="f449491b-f673-4714-8f3c-6bb304697c5c" providerId="ADAL" clId="{93D2B0B7-EBED-4C89-9B79-48EBE877FAB7}" dt="2025-06-17T14:09:50.446" v="94" actId="478"/>
        <pc:sldMkLst>
          <pc:docMk/>
          <pc:sldMk cId="1689684963" sldId="535"/>
        </pc:sldMkLst>
        <pc:spChg chg="mod">
          <ac:chgData name="Marina Demianenko" userId="f449491b-f673-4714-8f3c-6bb304697c5c" providerId="ADAL" clId="{93D2B0B7-EBED-4C89-9B79-48EBE877FAB7}" dt="2025-06-17T14:09:05.315" v="47" actId="1038"/>
          <ac:spMkLst>
            <pc:docMk/>
            <pc:sldMk cId="1689684963" sldId="535"/>
            <ac:spMk id="14" creationId="{8DAA12F3-1DA4-3EB7-AA40-520412A83D60}"/>
          </ac:spMkLst>
        </pc:spChg>
        <pc:spChg chg="mod">
          <ac:chgData name="Marina Demianenko" userId="f449491b-f673-4714-8f3c-6bb304697c5c" providerId="ADAL" clId="{93D2B0B7-EBED-4C89-9B79-48EBE877FAB7}" dt="2025-06-17T14:09:05.315" v="47" actId="1038"/>
          <ac:spMkLst>
            <pc:docMk/>
            <pc:sldMk cId="1689684963" sldId="535"/>
            <ac:spMk id="22" creationId="{8A13B084-FB21-F459-5832-5F94D7DA7D33}"/>
          </ac:spMkLst>
        </pc:spChg>
        <pc:graphicFrameChg chg="mod modGraphic">
          <ac:chgData name="Marina Demianenko" userId="f449491b-f673-4714-8f3c-6bb304697c5c" providerId="ADAL" clId="{93D2B0B7-EBED-4C89-9B79-48EBE877FAB7}" dt="2025-06-17T14:09:05.315" v="47" actId="1038"/>
          <ac:graphicFrameMkLst>
            <pc:docMk/>
            <pc:sldMk cId="1689684963" sldId="535"/>
            <ac:graphicFrameMk id="8" creationId="{2CE308DE-2961-A7EC-0941-AA01740A1CD7}"/>
          </ac:graphicFrameMkLst>
        </pc:graphicFrameChg>
        <pc:graphicFrameChg chg="mod modGraphic">
          <ac:chgData name="Marina Demianenko" userId="f449491b-f673-4714-8f3c-6bb304697c5c" providerId="ADAL" clId="{93D2B0B7-EBED-4C89-9B79-48EBE877FAB7}" dt="2025-06-17T14:09:05.315" v="47" actId="1038"/>
          <ac:graphicFrameMkLst>
            <pc:docMk/>
            <pc:sldMk cId="1689684963" sldId="535"/>
            <ac:graphicFrameMk id="9" creationId="{2581EFC3-DDC8-C09B-DCA4-EF26DDC667C5}"/>
          </ac:graphicFrameMkLst>
        </pc:graphicFrameChg>
        <pc:graphicFrameChg chg="mod">
          <ac:chgData name="Marina Demianenko" userId="f449491b-f673-4714-8f3c-6bb304697c5c" providerId="ADAL" clId="{93D2B0B7-EBED-4C89-9B79-48EBE877FAB7}" dt="2025-06-17T14:09:05.315" v="47" actId="1038"/>
          <ac:graphicFrameMkLst>
            <pc:docMk/>
            <pc:sldMk cId="1689684963" sldId="535"/>
            <ac:graphicFrameMk id="10" creationId="{91468DCC-2FCE-B659-593E-14E5B1C1333C}"/>
          </ac:graphicFrameMkLst>
        </pc:graphicFrameChg>
        <pc:graphicFrameChg chg="mod modGraphic">
          <ac:chgData name="Marina Demianenko" userId="f449491b-f673-4714-8f3c-6bb304697c5c" providerId="ADAL" clId="{93D2B0B7-EBED-4C89-9B79-48EBE877FAB7}" dt="2025-06-17T14:09:05.315" v="47" actId="1038"/>
          <ac:graphicFrameMkLst>
            <pc:docMk/>
            <pc:sldMk cId="1689684963" sldId="535"/>
            <ac:graphicFrameMk id="11" creationId="{0070B355-A4A1-F1C7-623E-74FD2323F1CD}"/>
          </ac:graphicFrameMkLst>
        </pc:graphicFrameChg>
        <pc:graphicFrameChg chg="mod modGraphic">
          <ac:chgData name="Marina Demianenko" userId="f449491b-f673-4714-8f3c-6bb304697c5c" providerId="ADAL" clId="{93D2B0B7-EBED-4C89-9B79-48EBE877FAB7}" dt="2025-06-17T14:09:05.315" v="47" actId="1038"/>
          <ac:graphicFrameMkLst>
            <pc:docMk/>
            <pc:sldMk cId="1689684963" sldId="535"/>
            <ac:graphicFrameMk id="13" creationId="{42B775C7-20F5-0618-89C4-3ABF5F418E0C}"/>
          </ac:graphicFrameMkLst>
        </pc:graphicFrameChg>
        <pc:graphicFrameChg chg="mod">
          <ac:chgData name="Marina Demianenko" userId="f449491b-f673-4714-8f3c-6bb304697c5c" providerId="ADAL" clId="{93D2B0B7-EBED-4C89-9B79-48EBE877FAB7}" dt="2025-06-17T14:09:05.315" v="47" actId="1038"/>
          <ac:graphicFrameMkLst>
            <pc:docMk/>
            <pc:sldMk cId="1689684963" sldId="535"/>
            <ac:graphicFrameMk id="16" creationId="{C9C8ECDD-8CDA-E78D-09BE-A230E547EE6E}"/>
          </ac:graphicFrameMkLst>
        </pc:graphicFrameChg>
        <pc:graphicFrameChg chg="mod modGraphic">
          <ac:chgData name="Marina Demianenko" userId="f449491b-f673-4714-8f3c-6bb304697c5c" providerId="ADAL" clId="{93D2B0B7-EBED-4C89-9B79-48EBE877FAB7}" dt="2025-06-17T14:09:05.315" v="47" actId="1038"/>
          <ac:graphicFrameMkLst>
            <pc:docMk/>
            <pc:sldMk cId="1689684963" sldId="535"/>
            <ac:graphicFrameMk id="18" creationId="{BDB19E18-DFC4-4F8A-C4FB-5DD2AF6DF34A}"/>
          </ac:graphicFrameMkLst>
        </pc:graphicFrameChg>
        <pc:graphicFrameChg chg="mod modGraphic">
          <ac:chgData name="Marina Demianenko" userId="f449491b-f673-4714-8f3c-6bb304697c5c" providerId="ADAL" clId="{93D2B0B7-EBED-4C89-9B79-48EBE877FAB7}" dt="2025-06-17T14:09:05.315" v="47" actId="1038"/>
          <ac:graphicFrameMkLst>
            <pc:docMk/>
            <pc:sldMk cId="1689684963" sldId="535"/>
            <ac:graphicFrameMk id="19" creationId="{9B494883-673A-22F7-3B8C-AA901C3FD6D6}"/>
          </ac:graphicFrameMkLst>
        </pc:graphicFrameChg>
      </pc:sldChg>
      <pc:sldChg chg="modSp mod">
        <pc:chgData name="Marina Demianenko" userId="f449491b-f673-4714-8f3c-6bb304697c5c" providerId="ADAL" clId="{93D2B0B7-EBED-4C89-9B79-48EBE877FAB7}" dt="2025-06-17T14:07:33.650" v="3" actId="20577"/>
        <pc:sldMkLst>
          <pc:docMk/>
          <pc:sldMk cId="2736398331" sldId="541"/>
        </pc:sldMkLst>
        <pc:spChg chg="mod">
          <ac:chgData name="Marina Demianenko" userId="f449491b-f673-4714-8f3c-6bb304697c5c" providerId="ADAL" clId="{93D2B0B7-EBED-4C89-9B79-48EBE877FAB7}" dt="2025-06-17T14:07:33.650" v="3" actId="20577"/>
          <ac:spMkLst>
            <pc:docMk/>
            <pc:sldMk cId="2736398331" sldId="541"/>
            <ac:spMk id="30" creationId="{C0F98A47-D767-0E09-2CEA-8DA2A531C1FD}"/>
          </ac:spMkLst>
        </pc:spChg>
      </pc:sldChg>
    </pc:docChg>
  </pc:docChgLst>
  <pc:docChgLst>
    <pc:chgData name="Tetiana Sytnyk" userId="8c6f3bda-e93f-4d58-9733-c10fc3768080" providerId="ADAL" clId="{2CC35EC4-63FD-4FC6-9123-8F535B31AAFD}"/>
    <pc:docChg chg="undo custSel addSld delSld modSld sldOrd addSection delSection modSection">
      <pc:chgData name="Tetiana Sytnyk" userId="8c6f3bda-e93f-4d58-9733-c10fc3768080" providerId="ADAL" clId="{2CC35EC4-63FD-4FC6-9123-8F535B31AAFD}" dt="2025-07-25T13:02:13.780" v="5441" actId="729"/>
      <pc:docMkLst>
        <pc:docMk/>
      </pc:docMkLst>
      <pc:sldChg chg="mod modShow">
        <pc:chgData name="Tetiana Sytnyk" userId="8c6f3bda-e93f-4d58-9733-c10fc3768080" providerId="ADAL" clId="{2CC35EC4-63FD-4FC6-9123-8F535B31AAFD}" dt="2025-07-25T02:21:43.808" v="0" actId="729"/>
        <pc:sldMkLst>
          <pc:docMk/>
          <pc:sldMk cId="2083121655" sldId="327"/>
        </pc:sldMkLst>
      </pc:sldChg>
      <pc:sldChg chg="modSp mod">
        <pc:chgData name="Tetiana Sytnyk" userId="8c6f3bda-e93f-4d58-9733-c10fc3768080" providerId="ADAL" clId="{2CC35EC4-63FD-4FC6-9123-8F535B31AAFD}" dt="2025-07-25T02:45:11.937" v="488" actId="20577"/>
        <pc:sldMkLst>
          <pc:docMk/>
          <pc:sldMk cId="1308295155" sldId="328"/>
        </pc:sldMkLst>
        <pc:spChg chg="mod">
          <ac:chgData name="Tetiana Sytnyk" userId="8c6f3bda-e93f-4d58-9733-c10fc3768080" providerId="ADAL" clId="{2CC35EC4-63FD-4FC6-9123-8F535B31AAFD}" dt="2025-07-25T02:45:11.937" v="488" actId="20577"/>
          <ac:spMkLst>
            <pc:docMk/>
            <pc:sldMk cId="1308295155" sldId="328"/>
            <ac:spMk id="4" creationId="{D3E6FA2A-FEFB-D5FD-BCB2-22B0628E104F}"/>
          </ac:spMkLst>
        </pc:spChg>
      </pc:sldChg>
      <pc:sldChg chg="mod modShow">
        <pc:chgData name="Tetiana Sytnyk" userId="8c6f3bda-e93f-4d58-9733-c10fc3768080" providerId="ADAL" clId="{2CC35EC4-63FD-4FC6-9123-8F535B31AAFD}" dt="2025-07-25T03:28:31.570" v="1781" actId="729"/>
        <pc:sldMkLst>
          <pc:docMk/>
          <pc:sldMk cId="3321743853" sldId="329"/>
        </pc:sldMkLst>
      </pc:sldChg>
      <pc:sldChg chg="ord">
        <pc:chgData name="Tetiana Sytnyk" userId="8c6f3bda-e93f-4d58-9733-c10fc3768080" providerId="ADAL" clId="{2CC35EC4-63FD-4FC6-9123-8F535B31AAFD}" dt="2025-07-25T02:32:13.654" v="16"/>
        <pc:sldMkLst>
          <pc:docMk/>
          <pc:sldMk cId="34981818" sldId="348"/>
        </pc:sldMkLst>
      </pc:sldChg>
      <pc:sldChg chg="mod ord modShow">
        <pc:chgData name="Tetiana Sytnyk" userId="8c6f3bda-e93f-4d58-9733-c10fc3768080" providerId="ADAL" clId="{2CC35EC4-63FD-4FC6-9123-8F535B31AAFD}" dt="2025-07-25T03:25:12.780" v="1776" actId="729"/>
        <pc:sldMkLst>
          <pc:docMk/>
          <pc:sldMk cId="405066837" sldId="353"/>
        </pc:sldMkLst>
      </pc:sldChg>
      <pc:sldChg chg="ord">
        <pc:chgData name="Tetiana Sytnyk" userId="8c6f3bda-e93f-4d58-9733-c10fc3768080" providerId="ADAL" clId="{2CC35EC4-63FD-4FC6-9123-8F535B31AAFD}" dt="2025-07-25T03:25:45.533" v="1778"/>
        <pc:sldMkLst>
          <pc:docMk/>
          <pc:sldMk cId="1377423304" sldId="356"/>
        </pc:sldMkLst>
      </pc:sldChg>
      <pc:sldChg chg="ord">
        <pc:chgData name="Tetiana Sytnyk" userId="8c6f3bda-e93f-4d58-9733-c10fc3768080" providerId="ADAL" clId="{2CC35EC4-63FD-4FC6-9123-8F535B31AAFD}" dt="2025-07-25T03:23:06.594" v="1772"/>
        <pc:sldMkLst>
          <pc:docMk/>
          <pc:sldMk cId="178022598" sldId="358"/>
        </pc:sldMkLst>
      </pc:sldChg>
      <pc:sldChg chg="ord">
        <pc:chgData name="Tetiana Sytnyk" userId="8c6f3bda-e93f-4d58-9733-c10fc3768080" providerId="ADAL" clId="{2CC35EC4-63FD-4FC6-9123-8F535B31AAFD}" dt="2025-07-25T03:23:09.912" v="1774"/>
        <pc:sldMkLst>
          <pc:docMk/>
          <pc:sldMk cId="820185508" sldId="360"/>
        </pc:sldMkLst>
      </pc:sldChg>
      <pc:sldChg chg="del">
        <pc:chgData name="Tetiana Sytnyk" userId="8c6f3bda-e93f-4d58-9733-c10fc3768080" providerId="ADAL" clId="{2CC35EC4-63FD-4FC6-9123-8F535B31AAFD}" dt="2025-07-25T03:27:41.448" v="1779" actId="47"/>
        <pc:sldMkLst>
          <pc:docMk/>
          <pc:sldMk cId="136837207" sldId="444"/>
        </pc:sldMkLst>
      </pc:sldChg>
      <pc:sldChg chg="modSp add mod">
        <pc:chgData name="Tetiana Sytnyk" userId="8c6f3bda-e93f-4d58-9733-c10fc3768080" providerId="ADAL" clId="{2CC35EC4-63FD-4FC6-9123-8F535B31AAFD}" dt="2025-07-25T04:24:28.076" v="4027" actId="20577"/>
        <pc:sldMkLst>
          <pc:docMk/>
          <pc:sldMk cId="683109875" sldId="490"/>
        </pc:sldMkLst>
        <pc:spChg chg="mod">
          <ac:chgData name="Tetiana Sytnyk" userId="8c6f3bda-e93f-4d58-9733-c10fc3768080" providerId="ADAL" clId="{2CC35EC4-63FD-4FC6-9123-8F535B31AAFD}" dt="2025-07-25T04:04:06.575" v="1805" actId="20577"/>
          <ac:spMkLst>
            <pc:docMk/>
            <pc:sldMk cId="683109875" sldId="490"/>
            <ac:spMk id="2" creationId="{11075551-5F3B-4D88-FC1A-5B17CF2F41B4}"/>
          </ac:spMkLst>
        </pc:spChg>
        <pc:spChg chg="mod">
          <ac:chgData name="Tetiana Sytnyk" userId="8c6f3bda-e93f-4d58-9733-c10fc3768080" providerId="ADAL" clId="{2CC35EC4-63FD-4FC6-9123-8F535B31AAFD}" dt="2025-07-25T04:24:28.076" v="4027" actId="20577"/>
          <ac:spMkLst>
            <pc:docMk/>
            <pc:sldMk cId="683109875" sldId="490"/>
            <ac:spMk id="4" creationId="{01A9DCA3-A0B1-1BA1-3455-A83526AFED01}"/>
          </ac:spMkLst>
        </pc:spChg>
      </pc:sldChg>
      <pc:sldChg chg="mod modShow">
        <pc:chgData name="Tetiana Sytnyk" userId="8c6f3bda-e93f-4d58-9733-c10fc3768080" providerId="ADAL" clId="{2CC35EC4-63FD-4FC6-9123-8F535B31AAFD}" dt="2025-07-25T02:21:52.639" v="1" actId="729"/>
        <pc:sldMkLst>
          <pc:docMk/>
          <pc:sldMk cId="2018146193" sldId="511"/>
        </pc:sldMkLst>
      </pc:sldChg>
      <pc:sldChg chg="mod modShow">
        <pc:chgData name="Tetiana Sytnyk" userId="8c6f3bda-e93f-4d58-9733-c10fc3768080" providerId="ADAL" clId="{2CC35EC4-63FD-4FC6-9123-8F535B31AAFD}" dt="2025-07-25T02:22:12.434" v="2" actId="729"/>
        <pc:sldMkLst>
          <pc:docMk/>
          <pc:sldMk cId="2864660980" sldId="514"/>
        </pc:sldMkLst>
      </pc:sldChg>
      <pc:sldChg chg="mod modShow">
        <pc:chgData name="Tetiana Sytnyk" userId="8c6f3bda-e93f-4d58-9733-c10fc3768080" providerId="ADAL" clId="{2CC35EC4-63FD-4FC6-9123-8F535B31AAFD}" dt="2025-07-25T02:22:23.068" v="3" actId="729"/>
        <pc:sldMkLst>
          <pc:docMk/>
          <pc:sldMk cId="1124525769" sldId="515"/>
        </pc:sldMkLst>
      </pc:sldChg>
      <pc:sldChg chg="mod modShow">
        <pc:chgData name="Tetiana Sytnyk" userId="8c6f3bda-e93f-4d58-9733-c10fc3768080" providerId="ADAL" clId="{2CC35EC4-63FD-4FC6-9123-8F535B31AAFD}" dt="2025-07-25T13:02:13.780" v="5441" actId="729"/>
        <pc:sldMkLst>
          <pc:docMk/>
          <pc:sldMk cId="2539531318" sldId="516"/>
        </pc:sldMkLst>
      </pc:sldChg>
      <pc:sldChg chg="mod modShow">
        <pc:chgData name="Tetiana Sytnyk" userId="8c6f3bda-e93f-4d58-9733-c10fc3768080" providerId="ADAL" clId="{2CC35EC4-63FD-4FC6-9123-8F535B31AAFD}" dt="2025-07-25T02:25:58.733" v="6" actId="729"/>
        <pc:sldMkLst>
          <pc:docMk/>
          <pc:sldMk cId="1465426425" sldId="519"/>
        </pc:sldMkLst>
      </pc:sldChg>
      <pc:sldChg chg="mod modShow">
        <pc:chgData name="Tetiana Sytnyk" userId="8c6f3bda-e93f-4d58-9733-c10fc3768080" providerId="ADAL" clId="{2CC35EC4-63FD-4FC6-9123-8F535B31AAFD}" dt="2025-07-25T02:27:50.917" v="7" actId="729"/>
        <pc:sldMkLst>
          <pc:docMk/>
          <pc:sldMk cId="90549753" sldId="521"/>
        </pc:sldMkLst>
      </pc:sldChg>
      <pc:sldChg chg="mod modShow">
        <pc:chgData name="Tetiana Sytnyk" userId="8c6f3bda-e93f-4d58-9733-c10fc3768080" providerId="ADAL" clId="{2CC35EC4-63FD-4FC6-9123-8F535B31AAFD}" dt="2025-07-25T02:27:53.937" v="8" actId="729"/>
        <pc:sldMkLst>
          <pc:docMk/>
          <pc:sldMk cId="2829618626" sldId="522"/>
        </pc:sldMkLst>
      </pc:sldChg>
      <pc:sldChg chg="mod modShow">
        <pc:chgData name="Tetiana Sytnyk" userId="8c6f3bda-e93f-4d58-9733-c10fc3768080" providerId="ADAL" clId="{2CC35EC4-63FD-4FC6-9123-8F535B31AAFD}" dt="2025-07-25T02:27:56.630" v="9" actId="729"/>
        <pc:sldMkLst>
          <pc:docMk/>
          <pc:sldMk cId="1596831216" sldId="523"/>
        </pc:sldMkLst>
      </pc:sldChg>
      <pc:sldChg chg="ord">
        <pc:chgData name="Tetiana Sytnyk" userId="8c6f3bda-e93f-4d58-9733-c10fc3768080" providerId="ADAL" clId="{2CC35EC4-63FD-4FC6-9123-8F535B31AAFD}" dt="2025-07-25T02:32:13.654" v="16"/>
        <pc:sldMkLst>
          <pc:docMk/>
          <pc:sldMk cId="3850552627" sldId="524"/>
        </pc:sldMkLst>
      </pc:sldChg>
      <pc:sldChg chg="modSp">
        <pc:chgData name="Tetiana Sytnyk" userId="8c6f3bda-e93f-4d58-9733-c10fc3768080" providerId="ADAL" clId="{2CC35EC4-63FD-4FC6-9123-8F535B31AAFD}" dt="2025-07-25T02:36:42.311" v="17"/>
        <pc:sldMkLst>
          <pc:docMk/>
          <pc:sldMk cId="3248508157" sldId="530"/>
        </pc:sldMkLst>
        <pc:graphicFrameChg chg="mod">
          <ac:chgData name="Tetiana Sytnyk" userId="8c6f3bda-e93f-4d58-9733-c10fc3768080" providerId="ADAL" clId="{2CC35EC4-63FD-4FC6-9123-8F535B31AAFD}" dt="2025-07-25T02:36:42.311" v="17"/>
          <ac:graphicFrameMkLst>
            <pc:docMk/>
            <pc:sldMk cId="3248508157" sldId="530"/>
            <ac:graphicFrameMk id="20" creationId="{5249768C-704C-FFC8-B91C-3C0851105C99}"/>
          </ac:graphicFrameMkLst>
        </pc:graphicFrameChg>
      </pc:sldChg>
      <pc:sldChg chg="modSp">
        <pc:chgData name="Tetiana Sytnyk" userId="8c6f3bda-e93f-4d58-9733-c10fc3768080" providerId="ADAL" clId="{2CC35EC4-63FD-4FC6-9123-8F535B31AAFD}" dt="2025-07-25T02:37:07.274" v="18"/>
        <pc:sldMkLst>
          <pc:docMk/>
          <pc:sldMk cId="3124180618" sldId="531"/>
        </pc:sldMkLst>
        <pc:graphicFrameChg chg="mod">
          <ac:chgData name="Tetiana Sytnyk" userId="8c6f3bda-e93f-4d58-9733-c10fc3768080" providerId="ADAL" clId="{2CC35EC4-63FD-4FC6-9123-8F535B31AAFD}" dt="2025-07-25T02:37:07.274" v="18"/>
          <ac:graphicFrameMkLst>
            <pc:docMk/>
            <pc:sldMk cId="3124180618" sldId="531"/>
            <ac:graphicFrameMk id="20" creationId="{7A495809-3449-C83E-DA3C-6C31DBE201F7}"/>
          </ac:graphicFrameMkLst>
        </pc:graphicFrameChg>
      </pc:sldChg>
      <pc:sldChg chg="mod ord modShow">
        <pc:chgData name="Tetiana Sytnyk" userId="8c6f3bda-e93f-4d58-9733-c10fc3768080" providerId="ADAL" clId="{2CC35EC4-63FD-4FC6-9123-8F535B31AAFD}" dt="2025-07-25T03:25:12.780" v="1776" actId="729"/>
        <pc:sldMkLst>
          <pc:docMk/>
          <pc:sldMk cId="607206217" sldId="532"/>
        </pc:sldMkLst>
      </pc:sldChg>
      <pc:sldChg chg="mod ord modShow">
        <pc:chgData name="Tetiana Sytnyk" userId="8c6f3bda-e93f-4d58-9733-c10fc3768080" providerId="ADAL" clId="{2CC35EC4-63FD-4FC6-9123-8F535B31AAFD}" dt="2025-07-25T03:25:12.780" v="1776" actId="729"/>
        <pc:sldMkLst>
          <pc:docMk/>
          <pc:sldMk cId="1964408199" sldId="533"/>
        </pc:sldMkLst>
      </pc:sldChg>
      <pc:sldChg chg="mod ord modShow">
        <pc:chgData name="Tetiana Sytnyk" userId="8c6f3bda-e93f-4d58-9733-c10fc3768080" providerId="ADAL" clId="{2CC35EC4-63FD-4FC6-9123-8F535B31AAFD}" dt="2025-07-25T03:25:12.780" v="1776" actId="729"/>
        <pc:sldMkLst>
          <pc:docMk/>
          <pc:sldMk cId="1951620583" sldId="534"/>
        </pc:sldMkLst>
      </pc:sldChg>
      <pc:sldChg chg="mod ord modShow">
        <pc:chgData name="Tetiana Sytnyk" userId="8c6f3bda-e93f-4d58-9733-c10fc3768080" providerId="ADAL" clId="{2CC35EC4-63FD-4FC6-9123-8F535B31AAFD}" dt="2025-07-25T03:25:12.780" v="1776" actId="729"/>
        <pc:sldMkLst>
          <pc:docMk/>
          <pc:sldMk cId="1689684963" sldId="535"/>
        </pc:sldMkLst>
      </pc:sldChg>
      <pc:sldChg chg="mod ord modShow">
        <pc:chgData name="Tetiana Sytnyk" userId="8c6f3bda-e93f-4d58-9733-c10fc3768080" providerId="ADAL" clId="{2CC35EC4-63FD-4FC6-9123-8F535B31AAFD}" dt="2025-07-25T03:25:12.780" v="1776" actId="729"/>
        <pc:sldMkLst>
          <pc:docMk/>
          <pc:sldMk cId="462295962" sldId="536"/>
        </pc:sldMkLst>
      </pc:sldChg>
      <pc:sldChg chg="mod ord modShow">
        <pc:chgData name="Tetiana Sytnyk" userId="8c6f3bda-e93f-4d58-9733-c10fc3768080" providerId="ADAL" clId="{2CC35EC4-63FD-4FC6-9123-8F535B31AAFD}" dt="2025-07-25T03:25:12.780" v="1776" actId="729"/>
        <pc:sldMkLst>
          <pc:docMk/>
          <pc:sldMk cId="1650938750" sldId="537"/>
        </pc:sldMkLst>
      </pc:sldChg>
      <pc:sldChg chg="ord">
        <pc:chgData name="Tetiana Sytnyk" userId="8c6f3bda-e93f-4d58-9733-c10fc3768080" providerId="ADAL" clId="{2CC35EC4-63FD-4FC6-9123-8F535B31AAFD}" dt="2025-07-25T03:25:45.533" v="1778"/>
        <pc:sldMkLst>
          <pc:docMk/>
          <pc:sldMk cId="337196223" sldId="538"/>
        </pc:sldMkLst>
      </pc:sldChg>
      <pc:sldChg chg="ord">
        <pc:chgData name="Tetiana Sytnyk" userId="8c6f3bda-e93f-4d58-9733-c10fc3768080" providerId="ADAL" clId="{2CC35EC4-63FD-4FC6-9123-8F535B31AAFD}" dt="2025-07-25T03:23:06.594" v="1772"/>
        <pc:sldMkLst>
          <pc:docMk/>
          <pc:sldMk cId="717121157" sldId="539"/>
        </pc:sldMkLst>
      </pc:sldChg>
      <pc:sldChg chg="ord">
        <pc:chgData name="Tetiana Sytnyk" userId="8c6f3bda-e93f-4d58-9733-c10fc3768080" providerId="ADAL" clId="{2CC35EC4-63FD-4FC6-9123-8F535B31AAFD}" dt="2025-07-25T03:23:06.594" v="1772"/>
        <pc:sldMkLst>
          <pc:docMk/>
          <pc:sldMk cId="308781646" sldId="540"/>
        </pc:sldMkLst>
      </pc:sldChg>
      <pc:sldChg chg="ord">
        <pc:chgData name="Tetiana Sytnyk" userId="8c6f3bda-e93f-4d58-9733-c10fc3768080" providerId="ADAL" clId="{2CC35EC4-63FD-4FC6-9123-8F535B31AAFD}" dt="2025-07-25T03:23:09.912" v="1774"/>
        <pc:sldMkLst>
          <pc:docMk/>
          <pc:sldMk cId="2736398331" sldId="541"/>
        </pc:sldMkLst>
      </pc:sldChg>
      <pc:sldChg chg="ord">
        <pc:chgData name="Tetiana Sytnyk" userId="8c6f3bda-e93f-4d58-9733-c10fc3768080" providerId="ADAL" clId="{2CC35EC4-63FD-4FC6-9123-8F535B31AAFD}" dt="2025-07-25T02:30:08.446" v="14"/>
        <pc:sldMkLst>
          <pc:docMk/>
          <pc:sldMk cId="1306659661" sldId="545"/>
        </pc:sldMkLst>
      </pc:sldChg>
      <pc:sldChg chg="ord">
        <pc:chgData name="Tetiana Sytnyk" userId="8c6f3bda-e93f-4d58-9733-c10fc3768080" providerId="ADAL" clId="{2CC35EC4-63FD-4FC6-9123-8F535B31AAFD}" dt="2025-07-25T02:30:08.446" v="14"/>
        <pc:sldMkLst>
          <pc:docMk/>
          <pc:sldMk cId="1350905963" sldId="546"/>
        </pc:sldMkLst>
      </pc:sldChg>
      <pc:sldChg chg="del">
        <pc:chgData name="Tetiana Sytnyk" userId="8c6f3bda-e93f-4d58-9733-c10fc3768080" providerId="ADAL" clId="{2CC35EC4-63FD-4FC6-9123-8F535B31AAFD}" dt="2025-07-25T03:35:35.529" v="1784" actId="47"/>
        <pc:sldMkLst>
          <pc:docMk/>
          <pc:sldMk cId="1165057349" sldId="548"/>
        </pc:sldMkLst>
      </pc:sldChg>
      <pc:sldChg chg="mod modShow">
        <pc:chgData name="Tetiana Sytnyk" userId="8c6f3bda-e93f-4d58-9733-c10fc3768080" providerId="ADAL" clId="{2CC35EC4-63FD-4FC6-9123-8F535B31AAFD}" dt="2025-07-25T03:13:50.507" v="1756" actId="729"/>
        <pc:sldMkLst>
          <pc:docMk/>
          <pc:sldMk cId="3772415734" sldId="551"/>
        </pc:sldMkLst>
      </pc:sldChg>
      <pc:sldChg chg="ord">
        <pc:chgData name="Tetiana Sytnyk" userId="8c6f3bda-e93f-4d58-9733-c10fc3768080" providerId="ADAL" clId="{2CC35EC4-63FD-4FC6-9123-8F535B31AAFD}" dt="2025-07-25T03:15:09.867" v="1759"/>
        <pc:sldMkLst>
          <pc:docMk/>
          <pc:sldMk cId="720747745" sldId="552"/>
        </pc:sldMkLst>
      </pc:sldChg>
      <pc:sldChg chg="mod modShow">
        <pc:chgData name="Tetiana Sytnyk" userId="8c6f3bda-e93f-4d58-9733-c10fc3768080" providerId="ADAL" clId="{2CC35EC4-63FD-4FC6-9123-8F535B31AAFD}" dt="2025-07-25T03:04:07.041" v="1750" actId="729"/>
        <pc:sldMkLst>
          <pc:docMk/>
          <pc:sldMk cId="2922365891" sldId="556"/>
        </pc:sldMkLst>
      </pc:sldChg>
      <pc:sldChg chg="mod modShow">
        <pc:chgData name="Tetiana Sytnyk" userId="8c6f3bda-e93f-4d58-9733-c10fc3768080" providerId="ADAL" clId="{2CC35EC4-63FD-4FC6-9123-8F535B31AAFD}" dt="2025-07-25T03:11:35.495" v="1753" actId="729"/>
        <pc:sldMkLst>
          <pc:docMk/>
          <pc:sldMk cId="2963307763" sldId="557"/>
        </pc:sldMkLst>
      </pc:sldChg>
      <pc:sldChg chg="mod modShow">
        <pc:chgData name="Tetiana Sytnyk" userId="8c6f3bda-e93f-4d58-9733-c10fc3768080" providerId="ADAL" clId="{2CC35EC4-63FD-4FC6-9123-8F535B31AAFD}" dt="2025-07-25T02:39:37.509" v="24" actId="729"/>
        <pc:sldMkLst>
          <pc:docMk/>
          <pc:sldMk cId="2904794984" sldId="559"/>
        </pc:sldMkLst>
      </pc:sldChg>
      <pc:sldChg chg="mod modShow">
        <pc:chgData name="Tetiana Sytnyk" userId="8c6f3bda-e93f-4d58-9733-c10fc3768080" providerId="ADAL" clId="{2CC35EC4-63FD-4FC6-9123-8F535B31AAFD}" dt="2025-07-25T02:40:53.029" v="26" actId="729"/>
        <pc:sldMkLst>
          <pc:docMk/>
          <pc:sldMk cId="2763566925" sldId="560"/>
        </pc:sldMkLst>
      </pc:sldChg>
      <pc:sldChg chg="mod modShow">
        <pc:chgData name="Tetiana Sytnyk" userId="8c6f3bda-e93f-4d58-9733-c10fc3768080" providerId="ADAL" clId="{2CC35EC4-63FD-4FC6-9123-8F535B31AAFD}" dt="2025-07-25T02:41:08.426" v="28" actId="729"/>
        <pc:sldMkLst>
          <pc:docMk/>
          <pc:sldMk cId="3464743602" sldId="561"/>
        </pc:sldMkLst>
      </pc:sldChg>
      <pc:sldChg chg="mod modShow">
        <pc:chgData name="Tetiana Sytnyk" userId="8c6f3bda-e93f-4d58-9733-c10fc3768080" providerId="ADAL" clId="{2CC35EC4-63FD-4FC6-9123-8F535B31AAFD}" dt="2025-07-25T03:36:42.520" v="1786" actId="729"/>
        <pc:sldMkLst>
          <pc:docMk/>
          <pc:sldMk cId="3449139056" sldId="562"/>
        </pc:sldMkLst>
      </pc:sldChg>
      <pc:sldChg chg="mod modShow">
        <pc:chgData name="Tetiana Sytnyk" userId="8c6f3bda-e93f-4d58-9733-c10fc3768080" providerId="ADAL" clId="{2CC35EC4-63FD-4FC6-9123-8F535B31AAFD}" dt="2025-07-25T02:42:16.576" v="30" actId="729"/>
        <pc:sldMkLst>
          <pc:docMk/>
          <pc:sldMk cId="1196201487" sldId="565"/>
        </pc:sldMkLst>
      </pc:sldChg>
      <pc:sldChg chg="mod modShow">
        <pc:chgData name="Tetiana Sytnyk" userId="8c6f3bda-e93f-4d58-9733-c10fc3768080" providerId="ADAL" clId="{2CC35EC4-63FD-4FC6-9123-8F535B31AAFD}" dt="2025-07-25T02:45:21.321" v="489" actId="729"/>
        <pc:sldMkLst>
          <pc:docMk/>
          <pc:sldMk cId="2744319833" sldId="566"/>
        </pc:sldMkLst>
      </pc:sldChg>
      <pc:sldChg chg="mod modShow">
        <pc:chgData name="Tetiana Sytnyk" userId="8c6f3bda-e93f-4d58-9733-c10fc3768080" providerId="ADAL" clId="{2CC35EC4-63FD-4FC6-9123-8F535B31AAFD}" dt="2025-07-25T03:02:40.181" v="1746" actId="729"/>
        <pc:sldMkLst>
          <pc:docMk/>
          <pc:sldMk cId="1063026209" sldId="568"/>
        </pc:sldMkLst>
      </pc:sldChg>
      <pc:sldChg chg="mod modShow">
        <pc:chgData name="Tetiana Sytnyk" userId="8c6f3bda-e93f-4d58-9733-c10fc3768080" providerId="ADAL" clId="{2CC35EC4-63FD-4FC6-9123-8F535B31AAFD}" dt="2025-07-25T03:03:49.542" v="1749" actId="729"/>
        <pc:sldMkLst>
          <pc:docMk/>
          <pc:sldMk cId="2563847878" sldId="570"/>
        </pc:sldMkLst>
      </pc:sldChg>
      <pc:sldChg chg="mod modShow">
        <pc:chgData name="Tetiana Sytnyk" userId="8c6f3bda-e93f-4d58-9733-c10fc3768080" providerId="ADAL" clId="{2CC35EC4-63FD-4FC6-9123-8F535B31AAFD}" dt="2025-07-25T03:11:39.781" v="1754" actId="729"/>
        <pc:sldMkLst>
          <pc:docMk/>
          <pc:sldMk cId="3793721204" sldId="571"/>
        </pc:sldMkLst>
      </pc:sldChg>
      <pc:sldChg chg="mod modShow">
        <pc:chgData name="Tetiana Sytnyk" userId="8c6f3bda-e93f-4d58-9733-c10fc3768080" providerId="ADAL" clId="{2CC35EC4-63FD-4FC6-9123-8F535B31AAFD}" dt="2025-07-25T03:11:50.489" v="1755" actId="729"/>
        <pc:sldMkLst>
          <pc:docMk/>
          <pc:sldMk cId="841420265" sldId="572"/>
        </pc:sldMkLst>
      </pc:sldChg>
      <pc:sldChg chg="mod modShow">
        <pc:chgData name="Tetiana Sytnyk" userId="8c6f3bda-e93f-4d58-9733-c10fc3768080" providerId="ADAL" clId="{2CC35EC4-63FD-4FC6-9123-8F535B31AAFD}" dt="2025-07-25T03:13:56.386" v="1757" actId="729"/>
        <pc:sldMkLst>
          <pc:docMk/>
          <pc:sldMk cId="1793473677" sldId="574"/>
        </pc:sldMkLst>
      </pc:sldChg>
      <pc:sldChg chg="mod modShow">
        <pc:chgData name="Tetiana Sytnyk" userId="8c6f3bda-e93f-4d58-9733-c10fc3768080" providerId="ADAL" clId="{2CC35EC4-63FD-4FC6-9123-8F535B31AAFD}" dt="2025-07-25T03:19:12.647" v="1762" actId="729"/>
        <pc:sldMkLst>
          <pc:docMk/>
          <pc:sldMk cId="2604237655" sldId="576"/>
        </pc:sldMkLst>
      </pc:sldChg>
      <pc:sldChg chg="mod modShow">
        <pc:chgData name="Tetiana Sytnyk" userId="8c6f3bda-e93f-4d58-9733-c10fc3768080" providerId="ADAL" clId="{2CC35EC4-63FD-4FC6-9123-8F535B31AAFD}" dt="2025-07-25T03:20:08.213" v="1764" actId="729"/>
        <pc:sldMkLst>
          <pc:docMk/>
          <pc:sldMk cId="3831716375" sldId="578"/>
        </pc:sldMkLst>
      </pc:sldChg>
      <pc:sldChg chg="mod modShow">
        <pc:chgData name="Tetiana Sytnyk" userId="8c6f3bda-e93f-4d58-9733-c10fc3768080" providerId="ADAL" clId="{2CC35EC4-63FD-4FC6-9123-8F535B31AAFD}" dt="2025-07-25T03:20:23.898" v="1765" actId="729"/>
        <pc:sldMkLst>
          <pc:docMk/>
          <pc:sldMk cId="3889598425" sldId="579"/>
        </pc:sldMkLst>
      </pc:sldChg>
      <pc:sldChg chg="mod modShow">
        <pc:chgData name="Tetiana Sytnyk" userId="8c6f3bda-e93f-4d58-9733-c10fc3768080" providerId="ADAL" clId="{2CC35EC4-63FD-4FC6-9123-8F535B31AAFD}" dt="2025-07-25T03:20:23.898" v="1765" actId="729"/>
        <pc:sldMkLst>
          <pc:docMk/>
          <pc:sldMk cId="4030179298" sldId="580"/>
        </pc:sldMkLst>
      </pc:sldChg>
      <pc:sldChg chg="mod modShow">
        <pc:chgData name="Tetiana Sytnyk" userId="8c6f3bda-e93f-4d58-9733-c10fc3768080" providerId="ADAL" clId="{2CC35EC4-63FD-4FC6-9123-8F535B31AAFD}" dt="2025-07-25T03:20:23.898" v="1765" actId="729"/>
        <pc:sldMkLst>
          <pc:docMk/>
          <pc:sldMk cId="2661180694" sldId="581"/>
        </pc:sldMkLst>
      </pc:sldChg>
      <pc:sldChg chg="mod modShow">
        <pc:chgData name="Tetiana Sytnyk" userId="8c6f3bda-e93f-4d58-9733-c10fc3768080" providerId="ADAL" clId="{2CC35EC4-63FD-4FC6-9123-8F535B31AAFD}" dt="2025-07-25T03:18:44.469" v="1760" actId="729"/>
        <pc:sldMkLst>
          <pc:docMk/>
          <pc:sldMk cId="3304821440" sldId="582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3839969911" sldId="591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1676139600" sldId="598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369735449" sldId="599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3030899517" sldId="600"/>
        </pc:sldMkLst>
      </pc:sldChg>
      <pc:sldChg chg="del">
        <pc:chgData name="Tetiana Sytnyk" userId="8c6f3bda-e93f-4d58-9733-c10fc3768080" providerId="ADAL" clId="{2CC35EC4-63FD-4FC6-9123-8F535B31AAFD}" dt="2025-07-25T02:23:21.362" v="5" actId="47"/>
        <pc:sldMkLst>
          <pc:docMk/>
          <pc:sldMk cId="871888811" sldId="606"/>
        </pc:sldMkLst>
      </pc:sldChg>
      <pc:sldChg chg="modSp">
        <pc:chgData name="Tetiana Sytnyk" userId="8c6f3bda-e93f-4d58-9733-c10fc3768080" providerId="ADAL" clId="{2CC35EC4-63FD-4FC6-9123-8F535B31AAFD}" dt="2025-07-25T03:35:03.287" v="1782"/>
        <pc:sldMkLst>
          <pc:docMk/>
          <pc:sldMk cId="2700498432" sldId="607"/>
        </pc:sldMkLst>
        <pc:spChg chg="mod">
          <ac:chgData name="Tetiana Sytnyk" userId="8c6f3bda-e93f-4d58-9733-c10fc3768080" providerId="ADAL" clId="{2CC35EC4-63FD-4FC6-9123-8F535B31AAFD}" dt="2025-07-25T03:35:03.287" v="1782"/>
          <ac:spMkLst>
            <pc:docMk/>
            <pc:sldMk cId="2700498432" sldId="607"/>
            <ac:spMk id="2" creationId="{14463D8D-2CF1-9624-3C25-E8BCAD985E1E}"/>
          </ac:spMkLst>
        </pc:spChg>
      </pc:sldChg>
      <pc:sldChg chg="mod modShow">
        <pc:chgData name="Tetiana Sytnyk" userId="8c6f3bda-e93f-4d58-9733-c10fc3768080" providerId="ADAL" clId="{2CC35EC4-63FD-4FC6-9123-8F535B31AAFD}" dt="2025-07-25T02:39:34.387" v="23" actId="729"/>
        <pc:sldMkLst>
          <pc:docMk/>
          <pc:sldMk cId="1579087781" sldId="608"/>
        </pc:sldMkLst>
      </pc:sldChg>
      <pc:sldChg chg="mod modShow">
        <pc:chgData name="Tetiana Sytnyk" userId="8c6f3bda-e93f-4d58-9733-c10fc3768080" providerId="ADAL" clId="{2CC35EC4-63FD-4FC6-9123-8F535B31AAFD}" dt="2025-07-25T02:39:51.591" v="25" actId="729"/>
        <pc:sldMkLst>
          <pc:docMk/>
          <pc:sldMk cId="638771196" sldId="609"/>
        </pc:sldMkLst>
      </pc:sldChg>
      <pc:sldChg chg="mod modShow">
        <pc:chgData name="Tetiana Sytnyk" userId="8c6f3bda-e93f-4d58-9733-c10fc3768080" providerId="ADAL" clId="{2CC35EC4-63FD-4FC6-9123-8F535B31AAFD}" dt="2025-07-25T02:41:02.533" v="27" actId="729"/>
        <pc:sldMkLst>
          <pc:docMk/>
          <pc:sldMk cId="220515878" sldId="610"/>
        </pc:sldMkLst>
      </pc:sldChg>
      <pc:sldChg chg="mod modShow">
        <pc:chgData name="Tetiana Sytnyk" userId="8c6f3bda-e93f-4d58-9733-c10fc3768080" providerId="ADAL" clId="{2CC35EC4-63FD-4FC6-9123-8F535B31AAFD}" dt="2025-07-25T03:36:39.174" v="1785" actId="729"/>
        <pc:sldMkLst>
          <pc:docMk/>
          <pc:sldMk cId="844517983" sldId="611"/>
        </pc:sldMkLst>
      </pc:sldChg>
      <pc:sldChg chg="mod modShow">
        <pc:chgData name="Tetiana Sytnyk" userId="8c6f3bda-e93f-4d58-9733-c10fc3768080" providerId="ADAL" clId="{2CC35EC4-63FD-4FC6-9123-8F535B31AAFD}" dt="2025-07-25T02:42:12.990" v="29" actId="729"/>
        <pc:sldMkLst>
          <pc:docMk/>
          <pc:sldMk cId="1272641873" sldId="612"/>
        </pc:sldMkLst>
      </pc:sldChg>
      <pc:sldChg chg="mod modShow">
        <pc:chgData name="Tetiana Sytnyk" userId="8c6f3bda-e93f-4d58-9733-c10fc3768080" providerId="ADAL" clId="{2CC35EC4-63FD-4FC6-9123-8F535B31AAFD}" dt="2025-07-25T02:42:25.352" v="31" actId="729"/>
        <pc:sldMkLst>
          <pc:docMk/>
          <pc:sldMk cId="679644797" sldId="614"/>
        </pc:sldMkLst>
      </pc:sldChg>
      <pc:sldChg chg="mod modShow">
        <pc:chgData name="Tetiana Sytnyk" userId="8c6f3bda-e93f-4d58-9733-c10fc3768080" providerId="ADAL" clId="{2CC35EC4-63FD-4FC6-9123-8F535B31AAFD}" dt="2025-07-25T03:02:30.298" v="1745" actId="729"/>
        <pc:sldMkLst>
          <pc:docMk/>
          <pc:sldMk cId="1528400379" sldId="615"/>
        </pc:sldMkLst>
      </pc:sldChg>
      <pc:sldChg chg="mod modShow">
        <pc:chgData name="Tetiana Sytnyk" userId="8c6f3bda-e93f-4d58-9733-c10fc3768080" providerId="ADAL" clId="{2CC35EC4-63FD-4FC6-9123-8F535B31AAFD}" dt="2025-07-25T03:03:45.445" v="1748" actId="729"/>
        <pc:sldMkLst>
          <pc:docMk/>
          <pc:sldMk cId="1932513076" sldId="616"/>
        </pc:sldMkLst>
      </pc:sldChg>
      <pc:sldChg chg="mod modShow">
        <pc:chgData name="Tetiana Sytnyk" userId="8c6f3bda-e93f-4d58-9733-c10fc3768080" providerId="ADAL" clId="{2CC35EC4-63FD-4FC6-9123-8F535B31AAFD}" dt="2025-07-25T03:11:30.834" v="1752" actId="729"/>
        <pc:sldMkLst>
          <pc:docMk/>
          <pc:sldMk cId="2083692618" sldId="618"/>
        </pc:sldMkLst>
      </pc:sldChg>
      <pc:sldChg chg="mod modShow">
        <pc:chgData name="Tetiana Sytnyk" userId="8c6f3bda-e93f-4d58-9733-c10fc3768080" providerId="ADAL" clId="{2CC35EC4-63FD-4FC6-9123-8F535B31AAFD}" dt="2025-07-25T03:18:44.469" v="1760" actId="729"/>
        <pc:sldMkLst>
          <pc:docMk/>
          <pc:sldMk cId="1004767331" sldId="619"/>
        </pc:sldMkLst>
      </pc:sldChg>
      <pc:sldChg chg="mod modShow">
        <pc:chgData name="Tetiana Sytnyk" userId="8c6f3bda-e93f-4d58-9733-c10fc3768080" providerId="ADAL" clId="{2CC35EC4-63FD-4FC6-9123-8F535B31AAFD}" dt="2025-07-25T03:18:44.469" v="1760" actId="729"/>
        <pc:sldMkLst>
          <pc:docMk/>
          <pc:sldMk cId="3544388172" sldId="620"/>
        </pc:sldMkLst>
      </pc:sldChg>
      <pc:sldChg chg="mod modShow">
        <pc:chgData name="Tetiana Sytnyk" userId="8c6f3bda-e93f-4d58-9733-c10fc3768080" providerId="ADAL" clId="{2CC35EC4-63FD-4FC6-9123-8F535B31AAFD}" dt="2025-07-25T03:18:59.948" v="1761" actId="729"/>
        <pc:sldMkLst>
          <pc:docMk/>
          <pc:sldMk cId="101836592" sldId="622"/>
        </pc:sldMkLst>
      </pc:sldChg>
      <pc:sldChg chg="mod modShow">
        <pc:chgData name="Tetiana Sytnyk" userId="8c6f3bda-e93f-4d58-9733-c10fc3768080" providerId="ADAL" clId="{2CC35EC4-63FD-4FC6-9123-8F535B31AAFD}" dt="2025-07-25T03:20:04.342" v="1763" actId="729"/>
        <pc:sldMkLst>
          <pc:docMk/>
          <pc:sldMk cId="1433602060" sldId="624"/>
        </pc:sldMkLst>
      </pc:sldChg>
      <pc:sldChg chg="mod modShow">
        <pc:chgData name="Tetiana Sytnyk" userId="8c6f3bda-e93f-4d58-9733-c10fc3768080" providerId="ADAL" clId="{2CC35EC4-63FD-4FC6-9123-8F535B31AAFD}" dt="2025-07-25T03:20:23.898" v="1765" actId="729"/>
        <pc:sldMkLst>
          <pc:docMk/>
          <pc:sldMk cId="660500980" sldId="625"/>
        </pc:sldMkLst>
      </pc:sldChg>
      <pc:sldChg chg="mod modShow">
        <pc:chgData name="Tetiana Sytnyk" userId="8c6f3bda-e93f-4d58-9733-c10fc3768080" providerId="ADAL" clId="{2CC35EC4-63FD-4FC6-9123-8F535B31AAFD}" dt="2025-07-25T03:20:23.898" v="1765" actId="729"/>
        <pc:sldMkLst>
          <pc:docMk/>
          <pc:sldMk cId="763446211" sldId="626"/>
        </pc:sldMkLst>
      </pc:sldChg>
      <pc:sldChg chg="mod modShow">
        <pc:chgData name="Tetiana Sytnyk" userId="8c6f3bda-e93f-4d58-9733-c10fc3768080" providerId="ADAL" clId="{2CC35EC4-63FD-4FC6-9123-8F535B31AAFD}" dt="2025-07-25T03:20:23.898" v="1765" actId="729"/>
        <pc:sldMkLst>
          <pc:docMk/>
          <pc:sldMk cId="4145257174" sldId="627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3536234334" sldId="630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1814725175" sldId="631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760013493" sldId="632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1588418463" sldId="633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240935072" sldId="634"/>
        </pc:sldMkLst>
      </pc:sldChg>
      <pc:sldChg chg="del">
        <pc:chgData name="Tetiana Sytnyk" userId="8c6f3bda-e93f-4d58-9733-c10fc3768080" providerId="ADAL" clId="{2CC35EC4-63FD-4FC6-9123-8F535B31AAFD}" dt="2025-07-25T03:21:26.242" v="1766" actId="47"/>
        <pc:sldMkLst>
          <pc:docMk/>
          <pc:sldMk cId="1363862469" sldId="635"/>
        </pc:sldMkLst>
      </pc:sldChg>
      <pc:sldChg chg="addSp modSp mod">
        <pc:chgData name="Tetiana Sytnyk" userId="8c6f3bda-e93f-4d58-9733-c10fc3768080" providerId="ADAL" clId="{2CC35EC4-63FD-4FC6-9123-8F535B31AAFD}" dt="2025-07-25T03:01:22.254" v="1744" actId="20577"/>
        <pc:sldMkLst>
          <pc:docMk/>
          <pc:sldMk cId="695640662" sldId="638"/>
        </pc:sldMkLst>
        <pc:spChg chg="mod">
          <ac:chgData name="Tetiana Sytnyk" userId="8c6f3bda-e93f-4d58-9733-c10fc3768080" providerId="ADAL" clId="{2CC35EC4-63FD-4FC6-9123-8F535B31AAFD}" dt="2025-07-25T02:46:19.300" v="511" actId="20577"/>
          <ac:spMkLst>
            <pc:docMk/>
            <pc:sldMk cId="695640662" sldId="638"/>
            <ac:spMk id="2" creationId="{554804DA-F906-7A38-2439-94BB7F61FDF1}"/>
          </ac:spMkLst>
        </pc:spChg>
        <pc:spChg chg="mod">
          <ac:chgData name="Tetiana Sytnyk" userId="8c6f3bda-e93f-4d58-9733-c10fc3768080" providerId="ADAL" clId="{2CC35EC4-63FD-4FC6-9123-8F535B31AAFD}" dt="2025-07-25T03:01:22.254" v="1744" actId="20577"/>
          <ac:spMkLst>
            <pc:docMk/>
            <pc:sldMk cId="695640662" sldId="638"/>
            <ac:spMk id="4" creationId="{E4D0FA0C-2720-D134-6D0A-072CAFB3A238}"/>
          </ac:spMkLst>
        </pc:spChg>
        <pc:spChg chg="add mod">
          <ac:chgData name="Tetiana Sytnyk" userId="8c6f3bda-e93f-4d58-9733-c10fc3768080" providerId="ADAL" clId="{2CC35EC4-63FD-4FC6-9123-8F535B31AAFD}" dt="2025-07-25T02:52:13.184" v="782" actId="14100"/>
          <ac:spMkLst>
            <pc:docMk/>
            <pc:sldMk cId="695640662" sldId="638"/>
            <ac:spMk id="5" creationId="{A943FA4C-120C-CD77-E955-E7BE399C4B65}"/>
          </ac:spMkLst>
        </pc:spChg>
        <pc:spChg chg="add mod">
          <ac:chgData name="Tetiana Sytnyk" userId="8c6f3bda-e93f-4d58-9733-c10fc3768080" providerId="ADAL" clId="{2CC35EC4-63FD-4FC6-9123-8F535B31AAFD}" dt="2025-07-25T02:49:44.865" v="670" actId="14100"/>
          <ac:spMkLst>
            <pc:docMk/>
            <pc:sldMk cId="695640662" sldId="638"/>
            <ac:spMk id="6" creationId="{0B2EE87C-4FBF-D86F-DE68-6DF49BDE765C}"/>
          </ac:spMkLst>
        </pc:spChg>
        <pc:spChg chg="add mod">
          <ac:chgData name="Tetiana Sytnyk" userId="8c6f3bda-e93f-4d58-9733-c10fc3768080" providerId="ADAL" clId="{2CC35EC4-63FD-4FC6-9123-8F535B31AAFD}" dt="2025-07-25T02:50:18.332" v="721" actId="14100"/>
          <ac:spMkLst>
            <pc:docMk/>
            <pc:sldMk cId="695640662" sldId="638"/>
            <ac:spMk id="8" creationId="{7CC69F6C-3E60-A17E-A456-98C9EDD19077}"/>
          </ac:spMkLst>
        </pc:spChg>
        <pc:spChg chg="add mod">
          <ac:chgData name="Tetiana Sytnyk" userId="8c6f3bda-e93f-4d58-9733-c10fc3768080" providerId="ADAL" clId="{2CC35EC4-63FD-4FC6-9123-8F535B31AAFD}" dt="2025-07-25T02:50:34.654" v="781" actId="1037"/>
          <ac:spMkLst>
            <pc:docMk/>
            <pc:sldMk cId="695640662" sldId="638"/>
            <ac:spMk id="9" creationId="{E78912C2-B525-9D48-D483-60F25009AACB}"/>
          </ac:spMkLst>
        </pc:spChg>
        <pc:spChg chg="add mod">
          <ac:chgData name="Tetiana Sytnyk" userId="8c6f3bda-e93f-4d58-9733-c10fc3768080" providerId="ADAL" clId="{2CC35EC4-63FD-4FC6-9123-8F535B31AAFD}" dt="2025-07-25T02:52:28.077" v="809" actId="14100"/>
          <ac:spMkLst>
            <pc:docMk/>
            <pc:sldMk cId="695640662" sldId="638"/>
            <ac:spMk id="10" creationId="{43098ED5-894E-9E26-5C13-36018C1C08A7}"/>
          </ac:spMkLst>
        </pc:spChg>
        <pc:spChg chg="add mod">
          <ac:chgData name="Tetiana Sytnyk" userId="8c6f3bda-e93f-4d58-9733-c10fc3768080" providerId="ADAL" clId="{2CC35EC4-63FD-4FC6-9123-8F535B31AAFD}" dt="2025-07-25T02:53:17.927" v="862" actId="1037"/>
          <ac:spMkLst>
            <pc:docMk/>
            <pc:sldMk cId="695640662" sldId="638"/>
            <ac:spMk id="13" creationId="{97CF13A1-7ADE-3C77-06C4-86E312728BCC}"/>
          </ac:spMkLst>
        </pc:spChg>
        <pc:spChg chg="add mod">
          <ac:chgData name="Tetiana Sytnyk" userId="8c6f3bda-e93f-4d58-9733-c10fc3768080" providerId="ADAL" clId="{2CC35EC4-63FD-4FC6-9123-8F535B31AAFD}" dt="2025-07-25T02:53:33.094" v="925" actId="1037"/>
          <ac:spMkLst>
            <pc:docMk/>
            <pc:sldMk cId="695640662" sldId="638"/>
            <ac:spMk id="17" creationId="{7130E74F-F576-0F98-DC4B-FF6D23BC84DD}"/>
          </ac:spMkLst>
        </pc:spChg>
        <pc:spChg chg="add mod">
          <ac:chgData name="Tetiana Sytnyk" userId="8c6f3bda-e93f-4d58-9733-c10fc3768080" providerId="ADAL" clId="{2CC35EC4-63FD-4FC6-9123-8F535B31AAFD}" dt="2025-07-25T02:53:50.763" v="992" actId="14100"/>
          <ac:spMkLst>
            <pc:docMk/>
            <pc:sldMk cId="695640662" sldId="638"/>
            <ac:spMk id="18" creationId="{9E6C6A33-D278-3FA7-66D1-BF60920F0742}"/>
          </ac:spMkLst>
        </pc:spChg>
        <pc:graphicFrameChg chg="modGraphic">
          <ac:chgData name="Tetiana Sytnyk" userId="8c6f3bda-e93f-4d58-9733-c10fc3768080" providerId="ADAL" clId="{2CC35EC4-63FD-4FC6-9123-8F535B31AAFD}" dt="2025-07-25T02:54:52.662" v="1010" actId="20577"/>
          <ac:graphicFrameMkLst>
            <pc:docMk/>
            <pc:sldMk cId="695640662" sldId="638"/>
            <ac:graphicFrameMk id="11" creationId="{3A7DD605-6256-BE14-C87A-351B7A80C01D}"/>
          </ac:graphicFrameMkLst>
        </pc:graphicFrameChg>
        <pc:graphicFrameChg chg="modGraphic">
          <ac:chgData name="Tetiana Sytnyk" userId="8c6f3bda-e93f-4d58-9733-c10fc3768080" providerId="ADAL" clId="{2CC35EC4-63FD-4FC6-9123-8F535B31AAFD}" dt="2025-07-25T02:47:42.117" v="531" actId="20577"/>
          <ac:graphicFrameMkLst>
            <pc:docMk/>
            <pc:sldMk cId="695640662" sldId="638"/>
            <ac:graphicFrameMk id="25" creationId="{4F6EFEEE-F9C8-3595-E2B4-78C2F3FDB8E4}"/>
          </ac:graphicFrameMkLst>
        </pc:graphicFrameChg>
      </pc:sldChg>
      <pc:sldChg chg="modSp add mod">
        <pc:chgData name="Tetiana Sytnyk" userId="8c6f3bda-e93f-4d58-9733-c10fc3768080" providerId="ADAL" clId="{2CC35EC4-63FD-4FC6-9123-8F535B31AAFD}" dt="2025-07-25T04:03:26.219" v="1796" actId="113"/>
        <pc:sldMkLst>
          <pc:docMk/>
          <pc:sldMk cId="4096384939" sldId="639"/>
        </pc:sldMkLst>
        <pc:spChg chg="mod">
          <ac:chgData name="Tetiana Sytnyk" userId="8c6f3bda-e93f-4d58-9733-c10fc3768080" providerId="ADAL" clId="{2CC35EC4-63FD-4FC6-9123-8F535B31AAFD}" dt="2025-07-25T04:03:26.219" v="1796" actId="113"/>
          <ac:spMkLst>
            <pc:docMk/>
            <pc:sldMk cId="4096384939" sldId="639"/>
            <ac:spMk id="2" creationId="{188F355A-11B4-5075-5C02-BD756832EEB8}"/>
          </ac:spMkLst>
        </pc:spChg>
      </pc:sldChg>
      <pc:sldChg chg="modSp add mod">
        <pc:chgData name="Tetiana Sytnyk" userId="8c6f3bda-e93f-4d58-9733-c10fc3768080" providerId="ADAL" clId="{2CC35EC4-63FD-4FC6-9123-8F535B31AAFD}" dt="2025-07-25T09:55:32.175" v="5439" actId="20577"/>
        <pc:sldMkLst>
          <pc:docMk/>
          <pc:sldMk cId="3689080752" sldId="640"/>
        </pc:sldMkLst>
        <pc:spChg chg="mod">
          <ac:chgData name="Tetiana Sytnyk" userId="8c6f3bda-e93f-4d58-9733-c10fc3768080" providerId="ADAL" clId="{2CC35EC4-63FD-4FC6-9123-8F535B31AAFD}" dt="2025-07-25T09:55:32.175" v="5439" actId="20577"/>
          <ac:spMkLst>
            <pc:docMk/>
            <pc:sldMk cId="3689080752" sldId="640"/>
            <ac:spMk id="4" creationId="{7F3249D7-F107-099F-C5EF-916B363C8982}"/>
          </ac:spMkLst>
        </pc:spChg>
      </pc:sldChg>
    </pc:docChg>
  </pc:docChgLst>
  <pc:docChgLst>
    <pc:chgData name="Tetiana Sytnyk" userId="8c6f3bda-e93f-4d58-9733-c10fc3768080" providerId="ADAL" clId="{22833B9A-5D26-4E62-9E0F-FBB31FE97EE9}"/>
    <pc:docChg chg="undo custSel addSld delSld modSld delSection modSection">
      <pc:chgData name="Tetiana Sytnyk" userId="8c6f3bda-e93f-4d58-9733-c10fc3768080" providerId="ADAL" clId="{22833B9A-5D26-4E62-9E0F-FBB31FE97EE9}" dt="2025-06-20T15:13:18.690" v="2492" actId="20577"/>
      <pc:docMkLst>
        <pc:docMk/>
      </pc:docMkLst>
      <pc:sldChg chg="modSp mod">
        <pc:chgData name="Tetiana Sytnyk" userId="8c6f3bda-e93f-4d58-9733-c10fc3768080" providerId="ADAL" clId="{22833B9A-5D26-4E62-9E0F-FBB31FE97EE9}" dt="2025-06-20T10:14:01.724" v="192" actId="2711"/>
        <pc:sldMkLst>
          <pc:docMk/>
          <pc:sldMk cId="987327018" sldId="325"/>
        </pc:sldMkLst>
        <pc:spChg chg="mod">
          <ac:chgData name="Tetiana Sytnyk" userId="8c6f3bda-e93f-4d58-9733-c10fc3768080" providerId="ADAL" clId="{22833B9A-5D26-4E62-9E0F-FBB31FE97EE9}" dt="2025-06-20T10:14:01.724" v="192" actId="2711"/>
          <ac:spMkLst>
            <pc:docMk/>
            <pc:sldMk cId="987327018" sldId="325"/>
            <ac:spMk id="2" creationId="{D07B67BA-8ECA-5F5D-0C35-792EB99C9E07}"/>
          </ac:spMkLst>
        </pc:spChg>
      </pc:sldChg>
      <pc:sldChg chg="addSp modSp add mod">
        <pc:chgData name="Tetiana Sytnyk" userId="8c6f3bda-e93f-4d58-9733-c10fc3768080" providerId="ADAL" clId="{22833B9A-5D26-4E62-9E0F-FBB31FE97EE9}" dt="2025-06-20T15:09:28.226" v="2463" actId="20577"/>
        <pc:sldMkLst>
          <pc:docMk/>
          <pc:sldMk cId="3321743853" sldId="329"/>
        </pc:sldMkLst>
        <pc:spChg chg="mod">
          <ac:chgData name="Tetiana Sytnyk" userId="8c6f3bda-e93f-4d58-9733-c10fc3768080" providerId="ADAL" clId="{22833B9A-5D26-4E62-9E0F-FBB31FE97EE9}" dt="2025-06-20T15:09:28.226" v="2463" actId="20577"/>
          <ac:spMkLst>
            <pc:docMk/>
            <pc:sldMk cId="3321743853" sldId="329"/>
            <ac:spMk id="2" creationId="{2E6F7277-0D79-3B0F-B465-4F766E10047B}"/>
          </ac:spMkLst>
        </pc:spChg>
        <pc:spChg chg="mod">
          <ac:chgData name="Tetiana Sytnyk" userId="8c6f3bda-e93f-4d58-9733-c10fc3768080" providerId="ADAL" clId="{22833B9A-5D26-4E62-9E0F-FBB31FE97EE9}" dt="2025-06-20T14:55:24.118" v="2255" actId="20577"/>
          <ac:spMkLst>
            <pc:docMk/>
            <pc:sldMk cId="3321743853" sldId="329"/>
            <ac:spMk id="4" creationId="{207167E7-0D05-DF24-AF4E-34E42D3F7264}"/>
          </ac:spMkLst>
        </pc:spChg>
        <pc:spChg chg="add mod">
          <ac:chgData name="Tetiana Sytnyk" userId="8c6f3bda-e93f-4d58-9733-c10fc3768080" providerId="ADAL" clId="{22833B9A-5D26-4E62-9E0F-FBB31FE97EE9}" dt="2025-06-20T14:32:22.926" v="1444" actId="1035"/>
          <ac:spMkLst>
            <pc:docMk/>
            <pc:sldMk cId="3321743853" sldId="329"/>
            <ac:spMk id="9" creationId="{0AC1CC5B-94B0-6A9F-C042-F4238D328B0F}"/>
          </ac:spMkLst>
        </pc:spChg>
        <pc:spChg chg="mod">
          <ac:chgData name="Tetiana Sytnyk" userId="8c6f3bda-e93f-4d58-9733-c10fc3768080" providerId="ADAL" clId="{22833B9A-5D26-4E62-9E0F-FBB31FE97EE9}" dt="2025-06-20T14:32:11.088" v="1436" actId="14100"/>
          <ac:spMkLst>
            <pc:docMk/>
            <pc:sldMk cId="3321743853" sldId="329"/>
            <ac:spMk id="34" creationId="{53F9D762-A728-10BD-2F95-86198E8AF5D6}"/>
          </ac:spMkLst>
        </pc:spChg>
        <pc:graphicFrameChg chg="modGraphic">
          <ac:chgData name="Tetiana Sytnyk" userId="8c6f3bda-e93f-4d58-9733-c10fc3768080" providerId="ADAL" clId="{22833B9A-5D26-4E62-9E0F-FBB31FE97EE9}" dt="2025-06-20T14:32:33.258" v="1445" actId="790"/>
          <ac:graphicFrameMkLst>
            <pc:docMk/>
            <pc:sldMk cId="3321743853" sldId="329"/>
            <ac:graphicFrameMk id="5" creationId="{84074201-862A-C747-E9EC-1C5CBBACF11E}"/>
          </ac:graphicFrameMkLst>
        </pc:graphicFrameChg>
      </pc:sldChg>
      <pc:sldChg chg="add del">
        <pc:chgData name="Tetiana Sytnyk" userId="8c6f3bda-e93f-4d58-9733-c10fc3768080" providerId="ADAL" clId="{22833B9A-5D26-4E62-9E0F-FBB31FE97EE9}" dt="2025-06-20T12:42:16.345" v="202" actId="47"/>
        <pc:sldMkLst>
          <pc:docMk/>
          <pc:sldMk cId="1000016796" sldId="330"/>
        </pc:sldMkLst>
      </pc:sldChg>
      <pc:sldChg chg="del">
        <pc:chgData name="Tetiana Sytnyk" userId="8c6f3bda-e93f-4d58-9733-c10fc3768080" providerId="ADAL" clId="{22833B9A-5D26-4E62-9E0F-FBB31FE97EE9}" dt="2025-06-16T18:24:15.242" v="0" actId="47"/>
        <pc:sldMkLst>
          <pc:docMk/>
          <pc:sldMk cId="3333262723" sldId="442"/>
        </pc:sldMkLst>
      </pc:sldChg>
      <pc:sldChg chg="modSp mod">
        <pc:chgData name="Tetiana Sytnyk" userId="8c6f3bda-e93f-4d58-9733-c10fc3768080" providerId="ADAL" clId="{22833B9A-5D26-4E62-9E0F-FBB31FE97EE9}" dt="2025-06-20T15:13:02.432" v="2474" actId="20577"/>
        <pc:sldMkLst>
          <pc:docMk/>
          <pc:sldMk cId="136837207" sldId="444"/>
        </pc:sldMkLst>
      </pc:sldChg>
      <pc:sldChg chg="modSp mod">
        <pc:chgData name="Tetiana Sytnyk" userId="8c6f3bda-e93f-4d58-9733-c10fc3768080" providerId="ADAL" clId="{22833B9A-5D26-4E62-9E0F-FBB31FE97EE9}" dt="2025-06-20T10:14:07.733" v="193" actId="2711"/>
        <pc:sldMkLst>
          <pc:docMk/>
          <pc:sldMk cId="1237229239" sldId="445"/>
        </pc:sldMkLst>
        <pc:spChg chg="mod">
          <ac:chgData name="Tetiana Sytnyk" userId="8c6f3bda-e93f-4d58-9733-c10fc3768080" providerId="ADAL" clId="{22833B9A-5D26-4E62-9E0F-FBB31FE97EE9}" dt="2025-06-20T10:14:07.733" v="193" actId="2711"/>
          <ac:spMkLst>
            <pc:docMk/>
            <pc:sldMk cId="1237229239" sldId="445"/>
            <ac:spMk id="2" creationId="{9FBE0C3E-3E99-86DE-2111-B0E8B29C985F}"/>
          </ac:spMkLst>
        </pc:spChg>
      </pc:sldChg>
      <pc:sldChg chg="del">
        <pc:chgData name="Tetiana Sytnyk" userId="8c6f3bda-e93f-4d58-9733-c10fc3768080" providerId="ADAL" clId="{22833B9A-5D26-4E62-9E0F-FBB31FE97EE9}" dt="2025-06-16T18:24:15.242" v="0" actId="47"/>
        <pc:sldMkLst>
          <pc:docMk/>
          <pc:sldMk cId="3229391752" sldId="488"/>
        </pc:sldMkLst>
      </pc:sldChg>
      <pc:sldChg chg="addSp delSp mod">
        <pc:chgData name="Tetiana Sytnyk" userId="8c6f3bda-e93f-4d58-9733-c10fc3768080" providerId="ADAL" clId="{22833B9A-5D26-4E62-9E0F-FBB31FE97EE9}" dt="2025-06-20T12:29:40.572" v="198" actId="22"/>
        <pc:sldMkLst>
          <pc:docMk/>
          <pc:sldMk cId="2539531318" sldId="516"/>
        </pc:sldMkLst>
      </pc:sldChg>
      <pc:sldChg chg="modSp">
        <pc:chgData name="Tetiana Sytnyk" userId="8c6f3bda-e93f-4d58-9733-c10fc3768080" providerId="ADAL" clId="{22833B9A-5D26-4E62-9E0F-FBB31FE97EE9}" dt="2025-06-20T15:10:32.157" v="2464"/>
        <pc:sldMkLst>
          <pc:docMk/>
          <pc:sldMk cId="3248508157" sldId="530"/>
        </pc:sldMkLst>
        <pc:graphicFrameChg chg="mod">
          <ac:chgData name="Tetiana Sytnyk" userId="8c6f3bda-e93f-4d58-9733-c10fc3768080" providerId="ADAL" clId="{22833B9A-5D26-4E62-9E0F-FBB31FE97EE9}" dt="2025-06-20T15:10:32.157" v="2464"/>
          <ac:graphicFrameMkLst>
            <pc:docMk/>
            <pc:sldMk cId="3248508157" sldId="530"/>
            <ac:graphicFrameMk id="20" creationId="{5249768C-704C-FFC8-B91C-3C0851105C99}"/>
          </ac:graphicFrameMkLst>
        </pc:graphicFrameChg>
      </pc:sldChg>
      <pc:sldChg chg="modSp">
        <pc:chgData name="Tetiana Sytnyk" userId="8c6f3bda-e93f-4d58-9733-c10fc3768080" providerId="ADAL" clId="{22833B9A-5D26-4E62-9E0F-FBB31FE97EE9}" dt="2025-06-20T15:10:32.157" v="2464"/>
        <pc:sldMkLst>
          <pc:docMk/>
          <pc:sldMk cId="3124180618" sldId="531"/>
        </pc:sldMkLst>
        <pc:graphicFrameChg chg="mod">
          <ac:chgData name="Tetiana Sytnyk" userId="8c6f3bda-e93f-4d58-9733-c10fc3768080" providerId="ADAL" clId="{22833B9A-5D26-4E62-9E0F-FBB31FE97EE9}" dt="2025-06-20T15:10:32.157" v="2464"/>
          <ac:graphicFrameMkLst>
            <pc:docMk/>
            <pc:sldMk cId="3124180618" sldId="531"/>
            <ac:graphicFrameMk id="20" creationId="{7A495809-3449-C83E-DA3C-6C31DBE201F7}"/>
          </ac:graphicFrameMkLst>
        </pc:graphicFrameChg>
      </pc:sldChg>
      <pc:sldChg chg="modSp add mod">
        <pc:chgData name="Tetiana Sytnyk" userId="8c6f3bda-e93f-4d58-9733-c10fc3768080" providerId="ADAL" clId="{22833B9A-5D26-4E62-9E0F-FBB31FE97EE9}" dt="2025-06-20T15:13:18.690" v="2492" actId="20577"/>
        <pc:sldMkLst>
          <pc:docMk/>
          <pc:sldMk cId="1165057349" sldId="548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1579087781" sldId="549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773474646" sldId="550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772415734" sldId="551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720747745" sldId="552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630793836" sldId="555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922365891" sldId="556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963307763" sldId="557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904794984" sldId="559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584024025" sldId="560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763566925" sldId="561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352251937" sldId="562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464743602" sldId="563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1533440636" sldId="564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449139056" sldId="565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933472514" sldId="566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744319833" sldId="567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912022889" sldId="568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030659974" sldId="569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1063026209" sldId="570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51834973" sldId="571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718164612" sldId="572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563847878" sldId="573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4259455621" sldId="574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793721204" sldId="575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841420265" sldId="576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781364128" sldId="577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1793473677" sldId="578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843426005" sldId="579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842281165" sldId="580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604237655" sldId="581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847394651" sldId="582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4136003173" sldId="583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728182791" sldId="584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831716375" sldId="585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1332866408" sldId="586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889598425" sldId="587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1835325910" sldId="588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4030179298" sldId="589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497059429" sldId="590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661180694" sldId="591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4203484080" sldId="592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615979597" sldId="593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133537238" sldId="594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686731788" sldId="595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250417003" sldId="596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417290182" sldId="597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969125620" sldId="598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103184016" sldId="599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572389463" sldId="600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839969911" sldId="601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243455946" sldId="602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69735449" sldId="603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2662047359" sldId="604"/>
        </pc:sldMkLst>
      </pc:sldChg>
      <pc:sldChg chg="modSp add">
        <pc:chgData name="Tetiana Sytnyk" userId="8c6f3bda-e93f-4d58-9733-c10fc3768080" providerId="ADAL" clId="{22833B9A-5D26-4E62-9E0F-FBB31FE97EE9}" dt="2025-06-20T15:10:32.157" v="2464"/>
        <pc:sldMkLst>
          <pc:docMk/>
          <pc:sldMk cId="3030899517" sldId="605"/>
        </pc:sldMkLst>
      </pc:sldChg>
      <pc:sldChg chg="addSp modSp add mod">
        <pc:chgData name="Tetiana Sytnyk" userId="8c6f3bda-e93f-4d58-9733-c10fc3768080" providerId="ADAL" clId="{22833B9A-5D26-4E62-9E0F-FBB31FE97EE9}" dt="2025-06-20T14:43:06.354" v="1575" actId="20577"/>
        <pc:sldMkLst>
          <pc:docMk/>
          <pc:sldMk cId="871888811" sldId="606"/>
        </pc:sldMkLst>
      </pc:sldChg>
    </pc:docChg>
  </pc:docChgLst>
  <pc:docChgLst>
    <pc:chgData name="Tetiana Sytnyk" userId="8c6f3bda-e93f-4d58-9733-c10fc3768080" providerId="ADAL" clId="{99487378-557D-4038-9DFD-F25A7C958B16}"/>
    <pc:docChg chg="undo custSel addSld delSld modSld sldOrd modSection">
      <pc:chgData name="Tetiana Sytnyk" userId="8c6f3bda-e93f-4d58-9733-c10fc3768080" providerId="ADAL" clId="{99487378-557D-4038-9DFD-F25A7C958B16}" dt="2025-07-24T12:54:14.621" v="3917" actId="14100"/>
      <pc:docMkLst>
        <pc:docMk/>
      </pc:docMkLst>
      <pc:sldChg chg="addSp delSp modSp mod">
        <pc:chgData name="Tetiana Sytnyk" userId="8c6f3bda-e93f-4d58-9733-c10fc3768080" providerId="ADAL" clId="{99487378-557D-4038-9DFD-F25A7C958B16}" dt="2025-07-11T07:03:48" v="3" actId="478"/>
        <pc:sldMkLst>
          <pc:docMk/>
          <pc:sldMk cId="987327018" sldId="325"/>
        </pc:sldMkLst>
      </pc:sldChg>
      <pc:sldChg chg="addSp modSp add mod">
        <pc:chgData name="Tetiana Sytnyk" userId="8c6f3bda-e93f-4d58-9733-c10fc3768080" providerId="ADAL" clId="{99487378-557D-4038-9DFD-F25A7C958B16}" dt="2025-07-24T12:54:14.621" v="3917" actId="14100"/>
        <pc:sldMkLst>
          <pc:docMk/>
          <pc:sldMk cId="1308295155" sldId="328"/>
        </pc:sldMkLst>
        <pc:spChg chg="mod">
          <ac:chgData name="Tetiana Sytnyk" userId="8c6f3bda-e93f-4d58-9733-c10fc3768080" providerId="ADAL" clId="{99487378-557D-4038-9DFD-F25A7C958B16}" dt="2025-07-24T12:51:11.469" v="3713" actId="20577"/>
          <ac:spMkLst>
            <pc:docMk/>
            <pc:sldMk cId="1308295155" sldId="328"/>
            <ac:spMk id="2" creationId="{1F3C693D-9646-A900-6322-D038892DDB68}"/>
          </ac:spMkLst>
        </pc:spChg>
        <pc:spChg chg="add mod">
          <ac:chgData name="Tetiana Sytnyk" userId="8c6f3bda-e93f-4d58-9733-c10fc3768080" providerId="ADAL" clId="{99487378-557D-4038-9DFD-F25A7C958B16}" dt="2025-07-24T12:52:04.284" v="3716" actId="14100"/>
          <ac:spMkLst>
            <pc:docMk/>
            <pc:sldMk cId="1308295155" sldId="328"/>
            <ac:spMk id="5" creationId="{5B723218-831C-820D-2F5B-4BC72254FEF9}"/>
          </ac:spMkLst>
        </pc:spChg>
        <pc:spChg chg="add mod">
          <ac:chgData name="Tetiana Sytnyk" userId="8c6f3bda-e93f-4d58-9733-c10fc3768080" providerId="ADAL" clId="{99487378-557D-4038-9DFD-F25A7C958B16}" dt="2025-07-24T12:52:21.235" v="3760" actId="1035"/>
          <ac:spMkLst>
            <pc:docMk/>
            <pc:sldMk cId="1308295155" sldId="328"/>
            <ac:spMk id="16" creationId="{0DD073C6-EC57-8E4A-E4A8-60BE120DB26D}"/>
          </ac:spMkLst>
        </pc:spChg>
        <pc:spChg chg="add mod">
          <ac:chgData name="Tetiana Sytnyk" userId="8c6f3bda-e93f-4d58-9733-c10fc3768080" providerId="ADAL" clId="{99487378-557D-4038-9DFD-F25A7C958B16}" dt="2025-07-24T12:52:45.558" v="3824" actId="1038"/>
          <ac:spMkLst>
            <pc:docMk/>
            <pc:sldMk cId="1308295155" sldId="328"/>
            <ac:spMk id="20" creationId="{3D01F331-F692-90BB-5270-6AC0C27AE707}"/>
          </ac:spMkLst>
        </pc:spChg>
        <pc:spChg chg="add mod">
          <ac:chgData name="Tetiana Sytnyk" userId="8c6f3bda-e93f-4d58-9733-c10fc3768080" providerId="ADAL" clId="{99487378-557D-4038-9DFD-F25A7C958B16}" dt="2025-07-24T12:53:06.780" v="3879" actId="1036"/>
          <ac:spMkLst>
            <pc:docMk/>
            <pc:sldMk cId="1308295155" sldId="328"/>
            <ac:spMk id="24" creationId="{729C315C-7EDF-4F85-08D9-06B2EB6C085A}"/>
          </ac:spMkLst>
        </pc:spChg>
        <pc:spChg chg="add mod">
          <ac:chgData name="Tetiana Sytnyk" userId="8c6f3bda-e93f-4d58-9733-c10fc3768080" providerId="ADAL" clId="{99487378-557D-4038-9DFD-F25A7C958B16}" dt="2025-07-24T12:54:14.621" v="3917" actId="14100"/>
          <ac:spMkLst>
            <pc:docMk/>
            <pc:sldMk cId="1308295155" sldId="328"/>
            <ac:spMk id="27" creationId="{5EA98AC5-F890-1A0F-C914-6EF61095E5B6}"/>
          </ac:spMkLst>
        </pc:spChg>
      </pc:sldChg>
      <pc:sldChg chg="addSp delSp modSp add mod">
        <pc:chgData name="Tetiana Sytnyk" userId="8c6f3bda-e93f-4d58-9733-c10fc3768080" providerId="ADAL" clId="{99487378-557D-4038-9DFD-F25A7C958B16}" dt="2025-07-24T12:45:48.539" v="3636" actId="20577"/>
        <pc:sldMkLst>
          <pc:docMk/>
          <pc:sldMk cId="354479502" sldId="332"/>
        </pc:sldMkLst>
        <pc:spChg chg="mod">
          <ac:chgData name="Tetiana Sytnyk" userId="8c6f3bda-e93f-4d58-9733-c10fc3768080" providerId="ADAL" clId="{99487378-557D-4038-9DFD-F25A7C958B16}" dt="2025-07-24T12:38:42.957" v="2836" actId="20577"/>
          <ac:spMkLst>
            <pc:docMk/>
            <pc:sldMk cId="354479502" sldId="332"/>
            <ac:spMk id="2" creationId="{3C27ACA2-B006-0F62-A39F-F6F5697E453F}"/>
          </ac:spMkLst>
        </pc:spChg>
        <pc:spChg chg="mod">
          <ac:chgData name="Tetiana Sytnyk" userId="8c6f3bda-e93f-4d58-9733-c10fc3768080" providerId="ADAL" clId="{99487378-557D-4038-9DFD-F25A7C958B16}" dt="2025-07-24T12:45:48.539" v="3636" actId="20577"/>
          <ac:spMkLst>
            <pc:docMk/>
            <pc:sldMk cId="354479502" sldId="332"/>
            <ac:spMk id="4" creationId="{371496EC-213B-BFF2-591E-14AD3DA9E5A0}"/>
          </ac:spMkLst>
        </pc:spChg>
        <pc:spChg chg="add del">
          <ac:chgData name="Tetiana Sytnyk" userId="8c6f3bda-e93f-4d58-9733-c10fc3768080" providerId="ADAL" clId="{99487378-557D-4038-9DFD-F25A7C958B16}" dt="2025-07-24T12:39:37.788" v="2838" actId="478"/>
          <ac:spMkLst>
            <pc:docMk/>
            <pc:sldMk cId="354479502" sldId="332"/>
            <ac:spMk id="5" creationId="{97517176-7EB7-41DD-2C56-1FA369B5A386}"/>
          </ac:spMkLst>
        </pc:spChg>
        <pc:spChg chg="mod">
          <ac:chgData name="Tetiana Sytnyk" userId="8c6f3bda-e93f-4d58-9733-c10fc3768080" providerId="ADAL" clId="{99487378-557D-4038-9DFD-F25A7C958B16}" dt="2025-07-24T12:38:09.972" v="2754" actId="20577"/>
          <ac:spMkLst>
            <pc:docMk/>
            <pc:sldMk cId="354479502" sldId="332"/>
            <ac:spMk id="6" creationId="{35CD21A8-527A-D173-82EB-5F62C26DD486}"/>
          </ac:spMkLst>
        </pc:spChg>
        <pc:spChg chg="add mod">
          <ac:chgData name="Tetiana Sytnyk" userId="8c6f3bda-e93f-4d58-9733-c10fc3768080" providerId="ADAL" clId="{99487378-557D-4038-9DFD-F25A7C958B16}" dt="2025-07-24T12:39:57.629" v="2841" actId="207"/>
          <ac:spMkLst>
            <pc:docMk/>
            <pc:sldMk cId="354479502" sldId="332"/>
            <ac:spMk id="8" creationId="{C43AECC1-20F1-1D91-7AE4-C3A1D552601C}"/>
          </ac:spMkLst>
        </pc:spChg>
        <pc:spChg chg="add mod">
          <ac:chgData name="Tetiana Sytnyk" userId="8c6f3bda-e93f-4d58-9733-c10fc3768080" providerId="ADAL" clId="{99487378-557D-4038-9DFD-F25A7C958B16}" dt="2025-07-24T12:41:42.934" v="2942" actId="1035"/>
          <ac:spMkLst>
            <pc:docMk/>
            <pc:sldMk cId="354479502" sldId="332"/>
            <ac:spMk id="9" creationId="{438FD478-1103-D832-4B48-C24BD856DB8F}"/>
          </ac:spMkLst>
        </pc:spChg>
        <pc:spChg chg="add mod">
          <ac:chgData name="Tetiana Sytnyk" userId="8c6f3bda-e93f-4d58-9733-c10fc3768080" providerId="ADAL" clId="{99487378-557D-4038-9DFD-F25A7C958B16}" dt="2025-07-24T12:41:58.820" v="2949" actId="1037"/>
          <ac:spMkLst>
            <pc:docMk/>
            <pc:sldMk cId="354479502" sldId="332"/>
            <ac:spMk id="10" creationId="{351BF3C6-CD29-7468-C441-9A9D8CD27168}"/>
          </ac:spMkLst>
        </pc:spChg>
        <pc:spChg chg="add mod">
          <ac:chgData name="Tetiana Sytnyk" userId="8c6f3bda-e93f-4d58-9733-c10fc3768080" providerId="ADAL" clId="{99487378-557D-4038-9DFD-F25A7C958B16}" dt="2025-07-24T12:40:33.624" v="2889" actId="1038"/>
          <ac:spMkLst>
            <pc:docMk/>
            <pc:sldMk cId="354479502" sldId="332"/>
            <ac:spMk id="11" creationId="{4021EDB8-5DD8-5B16-3B34-5A84066F939A}"/>
          </ac:spMkLst>
        </pc:spChg>
        <pc:spChg chg="add mod">
          <ac:chgData name="Tetiana Sytnyk" userId="8c6f3bda-e93f-4d58-9733-c10fc3768080" providerId="ADAL" clId="{99487378-557D-4038-9DFD-F25A7C958B16}" dt="2025-07-24T12:40:43.230" v="2939" actId="1038"/>
          <ac:spMkLst>
            <pc:docMk/>
            <pc:sldMk cId="354479502" sldId="332"/>
            <ac:spMk id="12" creationId="{1FFBE2A8-D8CC-8302-51AD-21271FEE754C}"/>
          </ac:spMkLst>
        </pc:spChg>
      </pc:sldChg>
      <pc:sldChg chg="modSp mod">
        <pc:chgData name="Tetiana Sytnyk" userId="8c6f3bda-e93f-4d58-9733-c10fc3768080" providerId="ADAL" clId="{99487378-557D-4038-9DFD-F25A7C958B16}" dt="2025-07-24T12:36:02.289" v="2678" actId="20577"/>
        <pc:sldMkLst>
          <pc:docMk/>
          <pc:sldMk cId="337196223" sldId="538"/>
        </pc:sldMkLst>
        <pc:spChg chg="mod">
          <ac:chgData name="Tetiana Sytnyk" userId="8c6f3bda-e93f-4d58-9733-c10fc3768080" providerId="ADAL" clId="{99487378-557D-4038-9DFD-F25A7C958B16}" dt="2025-07-24T12:36:02.289" v="2678" actId="20577"/>
          <ac:spMkLst>
            <pc:docMk/>
            <pc:sldMk cId="337196223" sldId="538"/>
            <ac:spMk id="2" creationId="{78574266-F372-244D-0665-0F6D24CB06F5}"/>
          </ac:spMkLst>
        </pc:spChg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1579087781" sldId="549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839452387" sldId="550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773474646" sldId="550"/>
        </pc:sldMkLst>
      </pc:sldChg>
      <pc:sldChg chg="add del">
        <pc:chgData name="Tetiana Sytnyk" userId="8c6f3bda-e93f-4d58-9733-c10fc3768080" providerId="ADAL" clId="{99487378-557D-4038-9DFD-F25A7C958B16}" dt="2025-07-09T14:50:33.979" v="1"/>
        <pc:sldMkLst>
          <pc:docMk/>
          <pc:sldMk cId="3772415734" sldId="551"/>
        </pc:sldMkLst>
      </pc:sldChg>
      <pc:sldChg chg="add del">
        <pc:chgData name="Tetiana Sytnyk" userId="8c6f3bda-e93f-4d58-9733-c10fc3768080" providerId="ADAL" clId="{99487378-557D-4038-9DFD-F25A7C958B16}" dt="2025-07-09T14:50:33.979" v="1"/>
        <pc:sldMkLst>
          <pc:docMk/>
          <pc:sldMk cId="720747745" sldId="552"/>
        </pc:sldMkLst>
      </pc:sldChg>
      <pc:sldChg chg="add del">
        <pc:chgData name="Tetiana Sytnyk" userId="8c6f3bda-e93f-4d58-9733-c10fc3768080" providerId="ADAL" clId="{99487378-557D-4038-9DFD-F25A7C958B16}" dt="2025-07-24T12:46:37.908" v="3638" actId="47"/>
        <pc:sldMkLst>
          <pc:docMk/>
          <pc:sldMk cId="2630793836" sldId="555"/>
        </pc:sldMkLst>
      </pc:sldChg>
      <pc:sldChg chg="add del">
        <pc:chgData name="Tetiana Sytnyk" userId="8c6f3bda-e93f-4d58-9733-c10fc3768080" providerId="ADAL" clId="{99487378-557D-4038-9DFD-F25A7C958B16}" dt="2025-07-09T14:50:33.979" v="1"/>
        <pc:sldMkLst>
          <pc:docMk/>
          <pc:sldMk cId="2922365891" sldId="556"/>
        </pc:sldMkLst>
      </pc:sldChg>
      <pc:sldChg chg="add del">
        <pc:chgData name="Tetiana Sytnyk" userId="8c6f3bda-e93f-4d58-9733-c10fc3768080" providerId="ADAL" clId="{99487378-557D-4038-9DFD-F25A7C958B16}" dt="2025-07-09T14:50:33.979" v="1"/>
        <pc:sldMkLst>
          <pc:docMk/>
          <pc:sldMk cId="2963307763" sldId="557"/>
        </pc:sldMkLst>
      </pc:sldChg>
      <pc:sldChg chg="add del">
        <pc:chgData name="Tetiana Sytnyk" userId="8c6f3bda-e93f-4d58-9733-c10fc3768080" providerId="ADAL" clId="{99487378-557D-4038-9DFD-F25A7C958B16}" dt="2025-07-09T14:50:33.979" v="1"/>
        <pc:sldMkLst>
          <pc:docMk/>
          <pc:sldMk cId="2904794984" sldId="559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584024025" sldId="560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763566925" sldId="560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763566925" sldId="561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464743602" sldId="561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352251937" sldId="562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449139056" sldId="562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464743602" sldId="563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1533440636" sldId="564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196201487" sldId="565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449139056" sldId="565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933472514" sldId="566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744319833" sldId="566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744319833" sldId="567"/>
        </pc:sldMkLst>
      </pc:sldChg>
      <pc:sldChg chg="add del">
        <pc:chgData name="Tetiana Sytnyk" userId="8c6f3bda-e93f-4d58-9733-c10fc3768080" providerId="ADAL" clId="{99487378-557D-4038-9DFD-F25A7C958B16}" dt="2025-07-24T12:46:40.907" v="3639" actId="47"/>
        <pc:sldMkLst>
          <pc:docMk/>
          <pc:sldMk cId="2912022889" sldId="567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063026209" sldId="568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912022889" sldId="568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718164612" sldId="569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030659974" sldId="569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1063026209" sldId="570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563847878" sldId="570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51834973" sldId="571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793721204" sldId="571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718164612" sldId="572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841420265" sldId="572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781364128" sldId="573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563847878" sldId="573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793473677" sldId="574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4259455621" sldId="574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843426005" sldId="575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793721204" sldId="575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841420265" sldId="576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604237655" sldId="576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781364128" sldId="577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4136003173" sldId="577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1793473677" sldId="578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831716375" sldId="578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843426005" sldId="579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889598425" sldId="579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842281165" sldId="580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4030179298" sldId="580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604237655" sldId="581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661180694" sldId="581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847394651" sldId="582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304821440" sldId="582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4136003173" sldId="583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728182791" sldId="584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831716375" sldId="585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1332866408" sldId="586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889598425" sldId="587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1835325910" sldId="588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4030179298" sldId="589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497059429" sldId="590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103184016" sldId="590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661180694" sldId="591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839969911" sldId="591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4203484080" sldId="592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615979597" sldId="593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133537238" sldId="594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686731788" sldId="595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250417003" sldId="596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417290182" sldId="597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676139600" sldId="598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969125620" sldId="598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69735449" sldId="599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103184016" sldId="599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572389463" sldId="600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030899517" sldId="600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839969911" sldId="601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243455946" sldId="602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69735449" sldId="603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2662047359" sldId="604"/>
        </pc:sldMkLst>
      </pc:sldChg>
      <pc:sldChg chg="del">
        <pc:chgData name="Tetiana Sytnyk" userId="8c6f3bda-e93f-4d58-9733-c10fc3768080" providerId="ADAL" clId="{99487378-557D-4038-9DFD-F25A7C958B16}" dt="2025-07-09T14:50:10.154" v="0" actId="47"/>
        <pc:sldMkLst>
          <pc:docMk/>
          <pc:sldMk cId="3030899517" sldId="605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700498432" sldId="607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579087781" sldId="608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638771196" sldId="609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20515878" sldId="610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844517983" sldId="611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272641873" sldId="612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445133303" sldId="613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679644797" sldId="614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528400379" sldId="615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932513076" sldId="616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512796024" sldId="617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083692618" sldId="618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004767331" sldId="619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544388172" sldId="620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826806381" sldId="621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01836592" sldId="622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98211474" sldId="623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433602060" sldId="624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660500980" sldId="625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763446211" sldId="626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4145257174" sldId="627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91249002" sldId="628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745305673" sldId="629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3536234334" sldId="630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814725175" sldId="631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760013493" sldId="632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588418463" sldId="633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240935072" sldId="634"/>
        </pc:sldMkLst>
      </pc:sldChg>
      <pc:sldChg chg="add">
        <pc:chgData name="Tetiana Sytnyk" userId="8c6f3bda-e93f-4d58-9733-c10fc3768080" providerId="ADAL" clId="{99487378-557D-4038-9DFD-F25A7C958B16}" dt="2025-07-09T14:50:33.979" v="1"/>
        <pc:sldMkLst>
          <pc:docMk/>
          <pc:sldMk cId="1363862469" sldId="635"/>
        </pc:sldMkLst>
      </pc:sldChg>
      <pc:sldChg chg="delSp add del mod ord">
        <pc:chgData name="Tetiana Sytnyk" userId="8c6f3bda-e93f-4d58-9733-c10fc3768080" providerId="ADAL" clId="{99487378-557D-4038-9DFD-F25A7C958B16}" dt="2025-07-11T09:10:37.274" v="8" actId="47"/>
        <pc:sldMkLst>
          <pc:docMk/>
          <pc:sldMk cId="772260583" sldId="636"/>
        </pc:sldMkLst>
      </pc:sldChg>
      <pc:sldChg chg="addSp delSp modSp add mod ord">
        <pc:chgData name="Tetiana Sytnyk" userId="8c6f3bda-e93f-4d58-9733-c10fc3768080" providerId="ADAL" clId="{99487378-557D-4038-9DFD-F25A7C958B16}" dt="2025-07-11T09:40:28.745" v="1216" actId="14734"/>
        <pc:sldMkLst>
          <pc:docMk/>
          <pc:sldMk cId="3660483896" sldId="636"/>
        </pc:sldMkLst>
        <pc:spChg chg="mod">
          <ac:chgData name="Tetiana Sytnyk" userId="8c6f3bda-e93f-4d58-9733-c10fc3768080" providerId="ADAL" clId="{99487378-557D-4038-9DFD-F25A7C958B16}" dt="2025-07-11T09:11:27.765" v="67" actId="20577"/>
          <ac:spMkLst>
            <pc:docMk/>
            <pc:sldMk cId="3660483896" sldId="636"/>
            <ac:spMk id="2" creationId="{D67279E2-E007-BB0D-5263-85CED7FB438A}"/>
          </ac:spMkLst>
        </pc:spChg>
        <pc:spChg chg="mod">
          <ac:chgData name="Tetiana Sytnyk" userId="8c6f3bda-e93f-4d58-9733-c10fc3768080" providerId="ADAL" clId="{99487378-557D-4038-9DFD-F25A7C958B16}" dt="2025-07-11T09:21:01.879" v="1143" actId="1035"/>
          <ac:spMkLst>
            <pc:docMk/>
            <pc:sldMk cId="3660483896" sldId="636"/>
            <ac:spMk id="4" creationId="{A7B8BEE1-AF77-2541-3881-2A6A4332D0B9}"/>
          </ac:spMkLst>
        </pc:spChg>
        <pc:graphicFrameChg chg="add mod modGraphic">
          <ac:chgData name="Tetiana Sytnyk" userId="8c6f3bda-e93f-4d58-9733-c10fc3768080" providerId="ADAL" clId="{99487378-557D-4038-9DFD-F25A7C958B16}" dt="2025-07-11T09:40:28.745" v="1216" actId="14734"/>
          <ac:graphicFrameMkLst>
            <pc:docMk/>
            <pc:sldMk cId="3660483896" sldId="636"/>
            <ac:graphicFrameMk id="8" creationId="{EA3C4319-F054-EE0B-F1E6-F4D7BE53F879}"/>
          </ac:graphicFrameMkLst>
        </pc:graphicFrameChg>
      </pc:sldChg>
      <pc:sldChg chg="addSp delSp modSp add mod">
        <pc:chgData name="Tetiana Sytnyk" userId="8c6f3bda-e93f-4d58-9733-c10fc3768080" providerId="ADAL" clId="{99487378-557D-4038-9DFD-F25A7C958B16}" dt="2025-07-24T12:24:35.252" v="2677" actId="20577"/>
        <pc:sldMkLst>
          <pc:docMk/>
          <pc:sldMk cId="1925368913" sldId="637"/>
        </pc:sldMkLst>
        <pc:spChg chg="mod">
          <ac:chgData name="Tetiana Sytnyk" userId="8c6f3bda-e93f-4d58-9733-c10fc3768080" providerId="ADAL" clId="{99487378-557D-4038-9DFD-F25A7C958B16}" dt="2025-07-11T09:51:41.300" v="1813" actId="20577"/>
          <ac:spMkLst>
            <pc:docMk/>
            <pc:sldMk cId="1925368913" sldId="637"/>
            <ac:spMk id="2" creationId="{BFD6B81D-88E6-E273-7CCD-CBF8E539150D}"/>
          </ac:spMkLst>
        </pc:spChg>
        <pc:spChg chg="mod">
          <ac:chgData name="Tetiana Sytnyk" userId="8c6f3bda-e93f-4d58-9733-c10fc3768080" providerId="ADAL" clId="{99487378-557D-4038-9DFD-F25A7C958B16}" dt="2025-07-24T12:24:35.252" v="2677" actId="20577"/>
          <ac:spMkLst>
            <pc:docMk/>
            <pc:sldMk cId="1925368913" sldId="637"/>
            <ac:spMk id="4" creationId="{0EC9AE3E-C00C-A652-365D-83BAE7DFB9EE}"/>
          </ac:spMkLst>
        </pc:spChg>
        <pc:spChg chg="add mod">
          <ac:chgData name="Tetiana Sytnyk" userId="8c6f3bda-e93f-4d58-9733-c10fc3768080" providerId="ADAL" clId="{99487378-557D-4038-9DFD-F25A7C958B16}" dt="2025-07-11T09:48:39.885" v="1610" actId="14100"/>
          <ac:spMkLst>
            <pc:docMk/>
            <pc:sldMk cId="1925368913" sldId="637"/>
            <ac:spMk id="6" creationId="{CC7E59BC-A739-0BC8-38FD-24C69936CCA0}"/>
          </ac:spMkLst>
        </pc:spChg>
        <pc:spChg chg="add mod">
          <ac:chgData name="Tetiana Sytnyk" userId="8c6f3bda-e93f-4d58-9733-c10fc3768080" providerId="ADAL" clId="{99487378-557D-4038-9DFD-F25A7C958B16}" dt="2025-07-11T09:46:19.453" v="1287" actId="14100"/>
          <ac:spMkLst>
            <pc:docMk/>
            <pc:sldMk cId="1925368913" sldId="637"/>
            <ac:spMk id="8" creationId="{DDCFE583-9681-0F83-C05E-0D9D7CE2D24C}"/>
          </ac:spMkLst>
        </pc:spChg>
        <pc:spChg chg="add mod">
          <ac:chgData name="Tetiana Sytnyk" userId="8c6f3bda-e93f-4d58-9733-c10fc3768080" providerId="ADAL" clId="{99487378-557D-4038-9DFD-F25A7C958B16}" dt="2025-07-11T09:47:12.108" v="1350" actId="14100"/>
          <ac:spMkLst>
            <pc:docMk/>
            <pc:sldMk cId="1925368913" sldId="637"/>
            <ac:spMk id="9" creationId="{DCAC6A87-9685-9112-BC2D-C28B33B403A0}"/>
          </ac:spMkLst>
        </pc:spChg>
        <pc:spChg chg="add mod">
          <ac:chgData name="Tetiana Sytnyk" userId="8c6f3bda-e93f-4d58-9733-c10fc3768080" providerId="ADAL" clId="{99487378-557D-4038-9DFD-F25A7C958B16}" dt="2025-07-11T09:47:43.748" v="1499" actId="1037"/>
          <ac:spMkLst>
            <pc:docMk/>
            <pc:sldMk cId="1925368913" sldId="637"/>
            <ac:spMk id="10" creationId="{3B02C181-F64D-8F16-9EE6-F0F27575F9B7}"/>
          </ac:spMkLst>
        </pc:spChg>
        <pc:spChg chg="add mod">
          <ac:chgData name="Tetiana Sytnyk" userId="8c6f3bda-e93f-4d58-9733-c10fc3768080" providerId="ADAL" clId="{99487378-557D-4038-9DFD-F25A7C958B16}" dt="2025-07-11T09:48:23.208" v="1609" actId="1037"/>
          <ac:spMkLst>
            <pc:docMk/>
            <pc:sldMk cId="1925368913" sldId="637"/>
            <ac:spMk id="12" creationId="{EA3A1182-7E0D-E3D8-748E-784E5F3B0082}"/>
          </ac:spMkLst>
        </pc:spChg>
        <pc:spChg chg="add mod">
          <ac:chgData name="Tetiana Sytnyk" userId="8c6f3bda-e93f-4d58-9733-c10fc3768080" providerId="ADAL" clId="{99487378-557D-4038-9DFD-F25A7C958B16}" dt="2025-07-11T09:49:54.028" v="1681" actId="14100"/>
          <ac:spMkLst>
            <pc:docMk/>
            <pc:sldMk cId="1925368913" sldId="637"/>
            <ac:spMk id="13" creationId="{F9C5EF8C-E37A-FD67-98F1-E0CAE37CB32B}"/>
          </ac:spMkLst>
        </pc:spChg>
        <pc:spChg chg="add mod">
          <ac:chgData name="Tetiana Sytnyk" userId="8c6f3bda-e93f-4d58-9733-c10fc3768080" providerId="ADAL" clId="{99487378-557D-4038-9DFD-F25A7C958B16}" dt="2025-07-11T09:50:47.685" v="1751" actId="208"/>
          <ac:spMkLst>
            <pc:docMk/>
            <pc:sldMk cId="1925368913" sldId="637"/>
            <ac:spMk id="17" creationId="{B6F9E9D4-F3C1-2936-C816-D040EB805CFF}"/>
          </ac:spMkLst>
        </pc:spChg>
        <pc:spChg chg="add mod ord">
          <ac:chgData name="Tetiana Sytnyk" userId="8c6f3bda-e93f-4d58-9733-c10fc3768080" providerId="ADAL" clId="{99487378-557D-4038-9DFD-F25A7C958B16}" dt="2025-07-11T09:56:23.776" v="1984" actId="167"/>
          <ac:spMkLst>
            <pc:docMk/>
            <pc:sldMk cId="1925368913" sldId="637"/>
            <ac:spMk id="18" creationId="{70DFC239-87E5-5FAC-1D88-619F3EA04CF4}"/>
          </ac:spMkLst>
        </pc:spChg>
        <pc:spChg chg="add mod ord">
          <ac:chgData name="Tetiana Sytnyk" userId="8c6f3bda-e93f-4d58-9733-c10fc3768080" providerId="ADAL" clId="{99487378-557D-4038-9DFD-F25A7C958B16}" dt="2025-07-11T09:56:14.241" v="1983" actId="167"/>
          <ac:spMkLst>
            <pc:docMk/>
            <pc:sldMk cId="1925368913" sldId="637"/>
            <ac:spMk id="19" creationId="{C92EF586-4C49-7371-9663-085FF2746610}"/>
          </ac:spMkLst>
        </pc:spChg>
        <pc:spChg chg="mod">
          <ac:chgData name="Tetiana Sytnyk" userId="8c6f3bda-e93f-4d58-9733-c10fc3768080" providerId="ADAL" clId="{99487378-557D-4038-9DFD-F25A7C958B16}" dt="2025-07-11T09:51:18.016" v="1759" actId="20577"/>
          <ac:spMkLst>
            <pc:docMk/>
            <pc:sldMk cId="1925368913" sldId="637"/>
            <ac:spMk id="67" creationId="{5B993070-93AD-2B6E-63B7-717B5DCC9B66}"/>
          </ac:spMkLst>
        </pc:spChg>
        <pc:spChg chg="mod">
          <ac:chgData name="Tetiana Sytnyk" userId="8c6f3bda-e93f-4d58-9733-c10fc3768080" providerId="ADAL" clId="{99487378-557D-4038-9DFD-F25A7C958B16}" dt="2025-07-11T09:51:22.128" v="1767" actId="20577"/>
          <ac:spMkLst>
            <pc:docMk/>
            <pc:sldMk cId="1925368913" sldId="637"/>
            <ac:spMk id="68" creationId="{0E7DCD57-8BB0-E2BF-F725-4C0E3899CF50}"/>
          </ac:spMkLst>
        </pc:spChg>
        <pc:spChg chg="mod">
          <ac:chgData name="Tetiana Sytnyk" userId="8c6f3bda-e93f-4d58-9733-c10fc3768080" providerId="ADAL" clId="{99487378-557D-4038-9DFD-F25A7C958B16}" dt="2025-07-11T09:42:29.184" v="1269" actId="20577"/>
          <ac:spMkLst>
            <pc:docMk/>
            <pc:sldMk cId="1925368913" sldId="637"/>
            <ac:spMk id="69" creationId="{29F73857-6481-49CE-415E-DD9F0D09005E}"/>
          </ac:spMkLst>
        </pc:spChg>
        <pc:graphicFrameChg chg="ord modGraphic">
          <ac:chgData name="Tetiana Sytnyk" userId="8c6f3bda-e93f-4d58-9733-c10fc3768080" providerId="ADAL" clId="{99487378-557D-4038-9DFD-F25A7C958B16}" dt="2025-07-11T10:24:04.565" v="2009" actId="20577"/>
          <ac:graphicFrameMkLst>
            <pc:docMk/>
            <pc:sldMk cId="1925368913" sldId="637"/>
            <ac:graphicFrameMk id="14" creationId="{4087E07C-85A7-9CCB-B376-2A08EA66F87C}"/>
          </ac:graphicFrameMkLst>
        </pc:graphicFrameChg>
        <pc:graphicFrameChg chg="ord">
          <ac:chgData name="Tetiana Sytnyk" userId="8c6f3bda-e93f-4d58-9733-c10fc3768080" providerId="ADAL" clId="{99487378-557D-4038-9DFD-F25A7C958B16}" dt="2025-07-11T09:55:43.183" v="1877" actId="167"/>
          <ac:graphicFrameMkLst>
            <pc:docMk/>
            <pc:sldMk cId="1925368913" sldId="637"/>
            <ac:graphicFrameMk id="15" creationId="{347B9B70-83AB-D911-7A7A-9287AEE74D4A}"/>
          </ac:graphicFrameMkLst>
        </pc:graphicFrameChg>
        <pc:graphicFrameChg chg="modGraphic">
          <ac:chgData name="Tetiana Sytnyk" userId="8c6f3bda-e93f-4d58-9733-c10fc3768080" providerId="ADAL" clId="{99487378-557D-4038-9DFD-F25A7C958B16}" dt="2025-07-11T10:24:12.532" v="2017" actId="20577"/>
          <ac:graphicFrameMkLst>
            <pc:docMk/>
            <pc:sldMk cId="1925368913" sldId="637"/>
            <ac:graphicFrameMk id="26" creationId="{A8CDA946-114A-54D0-2F00-4DFC5E85EC9D}"/>
          </ac:graphicFrameMkLst>
        </pc:graphicFrameChg>
      </pc:sldChg>
      <pc:sldChg chg="modSp add del mod">
        <pc:chgData name="Tetiana Sytnyk" userId="8c6f3bda-e93f-4d58-9733-c10fc3768080" providerId="ADAL" clId="{99487378-557D-4038-9DFD-F25A7C958B16}" dt="2025-07-24T12:17:14.940" v="2076" actId="2696"/>
        <pc:sldMkLst>
          <pc:docMk/>
          <pc:sldMk cId="547400160" sldId="638"/>
        </pc:sldMkLst>
        <pc:spChg chg="mod">
          <ac:chgData name="Tetiana Sytnyk" userId="8c6f3bda-e93f-4d58-9733-c10fc3768080" providerId="ADAL" clId="{99487378-557D-4038-9DFD-F25A7C958B16}" dt="2025-07-24T12:16:07.570" v="2075" actId="20577"/>
          <ac:spMkLst>
            <pc:docMk/>
            <pc:sldMk cId="547400160" sldId="638"/>
            <ac:spMk id="2" creationId="{49DF1F45-8872-6BCC-D21B-403DBDD30E2C}"/>
          </ac:spMkLst>
        </pc:spChg>
      </pc:sldChg>
      <pc:sldChg chg="add ord">
        <pc:chgData name="Tetiana Sytnyk" userId="8c6f3bda-e93f-4d58-9733-c10fc3768080" providerId="ADAL" clId="{99487378-557D-4038-9DFD-F25A7C958B16}" dt="2025-07-24T12:46:43.780" v="3641"/>
        <pc:sldMkLst>
          <pc:docMk/>
          <pc:sldMk cId="695640662" sldId="63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0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9.xlsx"/></Relationships>
</file>

<file path=ppt/charts/_rels/chart10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0.xlsx"/></Relationships>
</file>

<file path=ppt/charts/_rels/chart10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1.xlsx"/></Relationships>
</file>

<file path=ppt/charts/_rels/chart1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2.xlsx"/></Relationships>
</file>

<file path=ppt/charts/_rels/chart10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3.xlsx"/></Relationships>
</file>

<file path=ppt/charts/_rels/chart10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4.xlsx"/></Relationships>
</file>

<file path=ppt/charts/_rels/chart10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5.xlsx"/></Relationships>
</file>

<file path=ppt/charts/_rels/chart10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6.xlsx"/></Relationships>
</file>

<file path=ppt/charts/_rels/chart10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7.xlsx"/></Relationships>
</file>

<file path=ppt/charts/_rels/chart10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9.xlsx"/></Relationships>
</file>

<file path=ppt/charts/_rels/chart1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0.xlsx"/></Relationships>
</file>

<file path=ppt/charts/_rels/chart1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.xlsx"/></Relationships>
</file>

<file path=ppt/charts/_rels/chart1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2.xlsx"/></Relationships>
</file>

<file path=ppt/charts/_rels/chart1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3.xlsx"/></Relationships>
</file>

<file path=ppt/charts/_rels/chart1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4.xlsx"/></Relationships>
</file>

<file path=ppt/charts/_rels/chart1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5.xlsx"/></Relationships>
</file>

<file path=ppt/charts/_rels/chart1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6.xlsx"/></Relationships>
</file>

<file path=ppt/charts/_rels/chart1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1.xlsx"/></Relationships>
</file>

<file path=ppt/charts/_rels/chart1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2.xlsx"/></Relationships>
</file>

<file path=ppt/charts/_rels/chart1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3.xlsx"/></Relationships>
</file>

<file path=ppt/charts/_rels/chart1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4.xlsx"/></Relationships>
</file>

<file path=ppt/charts/_rels/chart1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5.xlsx"/></Relationships>
</file>

<file path=ppt/charts/_rels/chart1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6.xlsx"/></Relationships>
</file>

<file path=ppt/charts/_rels/chart1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7.xlsx"/></Relationships>
</file>

<file path=ppt/charts/_rels/chart1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8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9.xlsx"/></Relationships>
</file>

<file path=ppt/charts/_rels/chart1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0.xlsx"/></Relationships>
</file>

<file path=ppt/charts/_rels/chart1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1.xlsx"/></Relationships>
</file>

<file path=ppt/charts/_rels/chart1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2.xlsx"/></Relationships>
</file>

<file path=ppt/charts/_rels/chart1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3.xlsx"/></Relationships>
</file>

<file path=ppt/charts/_rels/chart1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4.xlsx"/></Relationships>
</file>

<file path=ppt/charts/_rels/chart1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5.xlsx"/></Relationships>
</file>

<file path=ppt/charts/_rels/chart1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6.xlsx"/></Relationships>
</file>

<file path=ppt/charts/_rels/chart1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7.xlsx"/></Relationships>
</file>

<file path=ppt/charts/_rels/chart1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8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9.xlsx"/></Relationships>
</file>

<file path=ppt/charts/_rels/chart1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0.xlsx"/></Relationships>
</file>

<file path=ppt/charts/_rels/chart1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1.xlsx"/></Relationships>
</file>

<file path=ppt/charts/_rels/chart1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2.xlsx"/></Relationships>
</file>

<file path=ppt/charts/_rels/chart1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3.xlsx"/></Relationships>
</file>

<file path=ppt/charts/_rels/chart1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4.xlsx"/></Relationships>
</file>

<file path=ppt/charts/_rels/chart1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5.xlsx"/></Relationships>
</file>

<file path=ppt/charts/_rels/chart1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6.xlsx"/></Relationships>
</file>

<file path=ppt/charts/_rels/chart1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7.xlsx"/></Relationships>
</file>

<file path=ppt/charts/_rels/chart1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8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9.xlsx"/></Relationships>
</file>

<file path=ppt/charts/_rels/chart1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0.xlsx"/></Relationships>
</file>

<file path=ppt/charts/_rels/chart1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1.xlsx"/></Relationships>
</file>

<file path=ppt/charts/_rels/chart1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2.xlsx"/></Relationships>
</file>

<file path=ppt/charts/_rels/chart1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3.xlsx"/></Relationships>
</file>

<file path=ppt/charts/_rels/chart1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4.xlsx"/></Relationships>
</file>

<file path=ppt/charts/_rels/chart1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5.xlsx"/></Relationships>
</file>

<file path=ppt/charts/_rels/chart1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6.xlsx"/></Relationships>
</file>

<file path=ppt/charts/_rels/chart1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7.xlsx"/></Relationships>
</file>

<file path=ppt/charts/_rels/chart1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8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9.xlsx"/></Relationships>
</file>

<file path=ppt/charts/_rels/chart1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0.xlsx"/></Relationships>
</file>

<file path=ppt/charts/_rels/chart1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1.xlsx"/></Relationships>
</file>

<file path=ppt/charts/_rels/chart1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2.xlsx"/></Relationships>
</file>

<file path=ppt/charts/_rels/chart1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3.xlsx"/></Relationships>
</file>

<file path=ppt/charts/_rels/chart1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4.xlsx"/></Relationships>
</file>

<file path=ppt/charts/_rels/chart1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5.xlsx"/></Relationships>
</file>

<file path=ppt/charts/_rels/chart1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6.xlsx"/></Relationships>
</file>

<file path=ppt/charts/_rels/chart1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7.xlsx"/></Relationships>
</file>

<file path=ppt/charts/_rels/chart1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8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9.xlsx"/></Relationships>
</file>

<file path=ppt/charts/_rels/chart1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0.xlsx"/></Relationships>
</file>

<file path=ppt/charts/_rels/chart1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1.xlsx"/></Relationships>
</file>

<file path=ppt/charts/_rels/chart1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2.xlsx"/></Relationships>
</file>

<file path=ppt/charts/_rels/chart1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3.xlsx"/></Relationships>
</file>

<file path=ppt/charts/_rels/chart1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4.xlsx"/></Relationships>
</file>

<file path=ppt/charts/_rels/chart17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5.xlsx"/></Relationships>
</file>

<file path=ppt/charts/_rels/chart17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6.xlsx"/></Relationships>
</file>

<file path=ppt/charts/_rels/chart17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7.xlsx"/></Relationships>
</file>

<file path=ppt/charts/_rels/chart1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8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9.xlsx"/></Relationships>
</file>

<file path=ppt/charts/_rels/chart18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0.xlsx"/></Relationships>
</file>

<file path=ppt/charts/_rels/chart18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1.xlsx"/></Relationships>
</file>

<file path=ppt/charts/_rels/chart18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2.xlsx"/></Relationships>
</file>

<file path=ppt/charts/_rels/chart18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3.xlsx"/></Relationships>
</file>

<file path=ppt/charts/_rels/chart18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4.xlsx"/></Relationships>
</file>

<file path=ppt/charts/_rels/chart18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5.xlsx"/></Relationships>
</file>

<file path=ppt/charts/_rels/chart1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6.xlsx"/></Relationships>
</file>

<file path=ppt/charts/_rels/chart18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7.xlsx"/></Relationships>
</file>

<file path=ppt/charts/_rels/chart18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19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9.xlsx"/></Relationships>
</file>

<file path=ppt/charts/_rels/chart19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0.xlsx"/></Relationships>
</file>

<file path=ppt/charts/_rels/chart19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1.xlsx"/></Relationships>
</file>

<file path=ppt/charts/_rels/chart19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2.xlsx"/></Relationships>
</file>

<file path=ppt/charts/_rels/chart19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3.xlsx"/></Relationships>
</file>

<file path=ppt/charts/_rels/chart19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4.xlsx"/></Relationships>
</file>

<file path=ppt/charts/_rels/chart19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5.xlsx"/></Relationships>
</file>

<file path=ppt/charts/_rels/chart19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6.xlsx"/></Relationships>
</file>

<file path=ppt/charts/_rels/chart19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7.xlsx"/></Relationships>
</file>

<file path=ppt/charts/_rels/chart19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0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9.xlsx"/></Relationships>
</file>

<file path=ppt/charts/_rels/chart20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0.xlsx"/></Relationships>
</file>

<file path=ppt/charts/_rels/chart20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1.xlsx"/></Relationships>
</file>

<file path=ppt/charts/_rels/chart2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2.xlsx"/></Relationships>
</file>

<file path=ppt/charts/_rels/chart20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3.xlsx"/></Relationships>
</file>

<file path=ppt/charts/_rels/chart20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4.xlsx"/></Relationships>
</file>

<file path=ppt/charts/_rels/chart20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5.xlsx"/></Relationships>
</file>

<file path=ppt/charts/_rels/chart20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7.xlsx"/></Relationships>
</file>

<file path=ppt/charts/_rels/chart20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8.xlsx"/></Relationships>
</file>

<file path=ppt/charts/_rels/chart20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0.xlsx"/></Relationships>
</file>

<file path=ppt/charts/_rels/chart2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1.xlsx"/></Relationships>
</file>

<file path=ppt/charts/_rels/chart2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2.xlsx"/></Relationships>
</file>

<file path=ppt/charts/_rels/chart2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3.xlsx"/></Relationships>
</file>

<file path=ppt/charts/_rels/chart2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4.xlsx"/></Relationships>
</file>

<file path=ppt/charts/_rels/chart2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5.xlsx"/></Relationships>
</file>

<file path=ppt/charts/_rels/chart2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6.xlsx"/></Relationships>
</file>

<file path=ppt/charts/_rels/chart2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7.xlsx"/></Relationships>
</file>

<file path=ppt/charts/_rels/chart2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8.xlsx"/></Relationships>
</file>

<file path=ppt/charts/_rels/chart2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9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0.xlsx"/></Relationships>
</file>

<file path=ppt/charts/_rels/chart2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1.xlsx"/></Relationships>
</file>

<file path=ppt/charts/_rels/chart2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2.xlsx"/></Relationships>
</file>

<file path=ppt/charts/_rels/chart2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3.xlsx"/></Relationships>
</file>

<file path=ppt/charts/_rels/chart2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4.xlsx"/></Relationships>
</file>

<file path=ppt/charts/_rels/chart2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5.xlsx"/></Relationships>
</file>

<file path=ppt/charts/_rels/chart2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6.xlsx"/></Relationships>
</file>

<file path=ppt/charts/_rels/chart2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7.xlsx"/></Relationships>
</file>

<file path=ppt/charts/_rels/chart2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8.xlsx"/></Relationships>
</file>

<file path=ppt/charts/_rels/chart2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9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0.xlsx"/></Relationships>
</file>

<file path=ppt/charts/_rels/chart2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1.xlsx"/></Relationships>
</file>

<file path=ppt/charts/_rels/chart2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2.xlsx"/></Relationships>
</file>

<file path=ppt/charts/_rels/chart2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3.xlsx"/></Relationships>
</file>

<file path=ppt/charts/_rels/chart2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4.xlsx"/></Relationships>
</file>

<file path=ppt/charts/_rels/chart2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5.xlsx"/></Relationships>
</file>

<file path=ppt/charts/_rels/chart2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6.xlsx"/></Relationships>
</file>

<file path=ppt/charts/_rels/chart2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7.xlsx"/></Relationships>
</file>

<file path=ppt/charts/_rels/chart2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8.xlsx"/></Relationships>
</file>

<file path=ppt/charts/_rels/chart2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9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0.xlsx"/></Relationships>
</file>

<file path=ppt/charts/_rels/chart2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1.xlsx"/></Relationships>
</file>

<file path=ppt/charts/_rels/chart2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2.xlsx"/></Relationships>
</file>

<file path=ppt/charts/_rels/chart2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3.xlsx"/></Relationships>
</file>

<file path=ppt/charts/_rels/chart2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4.xlsx"/></Relationships>
</file>

<file path=ppt/charts/_rels/chart2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5.xlsx"/></Relationships>
</file>

<file path=ppt/charts/_rels/chart2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6.xlsx"/></Relationships>
</file>

<file path=ppt/charts/_rels/chart2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7.xlsx"/></Relationships>
</file>

<file path=ppt/charts/_rels/chart2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8.xlsx"/></Relationships>
</file>

<file path=ppt/charts/_rels/chart2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9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0.xlsx"/></Relationships>
</file>

<file path=ppt/charts/_rels/chart2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1.xlsx"/></Relationships>
</file>

<file path=ppt/charts/_rels/chart2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2.xlsx"/></Relationships>
</file>

<file path=ppt/charts/_rels/chart2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3.xlsx"/></Relationships>
</file>

<file path=ppt/charts/_rels/chart2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4.xlsx"/></Relationships>
</file>

<file path=ppt/charts/_rels/chart2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5.xlsx"/></Relationships>
</file>

<file path=ppt/charts/_rels/chart2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6.xlsx"/></Relationships>
</file>

<file path=ppt/charts/_rels/chart2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7.xlsx"/></Relationships>
</file>

<file path=ppt/charts/_rels/chart2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8.xlsx"/></Relationships>
</file>

<file path=ppt/charts/_rels/chart2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9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0.xlsx"/></Relationships>
</file>

<file path=ppt/charts/_rels/chart2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1.xlsx"/></Relationships>
</file>

<file path=ppt/charts/_rels/chart2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2.xlsx"/></Relationships>
</file>

<file path=ppt/charts/_rels/chart2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3.xlsx"/></Relationships>
</file>

<file path=ppt/charts/_rels/chart2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4.xlsx"/></Relationships>
</file>

<file path=ppt/charts/_rels/chart2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5.xlsx"/></Relationships>
</file>

<file path=ppt/charts/_rels/chart2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6.xlsx"/></Relationships>
</file>

<file path=ppt/charts/_rels/chart2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7.xlsx"/></Relationships>
</file>

<file path=ppt/charts/_rels/chart2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8.xlsx"/></Relationships>
</file>

<file path=ppt/charts/_rels/chart2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9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0.xlsx"/></Relationships>
</file>

<file path=ppt/charts/_rels/chart2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1.xlsx"/></Relationships>
</file>

<file path=ppt/charts/_rels/chart2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2.xlsx"/></Relationships>
</file>

<file path=ppt/charts/_rels/chart2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3.xlsx"/></Relationships>
</file>

<file path=ppt/charts/_rels/chart2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4.xlsx"/></Relationships>
</file>

<file path=ppt/charts/_rels/chart2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5.xlsx"/></Relationships>
</file>

<file path=ppt/charts/_rels/chart27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6.xlsx"/><Relationship Id="rId1" Type="http://schemas.openxmlformats.org/officeDocument/2006/relationships/themeOverride" Target="../theme/themeOverride11.xml"/></Relationships>
</file>

<file path=ppt/charts/_rels/chart27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7.xlsx"/><Relationship Id="rId1" Type="http://schemas.openxmlformats.org/officeDocument/2006/relationships/themeOverride" Target="../theme/themeOverride12.xml"/></Relationships>
</file>

<file path=ppt/charts/_rels/chart27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8.xlsx"/><Relationship Id="rId1" Type="http://schemas.openxmlformats.org/officeDocument/2006/relationships/themeOverride" Target="../theme/themeOverride13.xml"/></Relationships>
</file>

<file path=ppt/charts/_rels/chart27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9.xlsx"/><Relationship Id="rId1" Type="http://schemas.openxmlformats.org/officeDocument/2006/relationships/themeOverride" Target="../theme/themeOverride14.xm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8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0.xlsx"/><Relationship Id="rId1" Type="http://schemas.openxmlformats.org/officeDocument/2006/relationships/themeOverride" Target="../theme/themeOverride15.xml"/></Relationships>
</file>

<file path=ppt/charts/_rels/chart28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281.xlsx"/></Relationships>
</file>

<file path=ppt/charts/_rels/chart28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282.xlsx"/></Relationships>
</file>

<file path=ppt/charts/_rels/chart28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283.xlsx"/></Relationships>
</file>

<file path=ppt/charts/_rels/chart28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4.xlsx"/></Relationships>
</file>

<file path=ppt/charts/_rels/chart28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5.xlsx"/></Relationships>
</file>

<file path=ppt/charts/_rels/chart28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6.xlsx"/></Relationships>
</file>

<file path=ppt/charts/_rels/chart2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7.xlsx"/></Relationships>
</file>

<file path=ppt/charts/_rels/chart28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8.xlsx"/></Relationships>
</file>

<file path=ppt/charts/_rels/chart28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9.xlsx"/><Relationship Id="rId1" Type="http://schemas.openxmlformats.org/officeDocument/2006/relationships/themeOverride" Target="../theme/themeOverride19.xm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29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0.xlsx"/><Relationship Id="rId1" Type="http://schemas.openxmlformats.org/officeDocument/2006/relationships/themeOverride" Target="../theme/themeOverride20.xml"/></Relationships>
</file>

<file path=ppt/charts/_rels/chart29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1.xlsx"/><Relationship Id="rId1" Type="http://schemas.openxmlformats.org/officeDocument/2006/relationships/themeOverride" Target="../theme/themeOverride21.xml"/></Relationships>
</file>

<file path=ppt/charts/_rels/chart29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2.xlsx"/><Relationship Id="rId1" Type="http://schemas.openxmlformats.org/officeDocument/2006/relationships/themeOverride" Target="../theme/themeOverride22.xml"/></Relationships>
</file>

<file path=ppt/charts/_rels/chart29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3.xlsx"/><Relationship Id="rId1" Type="http://schemas.openxmlformats.org/officeDocument/2006/relationships/themeOverride" Target="../theme/themeOverride23.xml"/></Relationships>
</file>

<file path=ppt/charts/_rels/chart29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294.xlsx"/></Relationships>
</file>

<file path=ppt/charts/_rels/chart29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5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295.xlsx"/></Relationships>
</file>

<file path=ppt/charts/_rels/chart29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6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_Worksheet296.xlsx"/></Relationships>
</file>

<file path=ppt/charts/_rels/chart29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7.xlsx"/></Relationships>
</file>

<file path=ppt/charts/_rels/chart29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8.xlsx"/></Relationships>
</file>

<file path=ppt/charts/_rels/chart29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0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0.xlsx"/></Relationships>
</file>

<file path=ppt/charts/_rels/chart30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1.xlsx"/></Relationships>
</file>

<file path=ppt/charts/_rels/chart30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2.xlsx"/></Relationships>
</file>

<file path=ppt/charts/_rels/chart3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3.xlsx"/></Relationships>
</file>

<file path=ppt/charts/_rels/chart30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4.xlsx"/></Relationships>
</file>

<file path=ppt/charts/_rels/chart30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5.xlsx"/></Relationships>
</file>

<file path=ppt/charts/_rels/chart30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6.xlsx"/></Relationships>
</file>

<file path=ppt/charts/_rels/chart30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7.xlsx"/></Relationships>
</file>

<file path=ppt/charts/_rels/chart30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8.xlsx"/></Relationships>
</file>

<file path=ppt/charts/_rels/chart30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0.xlsx"/></Relationships>
</file>

<file path=ppt/charts/_rels/chart3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1.xlsx"/></Relationships>
</file>

<file path=ppt/charts/_rels/chart3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2.xlsx"/></Relationships>
</file>

<file path=ppt/charts/_rels/chart3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3.xlsx"/></Relationships>
</file>

<file path=ppt/charts/_rels/chart3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4.xlsx"/></Relationships>
</file>

<file path=ppt/charts/_rels/chart3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5.xlsx"/></Relationships>
</file>

<file path=ppt/charts/_rels/chart3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6.xlsx"/></Relationships>
</file>

<file path=ppt/charts/_rels/chart3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7.xlsx"/></Relationships>
</file>

<file path=ppt/charts/_rels/chart3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8.xlsx"/></Relationships>
</file>

<file path=ppt/charts/_rels/chart3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9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0.xlsx"/></Relationships>
</file>

<file path=ppt/charts/_rels/chart3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1.xlsx"/></Relationships>
</file>

<file path=ppt/charts/_rels/chart3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2.xlsx"/></Relationships>
</file>

<file path=ppt/charts/_rels/chart3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3.xlsx"/></Relationships>
</file>

<file path=ppt/charts/_rels/chart3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4.xlsx"/></Relationships>
</file>

<file path=ppt/charts/_rels/chart3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5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3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6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7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8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9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0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1.xlsx"/></Relationships>
</file>

<file path=ppt/charts/_rels/chart3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2.xlsx"/></Relationships>
</file>

<file path=ppt/charts/_rels/chart3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3.xlsx"/></Relationships>
</file>

<file path=ppt/charts/_rels/chart3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4.xlsx"/></Relationships>
</file>

<file path=ppt/charts/_rels/chart3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5.xlsx"/></Relationships>
</file>

<file path=ppt/charts/_rels/chart3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6.xlsx"/></Relationships>
</file>

<file path=ppt/charts/_rels/chart3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7.xlsx"/></Relationships>
</file>

<file path=ppt/charts/_rels/chart3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8.xlsx"/></Relationships>
</file>

<file path=ppt/charts/_rels/chart3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9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0.xlsx"/></Relationships>
</file>

<file path=ppt/charts/_rels/chart3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1.xlsx"/></Relationships>
</file>

<file path=ppt/charts/_rels/chart3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2.xlsx"/></Relationships>
</file>

<file path=ppt/charts/_rels/chart3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3.xlsx"/></Relationships>
</file>

<file path=ppt/charts/_rels/chart3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4.xlsx"/></Relationships>
</file>

<file path=ppt/charts/_rels/chart3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5.xlsx"/></Relationships>
</file>

<file path=ppt/charts/_rels/chart3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6.xlsx"/></Relationships>
</file>

<file path=ppt/charts/_rels/chart3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7.xlsx"/></Relationships>
</file>

<file path=ppt/charts/_rels/chart3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8.xlsx"/></Relationships>
</file>

<file path=ppt/charts/_rels/chart3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9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0.xlsx"/></Relationships>
</file>

<file path=ppt/charts/_rels/chart3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1.xlsx"/></Relationships>
</file>

<file path=ppt/charts/_rels/chart3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2.xlsx"/></Relationships>
</file>

<file path=ppt/charts/_rels/chart3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3.xlsx"/></Relationships>
</file>

<file path=ppt/charts/_rels/chart3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4.xlsx"/></Relationships>
</file>

<file path=ppt/charts/_rels/chart3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5.xlsx"/></Relationships>
</file>

<file path=ppt/charts/_rels/chart3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6.xlsx"/></Relationships>
</file>

<file path=ppt/charts/_rels/chart3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7.xlsx"/></Relationships>
</file>

<file path=ppt/charts/_rels/chart3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8.xlsx"/></Relationships>
</file>

<file path=ppt/charts/_rels/chart3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9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0.xlsx"/></Relationships>
</file>

<file path=ppt/charts/_rels/chart3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1.xlsx"/></Relationships>
</file>

<file path=ppt/charts/_rels/chart3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2.xlsx"/></Relationships>
</file>

<file path=ppt/charts/_rels/chart3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3.xlsx"/></Relationships>
</file>

<file path=ppt/charts/_rels/chart3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4.xlsx"/></Relationships>
</file>

<file path=ppt/charts/_rels/chart3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5.xlsx"/></Relationships>
</file>

<file path=ppt/charts/_rels/chart3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6.xlsx"/></Relationships>
</file>

<file path=ppt/charts/_rels/chart3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7.xlsx"/></Relationships>
</file>

<file path=ppt/charts/_rels/chart3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8.xlsx"/></Relationships>
</file>

<file path=ppt/charts/_rels/chart3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9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0.xlsx"/></Relationships>
</file>

<file path=ppt/charts/_rels/chart3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1.xlsx"/></Relationships>
</file>

<file path=ppt/charts/_rels/chart3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2.xlsx"/></Relationships>
</file>

<file path=ppt/charts/_rels/chart3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3.xlsx"/></Relationships>
</file>

<file path=ppt/charts/_rels/chart3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4.xlsx"/></Relationships>
</file>

<file path=ppt/charts/_rels/chart3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5.xlsx"/></Relationships>
</file>

<file path=ppt/charts/_rels/chart37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6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7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7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8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9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8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0.xlsx"/></Relationships>
</file>

<file path=ppt/charts/_rels/chart38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1.xlsx"/></Relationships>
</file>

<file path=ppt/charts/_rels/chart38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2.xlsx"/></Relationships>
</file>

<file path=ppt/charts/_rels/chart38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3.xlsx"/></Relationships>
</file>

<file path=ppt/charts/_rels/chart38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4.xlsx"/></Relationships>
</file>

<file path=ppt/charts/_rels/chart38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5.xlsx"/></Relationships>
</file>

<file path=ppt/charts/_rels/chart38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6.xlsx"/></Relationships>
</file>

<file path=ppt/charts/_rels/chart3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7.xlsx"/></Relationships>
</file>

<file path=ppt/charts/_rels/chart38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8.xlsx"/></Relationships>
</file>

<file path=ppt/charts/_rels/chart38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9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39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0.xlsx"/></Relationships>
</file>

<file path=ppt/charts/_rels/chart39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1.xlsx"/></Relationships>
</file>

<file path=ppt/charts/_rels/chart39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2.xlsx"/></Relationships>
</file>

<file path=ppt/charts/_rels/chart39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3.xlsx"/></Relationships>
</file>

<file path=ppt/charts/_rels/chart39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4.xlsx"/></Relationships>
</file>

<file path=ppt/charts/_rels/chart39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5.xlsx"/></Relationships>
</file>

<file path=ppt/charts/_rels/chart39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6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9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7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9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8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9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0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0.xlsx"/></Relationships>
</file>

<file path=ppt/charts/_rels/chart40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1.xlsx"/></Relationships>
</file>

<file path=ppt/charts/_rels/chart40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2.xlsx"/></Relationships>
</file>

<file path=ppt/charts/_rels/chart4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3.xlsx"/></Relationships>
</file>

<file path=ppt/charts/_rels/chart40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4.xlsx"/></Relationships>
</file>

<file path=ppt/charts/_rels/chart40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5.xlsx"/></Relationships>
</file>

<file path=ppt/charts/_rels/chart40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6.xlsx"/></Relationships>
</file>

<file path=ppt/charts/_rels/chart40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7.xlsx"/></Relationships>
</file>

<file path=ppt/charts/_rels/chart40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8.xlsx"/></Relationships>
</file>

<file path=ppt/charts/_rels/chart40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0.xlsx"/></Relationships>
</file>

<file path=ppt/charts/_rels/chart4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1.xlsx"/></Relationships>
</file>

<file path=ppt/charts/_rels/chart4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2.xlsx"/></Relationships>
</file>

<file path=ppt/charts/_rels/chart4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3.xlsx"/></Relationships>
</file>

<file path=ppt/charts/_rels/chart4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4.xlsx"/></Relationships>
</file>

<file path=ppt/charts/_rels/chart4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5.xlsx"/></Relationships>
</file>

<file path=ppt/charts/_rels/chart4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6.xlsx"/></Relationships>
</file>

<file path=ppt/charts/_rels/chart4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7.xlsx"/></Relationships>
</file>

<file path=ppt/charts/_rels/chart4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8.xlsx"/></Relationships>
</file>

<file path=ppt/charts/_rels/chart4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9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.xlsx"/></Relationships>
</file>

<file path=ppt/charts/_rels/chart4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0.xlsx"/></Relationships>
</file>

<file path=ppt/charts/_rels/chart4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1.xlsx"/></Relationships>
</file>

<file path=ppt/charts/_rels/chart4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2.xlsx"/></Relationships>
</file>

<file path=ppt/charts/_rels/chart4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3.xlsx"/></Relationships>
</file>

<file path=ppt/charts/_rels/chart4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4.xlsx"/></Relationships>
</file>

<file path=ppt/charts/_rels/chart4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5.xlsx"/></Relationships>
</file>

<file path=ppt/charts/_rels/chart4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6.xlsx"/></Relationships>
</file>

<file path=ppt/charts/_rels/chart4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7.xlsx"/></Relationships>
</file>

<file path=ppt/charts/_rels/chart4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8.xlsx"/></Relationships>
</file>

<file path=ppt/charts/_rels/chart4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9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0.xlsx"/></Relationships>
</file>

<file path=ppt/charts/_rels/chart4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1.xlsx"/></Relationships>
</file>

<file path=ppt/charts/_rels/chart4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2.xlsx"/></Relationships>
</file>

<file path=ppt/charts/_rels/chart4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3.xlsx"/></Relationships>
</file>

<file path=ppt/charts/_rels/chart4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4.xlsx"/></Relationships>
</file>

<file path=ppt/charts/_rels/chart4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5.xlsx"/></Relationships>
</file>

<file path=ppt/charts/_rels/chart4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6.xlsx"/></Relationships>
</file>

<file path=ppt/charts/_rels/chart4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7.xlsx"/></Relationships>
</file>

<file path=ppt/charts/_rels/chart4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8.xlsx"/></Relationships>
</file>

<file path=ppt/charts/_rels/chart4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9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0.xlsx"/></Relationships>
</file>

<file path=ppt/charts/_rels/chart4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1.xlsx"/></Relationships>
</file>

<file path=ppt/charts/_rels/chart4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2.xlsx"/></Relationships>
</file>

<file path=ppt/charts/_rels/chart4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3.xlsx"/></Relationships>
</file>

<file path=ppt/charts/_rels/chart4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4.xlsx"/></Relationships>
</file>

<file path=ppt/charts/_rels/chart4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5.xlsx"/></Relationships>
</file>

<file path=ppt/charts/_rels/chart4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6.xlsx"/></Relationships>
</file>

<file path=ppt/charts/_rels/chart4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7.xlsx"/></Relationships>
</file>

<file path=ppt/charts/_rels/chart4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8.xlsx"/></Relationships>
</file>

<file path=ppt/charts/_rels/chart4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9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4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0.xlsx"/></Relationships>
</file>

<file path=ppt/charts/_rels/chart4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1.xlsx"/></Relationships>
</file>

<file path=ppt/charts/_rels/chart4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2.xlsx"/></Relationships>
</file>

<file path=ppt/charts/_rels/chart4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3.xlsx"/></Relationships>
</file>

<file path=ppt/charts/_rels/chart4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4.xlsx"/></Relationships>
</file>

<file path=ppt/charts/_rels/chart4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5.xlsx"/></Relationships>
</file>

<file path=ppt/charts/_rels/chart4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6.xlsx"/></Relationships>
</file>

<file path=ppt/charts/_rels/chart4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7.xlsx"/></Relationships>
</file>

<file path=ppt/charts/_rels/chart4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8.xlsx"/></Relationships>
</file>

<file path=ppt/charts/_rels/chart4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9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0.xlsx"/></Relationships>
</file>

<file path=ppt/charts/_rels/chart4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1.xlsx"/></Relationships>
</file>

<file path=ppt/charts/_rels/chart4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2.xlsx"/></Relationships>
</file>

<file path=ppt/charts/_rels/chart4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3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1.xlsx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2.xlsx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3.xlsx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4.xlsx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5.xlsx"/></Relationships>
</file>

<file path=ppt/charts/_rels/chart5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6.xlsx"/><Relationship Id="rId1" Type="http://schemas.openxmlformats.org/officeDocument/2006/relationships/themeOverride" Target="../theme/themeOverride1.xml"/></Relationships>
</file>

<file path=ppt/charts/_rels/chart5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7.xlsx"/><Relationship Id="rId1" Type="http://schemas.openxmlformats.org/officeDocument/2006/relationships/themeOverride" Target="../theme/themeOverride2.xml"/></Relationships>
</file>

<file path=ppt/charts/_rels/chart5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8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9.xlsx"/><Relationship Id="rId1" Type="http://schemas.openxmlformats.org/officeDocument/2006/relationships/themeOverride" Target="../theme/themeOverride4.xml"/></Relationships>
</file>

<file path=ppt/charts/_rels/chart6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0.xlsx"/><Relationship Id="rId1" Type="http://schemas.openxmlformats.org/officeDocument/2006/relationships/themeOverride" Target="../theme/themeOverride5.xml"/></Relationships>
</file>

<file path=ppt/charts/_rels/chart6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1.xlsx"/><Relationship Id="rId1" Type="http://schemas.openxmlformats.org/officeDocument/2006/relationships/themeOverride" Target="../theme/themeOverride6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62.xlsx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63.xlsx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64.xlsx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65.xlsx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6.xlsx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7.xlsx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8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9.xlsx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0.xlsx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1.xlsx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2.xlsx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3.xlsx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4.xlsx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5.xlsx"/></Relationships>
</file>

<file path=ppt/charts/_rels/chart7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6.xlsx"/></Relationships>
</file>

<file path=ppt/charts/_rels/chart7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7.xlsx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8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9.xlsx"/></Relationships>
</file>

<file path=ppt/charts/_rels/chart8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0.xlsx"/></Relationships>
</file>

<file path=ppt/charts/_rels/chart8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1.xlsx"/></Relationships>
</file>

<file path=ppt/charts/_rels/chart8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2.xlsx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4.xlsx"/></Relationships>
</file>

<file path=ppt/charts/_rels/chart8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5.xlsx"/></Relationships>
</file>

<file path=ppt/charts/_rels/chart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6.xlsx"/></Relationships>
</file>

<file path=ppt/charts/_rels/chart8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7.xlsx"/></Relationships>
</file>

<file path=ppt/charts/_rels/chart8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9.xlsx"/></Relationships>
</file>

<file path=ppt/charts/_rels/chart9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0.xlsx"/></Relationships>
</file>

<file path=ppt/charts/_rels/chart9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1.xlsx"/></Relationships>
</file>

<file path=ppt/charts/_rels/chart9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2.xlsx"/></Relationships>
</file>

<file path=ppt/charts/_rels/chart9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3.xlsx"/></Relationships>
</file>

<file path=ppt/charts/_rels/chart9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4.xlsx"/></Relationships>
</file>

<file path=ppt/charts/_rels/chart9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5.xlsx"/></Relationships>
</file>

<file path=ppt/charts/_rels/chart9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6.xlsx"/></Relationships>
</file>

<file path=ppt/charts/_rels/chart9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7.xlsx"/></Relationships>
</file>

<file path=ppt/charts/_rels/chart9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8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Microsoft_Excel_Worksheet20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9</c:f>
              <c:strCache>
                <c:ptCount val="8"/>
                <c:pt idx="0">
                  <c:v>місто Вінниця</c:v>
                </c:pt>
                <c:pt idx="1">
                  <c:v>село Вінницькі Хутори</c:v>
                </c:pt>
                <c:pt idx="2">
                  <c:v>село Щітки</c:v>
                </c:pt>
                <c:pt idx="3">
                  <c:v>селище Десна</c:v>
                </c:pt>
                <c:pt idx="4">
                  <c:v>село Писарівка</c:v>
                </c:pt>
                <c:pt idx="5">
                  <c:v>село Малі Крушлинці</c:v>
                </c:pt>
                <c:pt idx="6">
                  <c:v>село Гавришівка</c:v>
                </c:pt>
                <c:pt idx="7">
                  <c:v>село Великі Крушлинці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0.93440000000000001</c:v>
                </c:pt>
                <c:pt idx="1">
                  <c:v>3.9199999999999999E-2</c:v>
                </c:pt>
                <c:pt idx="2">
                  <c:v>9.7000000000000003E-3</c:v>
                </c:pt>
                <c:pt idx="3" formatCode="0.0%">
                  <c:v>4.7999999999999996E-3</c:v>
                </c:pt>
                <c:pt idx="4" formatCode="0.0%">
                  <c:v>4.1000000000000003E-3</c:v>
                </c:pt>
                <c:pt idx="5" formatCode="0.0%">
                  <c:v>3.0000000000000001E-3</c:v>
                </c:pt>
                <c:pt idx="6" formatCode="0.0%">
                  <c:v>3.0000000000000001E-3</c:v>
                </c:pt>
                <c:pt idx="7" formatCode="0.0%">
                  <c:v>1.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B49-4BD4-9F27-CE8528158CF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B49-4BD4-9F27-CE8528158CF4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47239999999999999</c:v>
                </c:pt>
                <c:pt idx="1">
                  <c:v>0.5275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49-4BD4-9F27-CE8528158C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D16-4524-B099-77E09153C86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D16-4524-B099-77E09153C8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895</c:v>
                </c:pt>
                <c:pt idx="1">
                  <c:v>0.11260000000000001</c:v>
                </c:pt>
                <c:pt idx="2">
                  <c:v>0.13919999999999999</c:v>
                </c:pt>
                <c:pt idx="3">
                  <c:v>0.107</c:v>
                </c:pt>
                <c:pt idx="4">
                  <c:v>0.12559999999999999</c:v>
                </c:pt>
                <c:pt idx="5">
                  <c:v>0.1096</c:v>
                </c:pt>
                <c:pt idx="6">
                  <c:v>6.93E-2</c:v>
                </c:pt>
                <c:pt idx="7">
                  <c:v>5.5300000000000002E-2</c:v>
                </c:pt>
                <c:pt idx="8">
                  <c:v>7.0900000000000005E-2</c:v>
                </c:pt>
                <c:pt idx="9">
                  <c:v>6.1800000000000001E-2</c:v>
                </c:pt>
                <c:pt idx="10">
                  <c:v>5.8799999999999998E-2</c:v>
                </c:pt>
                <c:pt idx="11">
                  <c:v>6.2300000000000001E-2</c:v>
                </c:pt>
                <c:pt idx="12">
                  <c:v>5.8799999999999998E-2</c:v>
                </c:pt>
                <c:pt idx="13">
                  <c:v>3.4700000000000002E-2</c:v>
                </c:pt>
                <c:pt idx="14">
                  <c:v>5.7799999999999997E-2</c:v>
                </c:pt>
                <c:pt idx="15">
                  <c:v>4.82E-2</c:v>
                </c:pt>
                <c:pt idx="16">
                  <c:v>2.9600000000000001E-2</c:v>
                </c:pt>
                <c:pt idx="17">
                  <c:v>3.0700000000000002E-2</c:v>
                </c:pt>
                <c:pt idx="18">
                  <c:v>2.81E-2</c:v>
                </c:pt>
                <c:pt idx="19">
                  <c:v>3.4200000000000001E-2</c:v>
                </c:pt>
                <c:pt idx="20">
                  <c:v>3.4200000000000001E-2</c:v>
                </c:pt>
                <c:pt idx="21">
                  <c:v>2.7099999999999999E-2</c:v>
                </c:pt>
                <c:pt idx="22">
                  <c:v>1.06E-2</c:v>
                </c:pt>
                <c:pt idx="23">
                  <c:v>2.7099999999999999E-2</c:v>
                </c:pt>
                <c:pt idx="24">
                  <c:v>9.8000000000000004E-2</c:v>
                </c:pt>
                <c:pt idx="25">
                  <c:v>9.9500000000000005E-2</c:v>
                </c:pt>
                <c:pt idx="26">
                  <c:v>0.132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16-4524-B099-77E09153C8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2399999999999995</c:v>
                </c:pt>
                <c:pt idx="1">
                  <c:v>0.67710000000000004</c:v>
                </c:pt>
                <c:pt idx="2">
                  <c:v>0.66159999999999997</c:v>
                </c:pt>
                <c:pt idx="3">
                  <c:v>0.62980000000000003</c:v>
                </c:pt>
                <c:pt idx="4">
                  <c:v>0.56840000000000002</c:v>
                </c:pt>
                <c:pt idx="5">
                  <c:v>0.51400000000000001</c:v>
                </c:pt>
                <c:pt idx="6">
                  <c:v>0.50060000000000004</c:v>
                </c:pt>
                <c:pt idx="7">
                  <c:v>0.49159999999999998</c:v>
                </c:pt>
                <c:pt idx="8">
                  <c:v>0.48749999999999999</c:v>
                </c:pt>
                <c:pt idx="9">
                  <c:v>0.45639999999999997</c:v>
                </c:pt>
                <c:pt idx="10">
                  <c:v>0.44619999999999999</c:v>
                </c:pt>
                <c:pt idx="11">
                  <c:v>0.43090000000000001</c:v>
                </c:pt>
                <c:pt idx="12">
                  <c:v>0.38950000000000001</c:v>
                </c:pt>
                <c:pt idx="13">
                  <c:v>0.37540000000000001</c:v>
                </c:pt>
                <c:pt idx="14">
                  <c:v>0.35520000000000002</c:v>
                </c:pt>
                <c:pt idx="15">
                  <c:v>0.3538</c:v>
                </c:pt>
                <c:pt idx="16">
                  <c:v>0.32869999999999999</c:v>
                </c:pt>
                <c:pt idx="17">
                  <c:v>0.14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1485788113695106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1.6408268733850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1.6408268733850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7119999999999999</c:v>
                </c:pt>
                <c:pt idx="1">
                  <c:v>0.30909999999999999</c:v>
                </c:pt>
                <c:pt idx="2">
                  <c:v>0.32250000000000001</c:v>
                </c:pt>
                <c:pt idx="3">
                  <c:v>0.3478</c:v>
                </c:pt>
                <c:pt idx="4">
                  <c:v>0.39650000000000002</c:v>
                </c:pt>
                <c:pt idx="5">
                  <c:v>0.45929999999999999</c:v>
                </c:pt>
                <c:pt idx="6">
                  <c:v>0.45910000000000001</c:v>
                </c:pt>
                <c:pt idx="7">
                  <c:v>0.47089999999999999</c:v>
                </c:pt>
                <c:pt idx="8">
                  <c:v>0.48070000000000002</c:v>
                </c:pt>
                <c:pt idx="9">
                  <c:v>0.48149999999999998</c:v>
                </c:pt>
                <c:pt idx="10">
                  <c:v>0.51190000000000002</c:v>
                </c:pt>
                <c:pt idx="11">
                  <c:v>0.54</c:v>
                </c:pt>
                <c:pt idx="12">
                  <c:v>0.53890000000000005</c:v>
                </c:pt>
                <c:pt idx="13">
                  <c:v>0.58350000000000002</c:v>
                </c:pt>
                <c:pt idx="14">
                  <c:v>0.60050000000000003</c:v>
                </c:pt>
                <c:pt idx="15">
                  <c:v>0.57389999999999997</c:v>
                </c:pt>
                <c:pt idx="16">
                  <c:v>0.6159</c:v>
                </c:pt>
                <c:pt idx="17">
                  <c:v>0.339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 formatCode="0.0%">
                  <c:v>3.2000000000000002E-3</c:v>
                </c:pt>
                <c:pt idx="1">
                  <c:v>1.03E-2</c:v>
                </c:pt>
                <c:pt idx="2">
                  <c:v>1.34E-2</c:v>
                </c:pt>
                <c:pt idx="3">
                  <c:v>2.23E-2</c:v>
                </c:pt>
                <c:pt idx="4">
                  <c:v>3.5099999999999999E-2</c:v>
                </c:pt>
                <c:pt idx="5">
                  <c:v>2.5100000000000001E-2</c:v>
                </c:pt>
                <c:pt idx="6">
                  <c:v>2.6100000000000002E-2</c:v>
                </c:pt>
                <c:pt idx="7">
                  <c:v>3.4000000000000002E-2</c:v>
                </c:pt>
                <c:pt idx="8">
                  <c:v>2.8400000000000002E-2</c:v>
                </c:pt>
                <c:pt idx="9">
                  <c:v>6.0499999999999998E-2</c:v>
                </c:pt>
                <c:pt idx="10">
                  <c:v>3.8100000000000002E-2</c:v>
                </c:pt>
                <c:pt idx="11">
                  <c:v>2.4299999999999999E-2</c:v>
                </c:pt>
                <c:pt idx="12">
                  <c:v>5.8500000000000003E-2</c:v>
                </c:pt>
                <c:pt idx="13">
                  <c:v>3.9800000000000002E-2</c:v>
                </c:pt>
                <c:pt idx="14">
                  <c:v>4.4299999999999999E-2</c:v>
                </c:pt>
                <c:pt idx="15">
                  <c:v>6.9699999999999998E-2</c:v>
                </c:pt>
                <c:pt idx="16">
                  <c:v>3.9399999999999998E-2</c:v>
                </c:pt>
                <c:pt idx="17">
                  <c:v>0.514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0.0%</c:formatCode>
                <c:ptCount val="18"/>
                <c:pt idx="0">
                  <c:v>1.6000000000000001E-3</c:v>
                </c:pt>
                <c:pt idx="1">
                  <c:v>3.5000000000000001E-3</c:v>
                </c:pt>
                <c:pt idx="2">
                  <c:v>2.5000000000000001E-3</c:v>
                </c:pt>
                <c:pt idx="5">
                  <c:v>1.6000000000000001E-3</c:v>
                </c:pt>
                <c:pt idx="6" formatCode="0%">
                  <c:v>1.4200000000000001E-2</c:v>
                </c:pt>
                <c:pt idx="7">
                  <c:v>3.3999999999999998E-3</c:v>
                </c:pt>
                <c:pt idx="8">
                  <c:v>3.3999999999999998E-3</c:v>
                </c:pt>
                <c:pt idx="9">
                  <c:v>1.6000000000000001E-3</c:v>
                </c:pt>
                <c:pt idx="10">
                  <c:v>3.8E-3</c:v>
                </c:pt>
                <c:pt idx="11">
                  <c:v>4.7000000000000002E-3</c:v>
                </c:pt>
                <c:pt idx="12" formatCode="0%">
                  <c:v>1.32E-2</c:v>
                </c:pt>
                <c:pt idx="13">
                  <c:v>1.2999999999999999E-3</c:v>
                </c:pt>
                <c:pt idx="15">
                  <c:v>2.5000000000000001E-3</c:v>
                </c:pt>
                <c:pt idx="16" formatCode="0%">
                  <c:v>1.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05-4359-A1B0-0AB3899B0F65}"/>
              </c:ext>
            </c:extLst>
          </c:dPt>
          <c:dLbls>
            <c:dLbl>
              <c:idx val="17"/>
              <c:layout>
                <c:manualLayout>
                  <c:x val="-5.742894056847545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32A-47B2-A2F5-237A166AA9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3120000000000005</c:v>
                </c:pt>
                <c:pt idx="1">
                  <c:v>0.74019999999999997</c:v>
                </c:pt>
                <c:pt idx="2">
                  <c:v>0.7258</c:v>
                </c:pt>
                <c:pt idx="3">
                  <c:v>0.67279999999999995</c:v>
                </c:pt>
                <c:pt idx="4">
                  <c:v>0.63539999999999996</c:v>
                </c:pt>
                <c:pt idx="5">
                  <c:v>0.7167</c:v>
                </c:pt>
                <c:pt idx="6">
                  <c:v>0.59040000000000004</c:v>
                </c:pt>
                <c:pt idx="7">
                  <c:v>0.63939999999999997</c:v>
                </c:pt>
                <c:pt idx="8">
                  <c:v>0.72319999999999995</c:v>
                </c:pt>
                <c:pt idx="9">
                  <c:v>0.63880000000000003</c:v>
                </c:pt>
                <c:pt idx="10">
                  <c:v>0.69179999999999997</c:v>
                </c:pt>
                <c:pt idx="11">
                  <c:v>0.56089999999999995</c:v>
                </c:pt>
                <c:pt idx="12">
                  <c:v>0.6139</c:v>
                </c:pt>
                <c:pt idx="13">
                  <c:v>0.60929999999999995</c:v>
                </c:pt>
                <c:pt idx="14">
                  <c:v>0.52490000000000003</c:v>
                </c:pt>
                <c:pt idx="15">
                  <c:v>0.62629999999999997</c:v>
                </c:pt>
                <c:pt idx="16">
                  <c:v>0.4425</c:v>
                </c:pt>
                <c:pt idx="17">
                  <c:v>0.3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05-4359-A1B0-0AB3899B0F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5"/>
              <c:layout>
                <c:manualLayout>
                  <c:x val="-4.102067183462532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F05-4359-A1B0-0AB3899B0F65}"/>
                </c:ext>
              </c:extLst>
            </c:dLbl>
            <c:dLbl>
              <c:idx val="8"/>
              <c:layout>
                <c:manualLayout>
                  <c:x val="-3.281653746770026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F05-4359-A1B0-0AB3899B0F65}"/>
                </c:ext>
              </c:extLst>
            </c:dLbl>
            <c:dLbl>
              <c:idx val="17"/>
              <c:layout>
                <c:manualLayout>
                  <c:x val="4.922480620155039E-2"/>
                  <c:y val="1.144693429960027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32A-47B2-A2F5-237A166AA9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6880000000000001</c:v>
                </c:pt>
                <c:pt idx="1">
                  <c:v>0.25979999999999998</c:v>
                </c:pt>
                <c:pt idx="2">
                  <c:v>0.25330000000000003</c:v>
                </c:pt>
                <c:pt idx="3">
                  <c:v>0.31869999999999998</c:v>
                </c:pt>
                <c:pt idx="4">
                  <c:v>0.33710000000000001</c:v>
                </c:pt>
                <c:pt idx="5">
                  <c:v>0.26429999999999998</c:v>
                </c:pt>
                <c:pt idx="6">
                  <c:v>0.3422</c:v>
                </c:pt>
                <c:pt idx="7">
                  <c:v>0.32269999999999999</c:v>
                </c:pt>
                <c:pt idx="8">
                  <c:v>0.24729999999999999</c:v>
                </c:pt>
                <c:pt idx="9">
                  <c:v>0.33179999999999998</c:v>
                </c:pt>
                <c:pt idx="10">
                  <c:v>0.27029999999999998</c:v>
                </c:pt>
                <c:pt idx="11">
                  <c:v>0.43909999999999999</c:v>
                </c:pt>
                <c:pt idx="12">
                  <c:v>0.35859999999999997</c:v>
                </c:pt>
                <c:pt idx="13">
                  <c:v>0.36320000000000002</c:v>
                </c:pt>
                <c:pt idx="14">
                  <c:v>0.4476</c:v>
                </c:pt>
                <c:pt idx="15">
                  <c:v>0.34420000000000001</c:v>
                </c:pt>
                <c:pt idx="16">
                  <c:v>0.50060000000000004</c:v>
                </c:pt>
                <c:pt idx="17">
                  <c:v>0.3037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5-4359-A1B0-0AB3899B0F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  <c:pt idx="2" formatCode="0%">
                  <c:v>1.0500000000000001E-2</c:v>
                </c:pt>
                <c:pt idx="3" formatCode="0%">
                  <c:v>8.5000000000000006E-3</c:v>
                </c:pt>
                <c:pt idx="4" formatCode="0%">
                  <c:v>2.75E-2</c:v>
                </c:pt>
                <c:pt idx="5" formatCode="0%">
                  <c:v>1.9E-2</c:v>
                </c:pt>
                <c:pt idx="6" formatCode="0%">
                  <c:v>2.9499999999999998E-2</c:v>
                </c:pt>
                <c:pt idx="7" formatCode="0%">
                  <c:v>3.7999999999999999E-2</c:v>
                </c:pt>
                <c:pt idx="8" formatCode="0%">
                  <c:v>2.9499999999999998E-2</c:v>
                </c:pt>
                <c:pt idx="9" formatCode="0%">
                  <c:v>2.9499999999999998E-2</c:v>
                </c:pt>
                <c:pt idx="10" formatCode="0%">
                  <c:v>2.75E-2</c:v>
                </c:pt>
                <c:pt idx="13" formatCode="0%">
                  <c:v>2.75E-2</c:v>
                </c:pt>
                <c:pt idx="14" formatCode="0%">
                  <c:v>2.75E-2</c:v>
                </c:pt>
                <c:pt idx="15" formatCode="0%">
                  <c:v>1.9E-2</c:v>
                </c:pt>
                <c:pt idx="16" formatCode="0%">
                  <c:v>2.75E-2</c:v>
                </c:pt>
                <c:pt idx="17" formatCode="0%">
                  <c:v>0.356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05-4359-A1B0-0AB3899B0F6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2" formatCode="0%">
                  <c:v>1.0500000000000001E-2</c:v>
                </c:pt>
                <c:pt idx="6" formatCode="0%">
                  <c:v>3.7999999999999999E-2</c:v>
                </c:pt>
                <c:pt idx="10" formatCode="0%">
                  <c:v>1.0500000000000001E-2</c:v>
                </c:pt>
                <c:pt idx="12" formatCode="0%">
                  <c:v>2.75E-2</c:v>
                </c:pt>
                <c:pt idx="15" formatCode="0%">
                  <c:v>1.0500000000000001E-2</c:v>
                </c:pt>
                <c:pt idx="16" formatCode="0%">
                  <c:v>2.94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05-4359-A1B0-0AB3899B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27F-49C8-B8D5-5085D4622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3179999999999998</c:v>
                </c:pt>
                <c:pt idx="1">
                  <c:v>0.75129999999999997</c:v>
                </c:pt>
                <c:pt idx="2">
                  <c:v>0.70020000000000004</c:v>
                </c:pt>
                <c:pt idx="3">
                  <c:v>0.59250000000000003</c:v>
                </c:pt>
                <c:pt idx="4">
                  <c:v>0.58409999999999995</c:v>
                </c:pt>
                <c:pt idx="5">
                  <c:v>0.57069999999999999</c:v>
                </c:pt>
                <c:pt idx="6">
                  <c:v>0.58409999999999995</c:v>
                </c:pt>
                <c:pt idx="7">
                  <c:v>0.58109999999999995</c:v>
                </c:pt>
                <c:pt idx="8">
                  <c:v>0.5121</c:v>
                </c:pt>
                <c:pt idx="9">
                  <c:v>0.56120000000000003</c:v>
                </c:pt>
                <c:pt idx="10">
                  <c:v>0.4536</c:v>
                </c:pt>
                <c:pt idx="11">
                  <c:v>0.49230000000000002</c:v>
                </c:pt>
                <c:pt idx="12">
                  <c:v>0.44719999999999999</c:v>
                </c:pt>
                <c:pt idx="13">
                  <c:v>0.3876</c:v>
                </c:pt>
                <c:pt idx="14">
                  <c:v>0.4199</c:v>
                </c:pt>
                <c:pt idx="15">
                  <c:v>0.37519999999999998</c:v>
                </c:pt>
                <c:pt idx="16">
                  <c:v>0.40849999999999997</c:v>
                </c:pt>
                <c:pt idx="17">
                  <c:v>0.1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F-49C8-B8D5-5085D4622A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8"/>
              <c:layout>
                <c:manualLayout>
                  <c:x val="-1.6408268733850203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F8-4F70-87F2-BE896DF98598}"/>
                </c:ext>
              </c:extLst>
            </c:dLbl>
            <c:dLbl>
              <c:idx val="17"/>
              <c:layout>
                <c:manualLayout>
                  <c:x val="9.8449612403100781E-2"/>
                  <c:y val="1.144693429960027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F8-4F70-87F2-BE896DF985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588</c:v>
                </c:pt>
                <c:pt idx="1">
                  <c:v>0.2487</c:v>
                </c:pt>
                <c:pt idx="2">
                  <c:v>0.29980000000000001</c:v>
                </c:pt>
                <c:pt idx="3">
                  <c:v>0.39700000000000002</c:v>
                </c:pt>
                <c:pt idx="4">
                  <c:v>0.40649999999999997</c:v>
                </c:pt>
                <c:pt idx="5">
                  <c:v>0.4199</c:v>
                </c:pt>
                <c:pt idx="6">
                  <c:v>0.3876</c:v>
                </c:pt>
                <c:pt idx="7">
                  <c:v>0.39910000000000001</c:v>
                </c:pt>
                <c:pt idx="8">
                  <c:v>0.45860000000000001</c:v>
                </c:pt>
                <c:pt idx="9">
                  <c:v>0.40949999999999998</c:v>
                </c:pt>
                <c:pt idx="10">
                  <c:v>0.53700000000000003</c:v>
                </c:pt>
                <c:pt idx="11">
                  <c:v>0.4879</c:v>
                </c:pt>
                <c:pt idx="12">
                  <c:v>0.52249999999999996</c:v>
                </c:pt>
                <c:pt idx="13">
                  <c:v>0.60299999999999998</c:v>
                </c:pt>
                <c:pt idx="14">
                  <c:v>0.54979999999999996</c:v>
                </c:pt>
                <c:pt idx="15">
                  <c:v>0.57369999999999999</c:v>
                </c:pt>
                <c:pt idx="16">
                  <c:v>0.56120000000000003</c:v>
                </c:pt>
                <c:pt idx="17">
                  <c:v>0.357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7F-49C8-B8D5-5085D4622AA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  <c:pt idx="3" formatCode="0%">
                  <c:v>1.04E-2</c:v>
                </c:pt>
                <c:pt idx="4" formatCode="0%">
                  <c:v>9.4000000000000004E-3</c:v>
                </c:pt>
                <c:pt idx="6" formatCode="0%">
                  <c:v>1.8800000000000001E-2</c:v>
                </c:pt>
                <c:pt idx="7" formatCode="0%">
                  <c:v>9.4000000000000004E-3</c:v>
                </c:pt>
                <c:pt idx="8" formatCode="0%">
                  <c:v>1.9900000000000001E-2</c:v>
                </c:pt>
                <c:pt idx="9" formatCode="0%">
                  <c:v>1.9900000000000001E-2</c:v>
                </c:pt>
                <c:pt idx="10" formatCode="0%">
                  <c:v>9.4000000000000004E-3</c:v>
                </c:pt>
                <c:pt idx="11" formatCode="0%">
                  <c:v>9.4000000000000004E-3</c:v>
                </c:pt>
                <c:pt idx="12" formatCode="0%">
                  <c:v>3.0300000000000001E-2</c:v>
                </c:pt>
                <c:pt idx="13" formatCode="0%">
                  <c:v>9.4000000000000004E-3</c:v>
                </c:pt>
                <c:pt idx="14" formatCode="0%">
                  <c:v>3.0300000000000001E-2</c:v>
                </c:pt>
                <c:pt idx="15" formatCode="0%">
                  <c:v>5.11E-2</c:v>
                </c:pt>
                <c:pt idx="16" formatCode="0%">
                  <c:v>9.4000000000000004E-3</c:v>
                </c:pt>
                <c:pt idx="17" formatCode="0%">
                  <c:v>0.461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7F-49C8-B8D5-5085D4622AA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0" formatCode="0%">
                  <c:v>9.4000000000000004E-3</c:v>
                </c:pt>
                <c:pt idx="5" formatCode="0%">
                  <c:v>9.4000000000000004E-3</c:v>
                </c:pt>
                <c:pt idx="6" formatCode="0%">
                  <c:v>9.4000000000000004E-3</c:v>
                </c:pt>
                <c:pt idx="7" formatCode="0%">
                  <c:v>1.04E-2</c:v>
                </c:pt>
                <c:pt idx="8" formatCode="0%">
                  <c:v>9.4000000000000004E-3</c:v>
                </c:pt>
                <c:pt idx="9" formatCode="0%">
                  <c:v>9.4000000000000004E-3</c:v>
                </c:pt>
                <c:pt idx="11" formatCode="0%">
                  <c:v>1.04E-2</c:v>
                </c:pt>
                <c:pt idx="16" formatCode="0%">
                  <c:v>2.08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7F-49C8-B8D5-5085D4622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860-409A-BEC4-9CA9D09CDB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1710000000000005</c:v>
                </c:pt>
                <c:pt idx="1">
                  <c:v>0.60799999999999998</c:v>
                </c:pt>
                <c:pt idx="2">
                  <c:v>0.61760000000000004</c:v>
                </c:pt>
                <c:pt idx="3">
                  <c:v>0.62590000000000001</c:v>
                </c:pt>
                <c:pt idx="4">
                  <c:v>0.54810000000000003</c:v>
                </c:pt>
                <c:pt idx="5">
                  <c:v>0.39069999999999999</c:v>
                </c:pt>
                <c:pt idx="6">
                  <c:v>0.42009999999999997</c:v>
                </c:pt>
                <c:pt idx="7">
                  <c:v>0.37030000000000002</c:v>
                </c:pt>
                <c:pt idx="8">
                  <c:v>0.36520000000000002</c:v>
                </c:pt>
                <c:pt idx="9">
                  <c:v>0.35560000000000003</c:v>
                </c:pt>
                <c:pt idx="10">
                  <c:v>0.31309999999999999</c:v>
                </c:pt>
                <c:pt idx="11">
                  <c:v>0.30549999999999999</c:v>
                </c:pt>
                <c:pt idx="12">
                  <c:v>0.25340000000000001</c:v>
                </c:pt>
                <c:pt idx="13">
                  <c:v>0.28000000000000003</c:v>
                </c:pt>
                <c:pt idx="14">
                  <c:v>0.2324</c:v>
                </c:pt>
                <c:pt idx="15">
                  <c:v>0.2203</c:v>
                </c:pt>
                <c:pt idx="16">
                  <c:v>0.2898</c:v>
                </c:pt>
                <c:pt idx="17">
                  <c:v>7.6899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60-409A-BEC4-9CA9D09CDB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0665374677002584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BA6-45B0-A39A-B81951D4BF48}"/>
                </c:ext>
              </c:extLst>
            </c:dLbl>
            <c:dLbl>
              <c:idx val="1"/>
              <c:layout>
                <c:manualLayout>
                  <c:x val="-0.1148578811369509"/>
                  <c:y val="2.458210422955279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BA6-45B0-A39A-B81951D4BF48}"/>
                </c:ext>
              </c:extLst>
            </c:dLbl>
            <c:dLbl>
              <c:idx val="2"/>
              <c:layout>
                <c:manualLayout>
                  <c:x val="-7.383720930232558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BA6-45B0-A39A-B81951D4BF48}"/>
                </c:ext>
              </c:extLst>
            </c:dLbl>
            <c:dLbl>
              <c:idx val="6"/>
              <c:layout>
                <c:manualLayout>
                  <c:x val="-1.640826873385013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860-409A-BEC4-9CA9D09CDB45}"/>
                </c:ext>
              </c:extLst>
            </c:dLbl>
            <c:dLbl>
              <c:idx val="11"/>
              <c:layout>
                <c:manualLayout>
                  <c:x val="-8.204134366925072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860-409A-BEC4-9CA9D09CDB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7680000000000001</c:v>
                </c:pt>
                <c:pt idx="1">
                  <c:v>0.3725</c:v>
                </c:pt>
                <c:pt idx="2">
                  <c:v>0.37030000000000002</c:v>
                </c:pt>
                <c:pt idx="3">
                  <c:v>0.33860000000000001</c:v>
                </c:pt>
                <c:pt idx="4">
                  <c:v>0.37759999999999999</c:v>
                </c:pt>
                <c:pt idx="5">
                  <c:v>0.56040000000000001</c:v>
                </c:pt>
                <c:pt idx="6">
                  <c:v>0.53839999999999999</c:v>
                </c:pt>
                <c:pt idx="7">
                  <c:v>0.57489999999999997</c:v>
                </c:pt>
                <c:pt idx="8">
                  <c:v>0.59940000000000004</c:v>
                </c:pt>
                <c:pt idx="9">
                  <c:v>0.54220000000000002</c:v>
                </c:pt>
                <c:pt idx="10">
                  <c:v>0.61129999999999995</c:v>
                </c:pt>
                <c:pt idx="11">
                  <c:v>0.66639999999999999</c:v>
                </c:pt>
                <c:pt idx="12">
                  <c:v>0.58220000000000005</c:v>
                </c:pt>
                <c:pt idx="13">
                  <c:v>0.65780000000000005</c:v>
                </c:pt>
                <c:pt idx="14">
                  <c:v>0.68589999999999995</c:v>
                </c:pt>
                <c:pt idx="15">
                  <c:v>0.64439999999999997</c:v>
                </c:pt>
                <c:pt idx="16">
                  <c:v>0.64439999999999997</c:v>
                </c:pt>
                <c:pt idx="17">
                  <c:v>0.3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60-409A-BEC4-9CA9D09CDB4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>
                  <c:v>6.1000000000000004E-3</c:v>
                </c:pt>
                <c:pt idx="1">
                  <c:v>1.21E-2</c:v>
                </c:pt>
                <c:pt idx="2">
                  <c:v>1.21E-2</c:v>
                </c:pt>
                <c:pt idx="3">
                  <c:v>3.5400000000000001E-2</c:v>
                </c:pt>
                <c:pt idx="4">
                  <c:v>7.4399999999999994E-2</c:v>
                </c:pt>
                <c:pt idx="5">
                  <c:v>4.8800000000000003E-2</c:v>
                </c:pt>
                <c:pt idx="6">
                  <c:v>3.4099999999999998E-2</c:v>
                </c:pt>
                <c:pt idx="7">
                  <c:v>4.7500000000000001E-2</c:v>
                </c:pt>
                <c:pt idx="8">
                  <c:v>3.5400000000000001E-2</c:v>
                </c:pt>
                <c:pt idx="9">
                  <c:v>0.1022</c:v>
                </c:pt>
                <c:pt idx="10">
                  <c:v>7.5600000000000001E-2</c:v>
                </c:pt>
                <c:pt idx="11">
                  <c:v>2.07E-2</c:v>
                </c:pt>
                <c:pt idx="12">
                  <c:v>0.14369999999999999</c:v>
                </c:pt>
                <c:pt idx="13">
                  <c:v>6.2199999999999998E-2</c:v>
                </c:pt>
                <c:pt idx="14">
                  <c:v>8.1699999999999995E-2</c:v>
                </c:pt>
                <c:pt idx="15">
                  <c:v>0.1353</c:v>
                </c:pt>
                <c:pt idx="16">
                  <c:v>6.5799999999999997E-2</c:v>
                </c:pt>
                <c:pt idx="17">
                  <c:v>0.563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60-409A-BEC4-9CA9D09CDB4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0%</c:formatCode>
                <c:ptCount val="18"/>
                <c:pt idx="1">
                  <c:v>7.3000000000000001E-3</c:v>
                </c:pt>
                <c:pt idx="6">
                  <c:v>7.3000000000000001E-3</c:v>
                </c:pt>
                <c:pt idx="7">
                  <c:v>7.3000000000000001E-3</c:v>
                </c:pt>
                <c:pt idx="11">
                  <c:v>7.3000000000000001E-3</c:v>
                </c:pt>
                <c:pt idx="12">
                  <c:v>2.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60-409A-BEC4-9CA9D09CD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BB0-4AA2-B08D-C980FFB472A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2010000000000005</c:v>
                </c:pt>
                <c:pt idx="1">
                  <c:v>0.6452</c:v>
                </c:pt>
                <c:pt idx="2">
                  <c:v>0.62960000000000005</c:v>
                </c:pt>
                <c:pt idx="3">
                  <c:v>0.62109999999999999</c:v>
                </c:pt>
                <c:pt idx="4">
                  <c:v>0.53010000000000002</c:v>
                </c:pt>
                <c:pt idx="5">
                  <c:v>0.43269999999999997</c:v>
                </c:pt>
                <c:pt idx="6">
                  <c:v>0.45429999999999998</c:v>
                </c:pt>
                <c:pt idx="7">
                  <c:v>0.43009999999999998</c:v>
                </c:pt>
                <c:pt idx="8">
                  <c:v>0.39850000000000002</c:v>
                </c:pt>
                <c:pt idx="9">
                  <c:v>0.3523</c:v>
                </c:pt>
                <c:pt idx="10">
                  <c:v>0.36530000000000001</c:v>
                </c:pt>
                <c:pt idx="11">
                  <c:v>0.39650000000000002</c:v>
                </c:pt>
                <c:pt idx="12">
                  <c:v>0.30149999999999999</c:v>
                </c:pt>
                <c:pt idx="13">
                  <c:v>0.27639999999999998</c:v>
                </c:pt>
                <c:pt idx="14">
                  <c:v>0.29149999999999998</c:v>
                </c:pt>
                <c:pt idx="15">
                  <c:v>0.2492</c:v>
                </c:pt>
                <c:pt idx="16">
                  <c:v>0.2422</c:v>
                </c:pt>
                <c:pt idx="17">
                  <c:v>4.61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B0-4AA2-B08D-C980FFB472A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9.844961240310078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892-4217-90DC-1B70926EA80A}"/>
                </c:ext>
              </c:extLst>
            </c:dLbl>
            <c:dLbl>
              <c:idx val="1"/>
              <c:layout>
                <c:manualLayout>
                  <c:x val="-1.6408268733850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BB0-4AA2-B08D-C980FFB472AA}"/>
                </c:ext>
              </c:extLst>
            </c:dLbl>
            <c:dLbl>
              <c:idx val="2"/>
              <c:layout>
                <c:manualLayout>
                  <c:x val="-9.0245478036175705E-2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892-4217-90DC-1B70926EA80A}"/>
                </c:ext>
              </c:extLst>
            </c:dLbl>
            <c:dLbl>
              <c:idx val="4"/>
              <c:layout>
                <c:manualLayout>
                  <c:x val="-4.9224806201550314E-2"/>
                  <c:y val="2.86173357490006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892-4217-90DC-1B70926EA80A}"/>
                </c:ext>
              </c:extLst>
            </c:dLbl>
            <c:dLbl>
              <c:idx val="5"/>
              <c:layout>
                <c:manualLayout>
                  <c:x val="-4.92248062015504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BB0-4AA2-B08D-C980FFB472AA}"/>
                </c:ext>
              </c:extLst>
            </c:dLbl>
            <c:dLbl>
              <c:idx val="6"/>
              <c:layout>
                <c:manualLayout>
                  <c:x val="-6.5633074935400521E-2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BB0-4AA2-B08D-C980FFB472AA}"/>
                </c:ext>
              </c:extLst>
            </c:dLbl>
            <c:dLbl>
              <c:idx val="7"/>
              <c:layout>
                <c:manualLayout>
                  <c:x val="-7.3837209302325582E-2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892-4217-90DC-1B70926EA80A}"/>
                </c:ext>
              </c:extLst>
            </c:dLbl>
            <c:dLbl>
              <c:idx val="8"/>
              <c:layout>
                <c:manualLayout>
                  <c:x val="-4.922480620155039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BB0-4AA2-B08D-C980FFB472AA}"/>
                </c:ext>
              </c:extLst>
            </c:dLbl>
            <c:dLbl>
              <c:idx val="9"/>
              <c:layout>
                <c:manualLayout>
                  <c:x val="-1.640826873385020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BB0-4AA2-B08D-C980FFB472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749</c:v>
                </c:pt>
                <c:pt idx="1">
                  <c:v>0.32919999999999999</c:v>
                </c:pt>
                <c:pt idx="2">
                  <c:v>0.34820000000000001</c:v>
                </c:pt>
                <c:pt idx="3">
                  <c:v>0.3503</c:v>
                </c:pt>
                <c:pt idx="4">
                  <c:v>0.44269999999999998</c:v>
                </c:pt>
                <c:pt idx="5">
                  <c:v>0.54169999999999996</c:v>
                </c:pt>
                <c:pt idx="6">
                  <c:v>0.51859999999999995</c:v>
                </c:pt>
                <c:pt idx="7">
                  <c:v>0.53569999999999995</c:v>
                </c:pt>
                <c:pt idx="8">
                  <c:v>0.56930000000000003</c:v>
                </c:pt>
                <c:pt idx="9">
                  <c:v>0.57440000000000002</c:v>
                </c:pt>
                <c:pt idx="10">
                  <c:v>0.59650000000000003</c:v>
                </c:pt>
                <c:pt idx="11">
                  <c:v>0.55079999999999996</c:v>
                </c:pt>
                <c:pt idx="12">
                  <c:v>0.63719999999999999</c:v>
                </c:pt>
                <c:pt idx="13">
                  <c:v>0.6724</c:v>
                </c:pt>
                <c:pt idx="14">
                  <c:v>0.67030000000000001</c:v>
                </c:pt>
                <c:pt idx="15">
                  <c:v>0.6804</c:v>
                </c:pt>
                <c:pt idx="16">
                  <c:v>0.69850000000000001</c:v>
                </c:pt>
                <c:pt idx="17">
                  <c:v>0.3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B0-4AA2-B08D-C980FFB472A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>
                  <c:v>5.0000000000000001E-3</c:v>
                </c:pt>
                <c:pt idx="1">
                  <c:v>2.06E-2</c:v>
                </c:pt>
                <c:pt idx="2">
                  <c:v>2.2100000000000002E-2</c:v>
                </c:pt>
                <c:pt idx="3">
                  <c:v>2.86E-2</c:v>
                </c:pt>
                <c:pt idx="4">
                  <c:v>2.7099999999999999E-2</c:v>
                </c:pt>
                <c:pt idx="5">
                  <c:v>2.5600000000000001E-2</c:v>
                </c:pt>
                <c:pt idx="6">
                  <c:v>2.2100000000000002E-2</c:v>
                </c:pt>
                <c:pt idx="7">
                  <c:v>3.4200000000000001E-2</c:v>
                </c:pt>
                <c:pt idx="8">
                  <c:v>2.7099999999999999E-2</c:v>
                </c:pt>
                <c:pt idx="9">
                  <c:v>7.3400000000000007E-2</c:v>
                </c:pt>
                <c:pt idx="10">
                  <c:v>3.4700000000000002E-2</c:v>
                </c:pt>
                <c:pt idx="11">
                  <c:v>4.9299999999999997E-2</c:v>
                </c:pt>
                <c:pt idx="12">
                  <c:v>5.6300000000000003E-2</c:v>
                </c:pt>
                <c:pt idx="13">
                  <c:v>4.7699999999999999E-2</c:v>
                </c:pt>
                <c:pt idx="14">
                  <c:v>3.8199999999999998E-2</c:v>
                </c:pt>
                <c:pt idx="15">
                  <c:v>7.0400000000000004E-2</c:v>
                </c:pt>
                <c:pt idx="16">
                  <c:v>4.4200000000000003E-2</c:v>
                </c:pt>
                <c:pt idx="17">
                  <c:v>0.6125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B0-4AA2-B08D-C980FFB472AA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0%</c:formatCode>
                <c:ptCount val="18"/>
                <c:pt idx="1">
                  <c:v>5.0000000000000001E-3</c:v>
                </c:pt>
                <c:pt idx="6">
                  <c:v>5.0000000000000001E-3</c:v>
                </c:pt>
                <c:pt idx="8">
                  <c:v>5.0000000000000001E-3</c:v>
                </c:pt>
                <c:pt idx="10" formatCode="0.0%">
                  <c:v>3.5000000000000001E-3</c:v>
                </c:pt>
                <c:pt idx="11" formatCode="0.0%">
                  <c:v>3.5000000000000001E-3</c:v>
                </c:pt>
                <c:pt idx="12">
                  <c:v>5.0000000000000001E-3</c:v>
                </c:pt>
                <c:pt idx="13" formatCode="0.0%">
                  <c:v>3.5000000000000001E-3</c:v>
                </c:pt>
                <c:pt idx="16">
                  <c:v>1.51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B0-4AA2-B08D-C980FFB472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8720000000000001</c:v>
                </c:pt>
                <c:pt idx="1">
                  <c:v>0.54159999999999997</c:v>
                </c:pt>
                <c:pt idx="2">
                  <c:v>0.1164</c:v>
                </c:pt>
                <c:pt idx="3">
                  <c:v>1.37E-2</c:v>
                </c:pt>
                <c:pt idx="4" formatCode="0.0%">
                  <c:v>3.2000000000000002E-3</c:v>
                </c:pt>
                <c:pt idx="5">
                  <c:v>3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36120000000000002</c:v>
                </c:pt>
                <c:pt idx="1">
                  <c:v>0.432</c:v>
                </c:pt>
                <c:pt idx="2">
                  <c:v>0.1014</c:v>
                </c:pt>
                <c:pt idx="3">
                  <c:v>0</c:v>
                </c:pt>
                <c:pt idx="4">
                  <c:v>0</c:v>
                </c:pt>
                <c:pt idx="5">
                  <c:v>0.105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3553</c:v>
                </c:pt>
                <c:pt idx="1">
                  <c:v>0.4859</c:v>
                </c:pt>
                <c:pt idx="2">
                  <c:v>0.10970000000000001</c:v>
                </c:pt>
                <c:pt idx="3">
                  <c:v>9.4000000000000004E-3</c:v>
                </c:pt>
                <c:pt idx="4">
                  <c:v>9.4000000000000004E-3</c:v>
                </c:pt>
                <c:pt idx="5">
                  <c:v>3.03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1849999999999996</c:v>
                </c:pt>
                <c:pt idx="1">
                  <c:v>0.217</c:v>
                </c:pt>
                <c:pt idx="2">
                  <c:v>0.125</c:v>
                </c:pt>
                <c:pt idx="3">
                  <c:v>5.8700000000000002E-2</c:v>
                </c:pt>
                <c:pt idx="4">
                  <c:v>4.6800000000000001E-2</c:v>
                </c:pt>
                <c:pt idx="5">
                  <c:v>3.09E-2</c:v>
                </c:pt>
                <c:pt idx="6" formatCode="0.0%">
                  <c:v>3.0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203</c:v>
                </c:pt>
                <c:pt idx="1">
                  <c:v>0.65169999999999995</c:v>
                </c:pt>
                <c:pt idx="2">
                  <c:v>0.1133</c:v>
                </c:pt>
                <c:pt idx="3">
                  <c:v>7.3000000000000001E-3</c:v>
                </c:pt>
                <c:pt idx="4">
                  <c:v>7.3000000000000001E-3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4970000000000001</c:v>
                </c:pt>
                <c:pt idx="1">
                  <c:v>0.56979999999999997</c:v>
                </c:pt>
                <c:pt idx="2">
                  <c:v>0.13120000000000001</c:v>
                </c:pt>
                <c:pt idx="3">
                  <c:v>2.86E-2</c:v>
                </c:pt>
                <c:pt idx="4">
                  <c:v>0</c:v>
                </c:pt>
                <c:pt idx="5">
                  <c:v>2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69610000000000005</c:v>
                </c:pt>
                <c:pt idx="1">
                  <c:v>0.66959999999999997</c:v>
                </c:pt>
                <c:pt idx="2">
                  <c:v>0.66269999999999996</c:v>
                </c:pt>
                <c:pt idx="3">
                  <c:v>0.61250000000000004</c:v>
                </c:pt>
                <c:pt idx="4">
                  <c:v>0.60240000000000005</c:v>
                </c:pt>
                <c:pt idx="5">
                  <c:v>0.57440000000000002</c:v>
                </c:pt>
                <c:pt idx="6">
                  <c:v>0.53959999999999997</c:v>
                </c:pt>
                <c:pt idx="7">
                  <c:v>0.53700000000000003</c:v>
                </c:pt>
                <c:pt idx="8">
                  <c:v>0.50309999999999999</c:v>
                </c:pt>
                <c:pt idx="9">
                  <c:v>0.50229999999999997</c:v>
                </c:pt>
                <c:pt idx="10">
                  <c:v>0.50009999999999999</c:v>
                </c:pt>
                <c:pt idx="11">
                  <c:v>0.49309999999999998</c:v>
                </c:pt>
                <c:pt idx="12">
                  <c:v>0.4829</c:v>
                </c:pt>
                <c:pt idx="13">
                  <c:v>0.47620000000000001</c:v>
                </c:pt>
                <c:pt idx="14">
                  <c:v>0.47420000000000001</c:v>
                </c:pt>
                <c:pt idx="15">
                  <c:v>0.42970000000000003</c:v>
                </c:pt>
                <c:pt idx="16">
                  <c:v>2.0299999999999999E-2</c:v>
                </c:pt>
                <c:pt idx="17">
                  <c:v>7.4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56110000000000004</c:v>
                </c:pt>
                <c:pt idx="1">
                  <c:v>0.51319999999999999</c:v>
                </c:pt>
                <c:pt idx="2">
                  <c:v>0.54210000000000003</c:v>
                </c:pt>
                <c:pt idx="3">
                  <c:v>0.50819999999999999</c:v>
                </c:pt>
                <c:pt idx="4">
                  <c:v>0.35389999999999999</c:v>
                </c:pt>
                <c:pt idx="5">
                  <c:v>0.40179999999999999</c:v>
                </c:pt>
                <c:pt idx="6">
                  <c:v>0.34649999999999997</c:v>
                </c:pt>
                <c:pt idx="7">
                  <c:v>0.34570000000000001</c:v>
                </c:pt>
                <c:pt idx="8">
                  <c:v>0.43890000000000001</c:v>
                </c:pt>
                <c:pt idx="9">
                  <c:v>0.19969999999999999</c:v>
                </c:pt>
                <c:pt idx="10">
                  <c:v>0.27639999999999998</c:v>
                </c:pt>
                <c:pt idx="11">
                  <c:v>0.39929999999999999</c:v>
                </c:pt>
                <c:pt idx="12">
                  <c:v>0.39679999999999999</c:v>
                </c:pt>
                <c:pt idx="13">
                  <c:v>0.41</c:v>
                </c:pt>
                <c:pt idx="14">
                  <c:v>0.2046</c:v>
                </c:pt>
                <c:pt idx="15">
                  <c:v>0.40179999999999999</c:v>
                </c:pt>
                <c:pt idx="16">
                  <c:v>0</c:v>
                </c:pt>
                <c:pt idx="17">
                  <c:v>2.39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62880000000000003</c:v>
                </c:pt>
                <c:pt idx="1">
                  <c:v>0.60880000000000001</c:v>
                </c:pt>
                <c:pt idx="2">
                  <c:v>0.60760000000000003</c:v>
                </c:pt>
                <c:pt idx="3">
                  <c:v>0.61880000000000002</c:v>
                </c:pt>
                <c:pt idx="4">
                  <c:v>0.56799999999999995</c:v>
                </c:pt>
                <c:pt idx="5">
                  <c:v>0.7268</c:v>
                </c:pt>
                <c:pt idx="6">
                  <c:v>0.59519999999999995</c:v>
                </c:pt>
                <c:pt idx="7">
                  <c:v>0.53200000000000003</c:v>
                </c:pt>
                <c:pt idx="8">
                  <c:v>0.45</c:v>
                </c:pt>
                <c:pt idx="9">
                  <c:v>0.50560000000000005</c:v>
                </c:pt>
                <c:pt idx="10">
                  <c:v>0.55559999999999998</c:v>
                </c:pt>
                <c:pt idx="11">
                  <c:v>0.47360000000000002</c:v>
                </c:pt>
                <c:pt idx="12">
                  <c:v>0.49080000000000001</c:v>
                </c:pt>
                <c:pt idx="13">
                  <c:v>0.53920000000000001</c:v>
                </c:pt>
                <c:pt idx="14">
                  <c:v>0.54679999999999995</c:v>
                </c:pt>
                <c:pt idx="15">
                  <c:v>0.41120000000000001</c:v>
                </c:pt>
                <c:pt idx="16">
                  <c:v>0</c:v>
                </c:pt>
                <c:pt idx="1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75700000000000001</c:v>
                </c:pt>
                <c:pt idx="1">
                  <c:v>0.7137</c:v>
                </c:pt>
                <c:pt idx="2">
                  <c:v>0.70650000000000002</c:v>
                </c:pt>
                <c:pt idx="3">
                  <c:v>0.65780000000000005</c:v>
                </c:pt>
                <c:pt idx="4">
                  <c:v>0.74009999999999998</c:v>
                </c:pt>
                <c:pt idx="5">
                  <c:v>0.5948</c:v>
                </c:pt>
                <c:pt idx="6">
                  <c:v>0.64790000000000003</c:v>
                </c:pt>
                <c:pt idx="7">
                  <c:v>0.59630000000000005</c:v>
                </c:pt>
                <c:pt idx="8">
                  <c:v>0.53190000000000004</c:v>
                </c:pt>
                <c:pt idx="9">
                  <c:v>0.60609999999999997</c:v>
                </c:pt>
                <c:pt idx="10">
                  <c:v>0.5403</c:v>
                </c:pt>
                <c:pt idx="11">
                  <c:v>0.5363</c:v>
                </c:pt>
                <c:pt idx="12">
                  <c:v>0.4945</c:v>
                </c:pt>
                <c:pt idx="13">
                  <c:v>0.47739999999999999</c:v>
                </c:pt>
                <c:pt idx="14">
                  <c:v>0.53190000000000004</c:v>
                </c:pt>
                <c:pt idx="15">
                  <c:v>0.45529999999999998</c:v>
                </c:pt>
                <c:pt idx="16">
                  <c:v>5.6000000000000001E-2</c:v>
                </c:pt>
                <c:pt idx="17">
                  <c:v>8.399999999999999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77249999999999996</c:v>
                </c:pt>
                <c:pt idx="1">
                  <c:v>0.76759999999999995</c:v>
                </c:pt>
                <c:pt idx="2">
                  <c:v>0.73570000000000002</c:v>
                </c:pt>
                <c:pt idx="3">
                  <c:v>0.64559999999999995</c:v>
                </c:pt>
                <c:pt idx="4">
                  <c:v>0.68420000000000003</c:v>
                </c:pt>
                <c:pt idx="5">
                  <c:v>0.59899999999999998</c:v>
                </c:pt>
                <c:pt idx="6">
                  <c:v>0.56410000000000005</c:v>
                </c:pt>
                <c:pt idx="7">
                  <c:v>0.62109999999999999</c:v>
                </c:pt>
                <c:pt idx="8">
                  <c:v>0.54930000000000001</c:v>
                </c:pt>
                <c:pt idx="9">
                  <c:v>0.62350000000000005</c:v>
                </c:pt>
                <c:pt idx="10">
                  <c:v>0.58919999999999995</c:v>
                </c:pt>
                <c:pt idx="11">
                  <c:v>0.53280000000000005</c:v>
                </c:pt>
                <c:pt idx="12">
                  <c:v>0.52610000000000001</c:v>
                </c:pt>
                <c:pt idx="13">
                  <c:v>0.48799999999999999</c:v>
                </c:pt>
                <c:pt idx="14">
                  <c:v>0.5726</c:v>
                </c:pt>
                <c:pt idx="15">
                  <c:v>0.439</c:v>
                </c:pt>
                <c:pt idx="16">
                  <c:v>1.9E-2</c:v>
                </c:pt>
                <c:pt idx="1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2889999999999997</c:v>
                </c:pt>
                <c:pt idx="1">
                  <c:v>0.1333</c:v>
                </c:pt>
                <c:pt idx="2">
                  <c:v>3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79320000000000002</c:v>
                </c:pt>
                <c:pt idx="1">
                  <c:v>0.1014</c:v>
                </c:pt>
                <c:pt idx="2">
                  <c:v>0.105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1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4119999999999995</c:v>
                </c:pt>
                <c:pt idx="1">
                  <c:v>0.1285</c:v>
                </c:pt>
                <c:pt idx="2">
                  <c:v>3.03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6119</c:v>
                </c:pt>
                <c:pt idx="1">
                  <c:v>0.21079999999999999</c:v>
                </c:pt>
                <c:pt idx="2">
                  <c:v>0.12039999999999999</c:v>
                </c:pt>
                <c:pt idx="3">
                  <c:v>0</c:v>
                </c:pt>
                <c:pt idx="4">
                  <c:v>5.6899999999999999E-2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72</c:v>
                </c:pt>
                <c:pt idx="1">
                  <c:v>0.128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1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A6D-4D38-85EC-C76DCA70BA9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A6D-4D38-85EC-C76DCA70BA9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A6D-4D38-85EC-C76DCA70BA9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8A6D-4D38-85EC-C76DCA70BA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196</c:v>
                </c:pt>
                <c:pt idx="1">
                  <c:v>0.1598</c:v>
                </c:pt>
                <c:pt idx="2">
                  <c:v>2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6D-4D38-85EC-C76DCA70B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1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6720000000000002</c:v>
                </c:pt>
                <c:pt idx="1">
                  <c:v>0.52690000000000003</c:v>
                </c:pt>
                <c:pt idx="2">
                  <c:v>0.47620000000000001</c:v>
                </c:pt>
                <c:pt idx="3">
                  <c:v>0.45989999999999998</c:v>
                </c:pt>
                <c:pt idx="4">
                  <c:v>0.42309999999999998</c:v>
                </c:pt>
                <c:pt idx="5">
                  <c:v>0.27950000000000003</c:v>
                </c:pt>
                <c:pt idx="6">
                  <c:v>0.27439999999999998</c:v>
                </c:pt>
                <c:pt idx="7">
                  <c:v>0.22839999999999999</c:v>
                </c:pt>
                <c:pt idx="8">
                  <c:v>0.22159999999999999</c:v>
                </c:pt>
                <c:pt idx="9">
                  <c:v>0.2213</c:v>
                </c:pt>
                <c:pt idx="10">
                  <c:v>0.16259999999999999</c:v>
                </c:pt>
                <c:pt idx="11">
                  <c:v>8.72E-2</c:v>
                </c:pt>
                <c:pt idx="12">
                  <c:v>8.43E-2</c:v>
                </c:pt>
                <c:pt idx="13">
                  <c:v>6.5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52239999999999998</c:v>
                </c:pt>
                <c:pt idx="1">
                  <c:v>0.41909999999999997</c:v>
                </c:pt>
                <c:pt idx="2">
                  <c:v>0.18709999999999999</c:v>
                </c:pt>
                <c:pt idx="3">
                  <c:v>0.33529999999999999</c:v>
                </c:pt>
                <c:pt idx="4">
                  <c:v>0.1676</c:v>
                </c:pt>
                <c:pt idx="5">
                  <c:v>0.2515</c:v>
                </c:pt>
                <c:pt idx="6">
                  <c:v>0.1676</c:v>
                </c:pt>
                <c:pt idx="7">
                  <c:v>0.1033</c:v>
                </c:pt>
                <c:pt idx="8">
                  <c:v>8.3799999999999999E-2</c:v>
                </c:pt>
                <c:pt idx="9">
                  <c:v>0.27100000000000002</c:v>
                </c:pt>
                <c:pt idx="10">
                  <c:v>8.3799999999999999E-2</c:v>
                </c:pt>
                <c:pt idx="11">
                  <c:v>8.3799999999999999E-2</c:v>
                </c:pt>
                <c:pt idx="12">
                  <c:v>0</c:v>
                </c:pt>
                <c:pt idx="13">
                  <c:v>0.290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1780000000000002</c:v>
                </c:pt>
                <c:pt idx="1">
                  <c:v>0.54449999999999998</c:v>
                </c:pt>
                <c:pt idx="2">
                  <c:v>0.31680000000000003</c:v>
                </c:pt>
                <c:pt idx="3">
                  <c:v>0.3901</c:v>
                </c:pt>
                <c:pt idx="4">
                  <c:v>0.38219999999999998</c:v>
                </c:pt>
                <c:pt idx="5">
                  <c:v>7.3300000000000004E-2</c:v>
                </c:pt>
                <c:pt idx="6">
                  <c:v>0.22770000000000001</c:v>
                </c:pt>
                <c:pt idx="7">
                  <c:v>0.14660000000000001</c:v>
                </c:pt>
                <c:pt idx="8">
                  <c:v>7.3300000000000004E-2</c:v>
                </c:pt>
                <c:pt idx="9">
                  <c:v>0.38219999999999998</c:v>
                </c:pt>
                <c:pt idx="10">
                  <c:v>0.1545</c:v>
                </c:pt>
                <c:pt idx="11">
                  <c:v>7.3300000000000004E-2</c:v>
                </c:pt>
                <c:pt idx="12">
                  <c:v>7.3300000000000004E-2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78059999999999996</c:v>
                </c:pt>
                <c:pt idx="1">
                  <c:v>0.63829999999999998</c:v>
                </c:pt>
                <c:pt idx="2">
                  <c:v>0.53359999999999996</c:v>
                </c:pt>
                <c:pt idx="3">
                  <c:v>0.66600000000000004</c:v>
                </c:pt>
                <c:pt idx="4">
                  <c:v>0.30430000000000001</c:v>
                </c:pt>
                <c:pt idx="5">
                  <c:v>0.31419999999999998</c:v>
                </c:pt>
                <c:pt idx="6">
                  <c:v>0.26679999999999998</c:v>
                </c:pt>
                <c:pt idx="7">
                  <c:v>0.2767</c:v>
                </c:pt>
                <c:pt idx="8">
                  <c:v>0.33400000000000002</c:v>
                </c:pt>
                <c:pt idx="9">
                  <c:v>0.20949999999999999</c:v>
                </c:pt>
                <c:pt idx="10">
                  <c:v>0.21940000000000001</c:v>
                </c:pt>
                <c:pt idx="11">
                  <c:v>0.1047</c:v>
                </c:pt>
                <c:pt idx="12">
                  <c:v>0.14230000000000001</c:v>
                </c:pt>
                <c:pt idx="13">
                  <c:v>5.72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8869999999999998</c:v>
                </c:pt>
                <c:pt idx="1">
                  <c:v>0.50939999999999996</c:v>
                </c:pt>
                <c:pt idx="2">
                  <c:v>0.62580000000000002</c:v>
                </c:pt>
                <c:pt idx="3">
                  <c:v>0.434</c:v>
                </c:pt>
                <c:pt idx="4">
                  <c:v>0.6038</c:v>
                </c:pt>
                <c:pt idx="5">
                  <c:v>0.34910000000000002</c:v>
                </c:pt>
                <c:pt idx="6">
                  <c:v>0.33960000000000001</c:v>
                </c:pt>
                <c:pt idx="7">
                  <c:v>0.28620000000000001</c:v>
                </c:pt>
                <c:pt idx="8">
                  <c:v>0.2767</c:v>
                </c:pt>
                <c:pt idx="9">
                  <c:v>0.14779999999999999</c:v>
                </c:pt>
                <c:pt idx="10">
                  <c:v>0.16980000000000001</c:v>
                </c:pt>
                <c:pt idx="11">
                  <c:v>8.4900000000000003E-2</c:v>
                </c:pt>
                <c:pt idx="12">
                  <c:v>9.4299999999999995E-2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1"/>
              <c:layout>
                <c:manualLayout>
                  <c:x val="0.17911013949138213"/>
                  <c:y val="0.3499763008174249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2889999999999997</c:v>
                </c:pt>
                <c:pt idx="1">
                  <c:v>0.1333</c:v>
                </c:pt>
                <c:pt idx="2">
                  <c:v>3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1"/>
              <c:layout>
                <c:manualLayout>
                  <c:x val="0.23310071143711605"/>
                  <c:y val="0.4199715609809099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79320000000000002</c:v>
                </c:pt>
                <c:pt idx="1">
                  <c:v>0.1014</c:v>
                </c:pt>
                <c:pt idx="2">
                  <c:v>0.105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1"/>
              <c:layout>
                <c:manualLayout>
                  <c:x val="0.14380725956908266"/>
                  <c:y val="0.359975623697922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4119999999999995</c:v>
                </c:pt>
                <c:pt idx="1">
                  <c:v>0.1285</c:v>
                </c:pt>
                <c:pt idx="2">
                  <c:v>3.03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3400000000000003</c:v>
                </c:pt>
                <c:pt idx="1">
                  <c:v>0.1474</c:v>
                </c:pt>
                <c:pt idx="2">
                  <c:v>0.1797</c:v>
                </c:pt>
                <c:pt idx="3">
                  <c:v>7.9399999999999998E-2</c:v>
                </c:pt>
                <c:pt idx="4">
                  <c:v>4.9099999999999998E-2</c:v>
                </c:pt>
                <c:pt idx="5">
                  <c:v>1.04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1"/>
              <c:layout>
                <c:manualLayout>
                  <c:x val="0.11058342421829395"/>
                  <c:y val="0.304979347855184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72</c:v>
                </c:pt>
                <c:pt idx="1">
                  <c:v>0.128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A6D-4D38-85EC-C76DCA70BA9B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A6D-4D38-85EC-C76DCA70BA9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A6D-4D38-85EC-C76DCA70BA9B}"/>
              </c:ext>
            </c:extLst>
          </c:dPt>
          <c:dLbls>
            <c:dLbl>
              <c:idx val="1"/>
              <c:layout>
                <c:manualLayout>
                  <c:x val="0.15000269793436335"/>
                  <c:y val="0.3581426769525842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A6D-4D38-85EC-C76DCA70BA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196</c:v>
                </c:pt>
                <c:pt idx="1">
                  <c:v>0.1598</c:v>
                </c:pt>
                <c:pt idx="2">
                  <c:v>2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6D-4D38-85EC-C76DCA70B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9B-4806-A400-32476AB6894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9B-4806-A400-32476AB68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3962</c:v>
                </c:pt>
                <c:pt idx="1">
                  <c:v>0.34439999999999998</c:v>
                </c:pt>
                <c:pt idx="2">
                  <c:v>0.28970000000000001</c:v>
                </c:pt>
                <c:pt idx="3">
                  <c:v>0.1774</c:v>
                </c:pt>
                <c:pt idx="4">
                  <c:v>0.12959999999999999</c:v>
                </c:pt>
                <c:pt idx="5">
                  <c:v>0.124</c:v>
                </c:pt>
                <c:pt idx="6">
                  <c:v>0.1162</c:v>
                </c:pt>
                <c:pt idx="7">
                  <c:v>0.1145</c:v>
                </c:pt>
                <c:pt idx="8">
                  <c:v>0.1071</c:v>
                </c:pt>
                <c:pt idx="9">
                  <c:v>8.2699999999999996E-2</c:v>
                </c:pt>
                <c:pt idx="10">
                  <c:v>6.6299999999999998E-2</c:v>
                </c:pt>
                <c:pt idx="11">
                  <c:v>5.9299999999999999E-2</c:v>
                </c:pt>
                <c:pt idx="12">
                  <c:v>5.3199999999999997E-2</c:v>
                </c:pt>
                <c:pt idx="13">
                  <c:v>4.6899999999999997E-2</c:v>
                </c:pt>
                <c:pt idx="14">
                  <c:v>3.95E-2</c:v>
                </c:pt>
                <c:pt idx="15">
                  <c:v>3.95E-2</c:v>
                </c:pt>
                <c:pt idx="16">
                  <c:v>3.8600000000000002E-2</c:v>
                </c:pt>
                <c:pt idx="17">
                  <c:v>3.2300000000000002E-2</c:v>
                </c:pt>
                <c:pt idx="18">
                  <c:v>2.9600000000000001E-2</c:v>
                </c:pt>
                <c:pt idx="19">
                  <c:v>2.9000000000000001E-2</c:v>
                </c:pt>
                <c:pt idx="20">
                  <c:v>2.8199999999999999E-2</c:v>
                </c:pt>
                <c:pt idx="21">
                  <c:v>2.7900000000000001E-2</c:v>
                </c:pt>
                <c:pt idx="22">
                  <c:v>2.4199999999999999E-2</c:v>
                </c:pt>
                <c:pt idx="23">
                  <c:v>2.41E-2</c:v>
                </c:pt>
                <c:pt idx="24">
                  <c:v>2.3599999999999999E-2</c:v>
                </c:pt>
                <c:pt idx="25">
                  <c:v>2.0500000000000001E-2</c:v>
                </c:pt>
                <c:pt idx="26">
                  <c:v>2.0400000000000001E-2</c:v>
                </c:pt>
                <c:pt idx="27">
                  <c:v>1.9699999999999999E-2</c:v>
                </c:pt>
                <c:pt idx="28">
                  <c:v>1.95E-2</c:v>
                </c:pt>
                <c:pt idx="29">
                  <c:v>1.72E-2</c:v>
                </c:pt>
                <c:pt idx="30">
                  <c:v>0.1462</c:v>
                </c:pt>
                <c:pt idx="31">
                  <c:v>7.14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B-4806-A400-32476AB68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6-406B-BBE8-A10380AF8A0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6-406B-BBE8-A10380AF8A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17730000000000001</c:v>
                </c:pt>
                <c:pt idx="1">
                  <c:v>0.25779999999999997</c:v>
                </c:pt>
                <c:pt idx="2">
                  <c:v>0.34160000000000001</c:v>
                </c:pt>
                <c:pt idx="3">
                  <c:v>0.1963</c:v>
                </c:pt>
                <c:pt idx="4">
                  <c:v>0.11840000000000001</c:v>
                </c:pt>
                <c:pt idx="5">
                  <c:v>0.1938</c:v>
                </c:pt>
                <c:pt idx="6">
                  <c:v>7.85E-2</c:v>
                </c:pt>
                <c:pt idx="7">
                  <c:v>5.6899999999999999E-2</c:v>
                </c:pt>
                <c:pt idx="8">
                  <c:v>7.3899999999999993E-2</c:v>
                </c:pt>
                <c:pt idx="9">
                  <c:v>6.0900000000000003E-2</c:v>
                </c:pt>
                <c:pt idx="10">
                  <c:v>9.4899999999999998E-2</c:v>
                </c:pt>
                <c:pt idx="11">
                  <c:v>8.5000000000000006E-3</c:v>
                </c:pt>
                <c:pt idx="12">
                  <c:v>3.1399999999999997E-2</c:v>
                </c:pt>
                <c:pt idx="13">
                  <c:v>3.7999999999999999E-2</c:v>
                </c:pt>
                <c:pt idx="14">
                  <c:v>1.9E-2</c:v>
                </c:pt>
                <c:pt idx="15">
                  <c:v>1.9E-2</c:v>
                </c:pt>
                <c:pt idx="16">
                  <c:v>1.9E-2</c:v>
                </c:pt>
                <c:pt idx="17">
                  <c:v>1.9E-2</c:v>
                </c:pt>
                <c:pt idx="18">
                  <c:v>3.7999999999999999E-2</c:v>
                </c:pt>
                <c:pt idx="19">
                  <c:v>5.04E-2</c:v>
                </c:pt>
                <c:pt idx="20">
                  <c:v>8.5000000000000006E-3</c:v>
                </c:pt>
                <c:pt idx="21">
                  <c:v>1.7000000000000001E-2</c:v>
                </c:pt>
                <c:pt idx="22">
                  <c:v>0</c:v>
                </c:pt>
                <c:pt idx="23">
                  <c:v>0</c:v>
                </c:pt>
                <c:pt idx="24">
                  <c:v>1.9E-2</c:v>
                </c:pt>
                <c:pt idx="25">
                  <c:v>1.0500000000000001E-2</c:v>
                </c:pt>
                <c:pt idx="26">
                  <c:v>1.0500000000000001E-2</c:v>
                </c:pt>
                <c:pt idx="27">
                  <c:v>8.5000000000000006E-3</c:v>
                </c:pt>
                <c:pt idx="28">
                  <c:v>0</c:v>
                </c:pt>
                <c:pt idx="29">
                  <c:v>0</c:v>
                </c:pt>
                <c:pt idx="30">
                  <c:v>0.20230000000000001</c:v>
                </c:pt>
                <c:pt idx="31">
                  <c:v>0.177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B6-406B-BBE8-A10380AF8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31-49AE-A848-B2E25F3578B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31-49AE-A848-B2E25F3578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27689999999999998</c:v>
                </c:pt>
                <c:pt idx="1">
                  <c:v>0.32200000000000001</c:v>
                </c:pt>
                <c:pt idx="2">
                  <c:v>0.27889999999999998</c:v>
                </c:pt>
                <c:pt idx="3">
                  <c:v>0.2258</c:v>
                </c:pt>
                <c:pt idx="4">
                  <c:v>0.1067</c:v>
                </c:pt>
                <c:pt idx="5">
                  <c:v>0.1484</c:v>
                </c:pt>
                <c:pt idx="6">
                  <c:v>7.7399999999999997E-2</c:v>
                </c:pt>
                <c:pt idx="7">
                  <c:v>7.9399999999999998E-2</c:v>
                </c:pt>
                <c:pt idx="8">
                  <c:v>0.13589999999999999</c:v>
                </c:pt>
                <c:pt idx="9">
                  <c:v>8.0399999999999999E-2</c:v>
                </c:pt>
                <c:pt idx="10">
                  <c:v>7.8399999999999997E-2</c:v>
                </c:pt>
                <c:pt idx="11">
                  <c:v>9.9299999999999999E-2</c:v>
                </c:pt>
                <c:pt idx="12">
                  <c:v>5.11E-2</c:v>
                </c:pt>
                <c:pt idx="13">
                  <c:v>7.0999999999999994E-2</c:v>
                </c:pt>
                <c:pt idx="14">
                  <c:v>4.9099999999999998E-2</c:v>
                </c:pt>
                <c:pt idx="15">
                  <c:v>1.04E-2</c:v>
                </c:pt>
                <c:pt idx="16">
                  <c:v>4.9099999999999998E-2</c:v>
                </c:pt>
                <c:pt idx="17">
                  <c:v>4.9099999999999998E-2</c:v>
                </c:pt>
                <c:pt idx="18">
                  <c:v>2.93E-2</c:v>
                </c:pt>
                <c:pt idx="19">
                  <c:v>3.9699999999999999E-2</c:v>
                </c:pt>
                <c:pt idx="20">
                  <c:v>3.0300000000000001E-2</c:v>
                </c:pt>
                <c:pt idx="21">
                  <c:v>3.9699999999999999E-2</c:v>
                </c:pt>
                <c:pt idx="22">
                  <c:v>4.9099999999999998E-2</c:v>
                </c:pt>
                <c:pt idx="23">
                  <c:v>2.93E-2</c:v>
                </c:pt>
                <c:pt idx="24">
                  <c:v>2.0899999999999998E-2</c:v>
                </c:pt>
                <c:pt idx="25">
                  <c:v>3.9699999999999999E-2</c:v>
                </c:pt>
                <c:pt idx="26">
                  <c:v>1.9900000000000001E-2</c:v>
                </c:pt>
                <c:pt idx="27">
                  <c:v>1.04E-2</c:v>
                </c:pt>
                <c:pt idx="28">
                  <c:v>2.93E-2</c:v>
                </c:pt>
                <c:pt idx="29">
                  <c:v>1.9900000000000001E-2</c:v>
                </c:pt>
                <c:pt idx="30">
                  <c:v>0.21199999999999999</c:v>
                </c:pt>
                <c:pt idx="31">
                  <c:v>3.03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1-49AE-A848-B2E25F357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7F6-41C6-95F2-D245F4CAF8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7F6-41C6-95F2-D245F4CAF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498</c:v>
                </c:pt>
                <c:pt idx="1">
                  <c:v>0.40889999999999999</c:v>
                </c:pt>
                <c:pt idx="2">
                  <c:v>0.24099999999999999</c:v>
                </c:pt>
                <c:pt idx="3">
                  <c:v>0.1497</c:v>
                </c:pt>
                <c:pt idx="4">
                  <c:v>0.1072</c:v>
                </c:pt>
                <c:pt idx="5">
                  <c:v>0.1047</c:v>
                </c:pt>
                <c:pt idx="6">
                  <c:v>0.1497</c:v>
                </c:pt>
                <c:pt idx="7">
                  <c:v>0.1232</c:v>
                </c:pt>
                <c:pt idx="8">
                  <c:v>0.1072</c:v>
                </c:pt>
                <c:pt idx="9">
                  <c:v>8.5199999999999998E-2</c:v>
                </c:pt>
                <c:pt idx="10">
                  <c:v>4.4999999999999998E-2</c:v>
                </c:pt>
                <c:pt idx="11">
                  <c:v>0.1037</c:v>
                </c:pt>
                <c:pt idx="12">
                  <c:v>7.4399999999999994E-2</c:v>
                </c:pt>
                <c:pt idx="13">
                  <c:v>5.3600000000000002E-2</c:v>
                </c:pt>
                <c:pt idx="14">
                  <c:v>3.7699999999999997E-2</c:v>
                </c:pt>
                <c:pt idx="15">
                  <c:v>3.2899999999999999E-2</c:v>
                </c:pt>
                <c:pt idx="16">
                  <c:v>6.3500000000000001E-2</c:v>
                </c:pt>
                <c:pt idx="17">
                  <c:v>5.8400000000000001E-2</c:v>
                </c:pt>
                <c:pt idx="18">
                  <c:v>4.02E-2</c:v>
                </c:pt>
                <c:pt idx="19">
                  <c:v>1.21E-2</c:v>
                </c:pt>
                <c:pt idx="20">
                  <c:v>2.5499999999999998E-2</c:v>
                </c:pt>
                <c:pt idx="21">
                  <c:v>3.4099999999999998E-2</c:v>
                </c:pt>
                <c:pt idx="22">
                  <c:v>2.6800000000000001E-2</c:v>
                </c:pt>
                <c:pt idx="23">
                  <c:v>2.5499999999999998E-2</c:v>
                </c:pt>
                <c:pt idx="24">
                  <c:v>2.07E-2</c:v>
                </c:pt>
                <c:pt idx="25">
                  <c:v>1.95E-2</c:v>
                </c:pt>
                <c:pt idx="26">
                  <c:v>1.95E-2</c:v>
                </c:pt>
                <c:pt idx="27">
                  <c:v>2.07E-2</c:v>
                </c:pt>
                <c:pt idx="28">
                  <c:v>2.5499999999999998E-2</c:v>
                </c:pt>
                <c:pt idx="29">
                  <c:v>1.34E-2</c:v>
                </c:pt>
                <c:pt idx="30">
                  <c:v>7.0800000000000002E-2</c:v>
                </c:pt>
                <c:pt idx="31">
                  <c:v>4.75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F6-41C6-95F2-D245F4CAF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D16-4524-B099-77E09153C86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D16-4524-B099-77E09153C8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53010000000000002</c:v>
                </c:pt>
                <c:pt idx="1">
                  <c:v>0.37080000000000002</c:v>
                </c:pt>
                <c:pt idx="2">
                  <c:v>0.29099999999999998</c:v>
                </c:pt>
                <c:pt idx="3">
                  <c:v>0.1603</c:v>
                </c:pt>
                <c:pt idx="4">
                  <c:v>0.1613</c:v>
                </c:pt>
                <c:pt idx="5">
                  <c:v>7.9399999999999998E-2</c:v>
                </c:pt>
                <c:pt idx="6">
                  <c:v>0.13769999999999999</c:v>
                </c:pt>
                <c:pt idx="7">
                  <c:v>0.1628</c:v>
                </c:pt>
                <c:pt idx="8">
                  <c:v>0.11559999999999999</c:v>
                </c:pt>
                <c:pt idx="9">
                  <c:v>9.6500000000000002E-2</c:v>
                </c:pt>
                <c:pt idx="10">
                  <c:v>5.5300000000000002E-2</c:v>
                </c:pt>
                <c:pt idx="11">
                  <c:v>4.6699999999999998E-2</c:v>
                </c:pt>
                <c:pt idx="12">
                  <c:v>5.5300000000000002E-2</c:v>
                </c:pt>
                <c:pt idx="13">
                  <c:v>3.7699999999999997E-2</c:v>
                </c:pt>
                <c:pt idx="14">
                  <c:v>4.9700000000000001E-2</c:v>
                </c:pt>
                <c:pt idx="15">
                  <c:v>7.0400000000000004E-2</c:v>
                </c:pt>
                <c:pt idx="16">
                  <c:v>3.1199999999999999E-2</c:v>
                </c:pt>
                <c:pt idx="17">
                  <c:v>1.7100000000000001E-2</c:v>
                </c:pt>
                <c:pt idx="18">
                  <c:v>1.7600000000000001E-2</c:v>
                </c:pt>
                <c:pt idx="19">
                  <c:v>2.06E-2</c:v>
                </c:pt>
                <c:pt idx="20">
                  <c:v>4.1700000000000001E-2</c:v>
                </c:pt>
                <c:pt idx="21">
                  <c:v>2.5600000000000001E-2</c:v>
                </c:pt>
                <c:pt idx="22">
                  <c:v>2.7099999999999999E-2</c:v>
                </c:pt>
                <c:pt idx="23">
                  <c:v>3.6700000000000003E-2</c:v>
                </c:pt>
                <c:pt idx="24">
                  <c:v>2.9600000000000001E-2</c:v>
                </c:pt>
                <c:pt idx="25">
                  <c:v>1.9099999999999999E-2</c:v>
                </c:pt>
                <c:pt idx="26">
                  <c:v>2.76E-2</c:v>
                </c:pt>
                <c:pt idx="27">
                  <c:v>3.0700000000000002E-2</c:v>
                </c:pt>
                <c:pt idx="28">
                  <c:v>2.41E-2</c:v>
                </c:pt>
                <c:pt idx="29">
                  <c:v>2.9600000000000001E-2</c:v>
                </c:pt>
                <c:pt idx="30">
                  <c:v>0.12659999999999999</c:v>
                </c:pt>
                <c:pt idx="31">
                  <c:v>3.57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16-4524-B099-77E09153C8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3.2000000000000001E-2</c:v>
                </c:pt>
                <c:pt idx="1">
                  <c:v>9.6299999999999997E-2</c:v>
                </c:pt>
                <c:pt idx="2">
                  <c:v>0.21490000000000001</c:v>
                </c:pt>
                <c:pt idx="3">
                  <c:v>0.33900000000000002</c:v>
                </c:pt>
                <c:pt idx="4">
                  <c:v>0.23580000000000001</c:v>
                </c:pt>
                <c:pt idx="5">
                  <c:v>8.21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5.5E-2</c:v>
                </c:pt>
                <c:pt idx="1">
                  <c:v>0.1414</c:v>
                </c:pt>
                <c:pt idx="2">
                  <c:v>0.30819999999999997</c:v>
                </c:pt>
                <c:pt idx="3">
                  <c:v>0.1938</c:v>
                </c:pt>
                <c:pt idx="4">
                  <c:v>8.6400000000000005E-2</c:v>
                </c:pt>
                <c:pt idx="5">
                  <c:v>0.215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1.9900000000000001E-2</c:v>
                </c:pt>
                <c:pt idx="1">
                  <c:v>9.9299999999999999E-2</c:v>
                </c:pt>
                <c:pt idx="2">
                  <c:v>0.255</c:v>
                </c:pt>
                <c:pt idx="3">
                  <c:v>0.36270000000000002</c:v>
                </c:pt>
                <c:pt idx="4">
                  <c:v>0.1211</c:v>
                </c:pt>
                <c:pt idx="5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3620000000000001</c:v>
                </c:pt>
                <c:pt idx="1">
                  <c:v>0.24840000000000001</c:v>
                </c:pt>
                <c:pt idx="2">
                  <c:v>0.13150000000000001</c:v>
                </c:pt>
                <c:pt idx="3">
                  <c:v>4.6300000000000001E-2</c:v>
                </c:pt>
                <c:pt idx="4">
                  <c:v>1.21E-2</c:v>
                </c:pt>
                <c:pt idx="5">
                  <c:v>2.5499999999999998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2.93E-2</c:v>
                </c:pt>
                <c:pt idx="1">
                  <c:v>8.0399999999999999E-2</c:v>
                </c:pt>
                <c:pt idx="2">
                  <c:v>0.23139999999999999</c:v>
                </c:pt>
                <c:pt idx="3">
                  <c:v>0.38969999999999999</c:v>
                </c:pt>
                <c:pt idx="4">
                  <c:v>0.25569999999999998</c:v>
                </c:pt>
                <c:pt idx="5">
                  <c:v>1.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2.41E-2</c:v>
                </c:pt>
                <c:pt idx="1">
                  <c:v>7.5399999999999995E-2</c:v>
                </c:pt>
                <c:pt idx="2">
                  <c:v>0.12509999999999999</c:v>
                </c:pt>
                <c:pt idx="3">
                  <c:v>0.39150000000000001</c:v>
                </c:pt>
                <c:pt idx="4">
                  <c:v>0.37340000000000001</c:v>
                </c:pt>
                <c:pt idx="5">
                  <c:v>1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Заробити багато грошей</c:v>
                </c:pt>
                <c:pt idx="1">
                  <c:v>Мати більше можливостей для дозвілля</c:v>
                </c:pt>
                <c:pt idx="2">
                  <c:v>Зробити кар’єру у великих компаніях</c:v>
                </c:pt>
                <c:pt idx="3">
                  <c:v>Мати більш комфортне життя</c:v>
                </c:pt>
                <c:pt idx="4">
                  <c:v>Знайти кращу роботу</c:v>
                </c:pt>
                <c:pt idx="5">
                  <c:v>Жити у великому місті</c:v>
                </c:pt>
                <c:pt idx="6">
                  <c:v>Розвивати власний бізнес</c:v>
                </c:pt>
                <c:pt idx="7">
                  <c:v>У іншому місті живуть близькі Вам люди</c:v>
                </c:pt>
                <c:pt idx="8">
                  <c:v>Отримати якісну освіту</c:v>
                </c:pt>
                <c:pt idx="9">
                  <c:v>Зробити кар’єру у державному управлінні</c:v>
                </c:pt>
                <c:pt idx="10">
                  <c:v>Інше</c:v>
                </c:pt>
                <c:pt idx="11">
                  <c:v>Важко сказати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33860000000000001</c:v>
                </c:pt>
                <c:pt idx="1">
                  <c:v>0.32929999999999998</c:v>
                </c:pt>
                <c:pt idx="2">
                  <c:v>0.32150000000000001</c:v>
                </c:pt>
                <c:pt idx="3">
                  <c:v>0.29859999999999998</c:v>
                </c:pt>
                <c:pt idx="4">
                  <c:v>0.29370000000000002</c:v>
                </c:pt>
                <c:pt idx="5">
                  <c:v>0.2823</c:v>
                </c:pt>
                <c:pt idx="6">
                  <c:v>0.24079999999999999</c:v>
                </c:pt>
                <c:pt idx="7">
                  <c:v>0.23780000000000001</c:v>
                </c:pt>
                <c:pt idx="8">
                  <c:v>0.1535</c:v>
                </c:pt>
                <c:pt idx="9">
                  <c:v>0.1242</c:v>
                </c:pt>
                <c:pt idx="10">
                  <c:v>7.1099999999999997E-2</c:v>
                </c:pt>
                <c:pt idx="11">
                  <c:v>2.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Заробити багато грошей</c:v>
                </c:pt>
                <c:pt idx="1">
                  <c:v>Мати більше можливостей для дозвілля</c:v>
                </c:pt>
                <c:pt idx="2">
                  <c:v>Зробити кар’єру у великих компаніях</c:v>
                </c:pt>
                <c:pt idx="3">
                  <c:v>Мати більш комфортне життя</c:v>
                </c:pt>
                <c:pt idx="4">
                  <c:v>Знайти кращу роботу</c:v>
                </c:pt>
                <c:pt idx="5">
                  <c:v>Жити у великому місті</c:v>
                </c:pt>
                <c:pt idx="6">
                  <c:v>Розвивати власний бізнес</c:v>
                </c:pt>
                <c:pt idx="7">
                  <c:v>У іншому місті живуть близькі Вам люди</c:v>
                </c:pt>
                <c:pt idx="8">
                  <c:v>Отримати якісну освіту</c:v>
                </c:pt>
                <c:pt idx="9">
                  <c:v>Зробити кар’єру у державному управлінні</c:v>
                </c:pt>
                <c:pt idx="10">
                  <c:v>Інше</c:v>
                </c:pt>
                <c:pt idx="11">
                  <c:v>Важко сказати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40200000000000002</c:v>
                </c:pt>
                <c:pt idx="1">
                  <c:v>0.36830000000000002</c:v>
                </c:pt>
                <c:pt idx="2">
                  <c:v>0.3256</c:v>
                </c:pt>
                <c:pt idx="3">
                  <c:v>0.29699999999999999</c:v>
                </c:pt>
                <c:pt idx="4">
                  <c:v>0.33460000000000001</c:v>
                </c:pt>
                <c:pt idx="5">
                  <c:v>0.2089</c:v>
                </c:pt>
                <c:pt idx="6">
                  <c:v>0.2049</c:v>
                </c:pt>
                <c:pt idx="7">
                  <c:v>0.1842</c:v>
                </c:pt>
                <c:pt idx="8">
                  <c:v>0.2437</c:v>
                </c:pt>
                <c:pt idx="9">
                  <c:v>0.12970000000000001</c:v>
                </c:pt>
                <c:pt idx="10">
                  <c:v>1.6799999999999999E-2</c:v>
                </c:pt>
                <c:pt idx="11">
                  <c:v>5.4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Заробити багато грошей</c:v>
                </c:pt>
                <c:pt idx="1">
                  <c:v>Мати більше можливостей для дозвілля</c:v>
                </c:pt>
                <c:pt idx="2">
                  <c:v>Зробити кар’єру у великих компаніях</c:v>
                </c:pt>
                <c:pt idx="3">
                  <c:v>Мати більш комфортне життя</c:v>
                </c:pt>
                <c:pt idx="4">
                  <c:v>Знайти кращу роботу</c:v>
                </c:pt>
                <c:pt idx="5">
                  <c:v>Жити у великому місті</c:v>
                </c:pt>
                <c:pt idx="6">
                  <c:v>Розвивати власний бізнес</c:v>
                </c:pt>
                <c:pt idx="7">
                  <c:v>У іншому місті живуть близькі Вам люди</c:v>
                </c:pt>
                <c:pt idx="8">
                  <c:v>Отримати якісну освіту</c:v>
                </c:pt>
                <c:pt idx="9">
                  <c:v>Зробити кар’єру у державному управлінні</c:v>
                </c:pt>
                <c:pt idx="10">
                  <c:v>Інше</c:v>
                </c:pt>
                <c:pt idx="11">
                  <c:v>Важко сказати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32100000000000001</c:v>
                </c:pt>
                <c:pt idx="1">
                  <c:v>0.28510000000000002</c:v>
                </c:pt>
                <c:pt idx="2">
                  <c:v>0.28510000000000002</c:v>
                </c:pt>
                <c:pt idx="3">
                  <c:v>0.1313</c:v>
                </c:pt>
                <c:pt idx="4">
                  <c:v>0.15379999999999999</c:v>
                </c:pt>
                <c:pt idx="5">
                  <c:v>0.39389999999999997</c:v>
                </c:pt>
                <c:pt idx="6">
                  <c:v>0.20680000000000001</c:v>
                </c:pt>
                <c:pt idx="7">
                  <c:v>0.36599999999999999</c:v>
                </c:pt>
                <c:pt idx="8">
                  <c:v>0.1061</c:v>
                </c:pt>
                <c:pt idx="9">
                  <c:v>0.12590000000000001</c:v>
                </c:pt>
                <c:pt idx="10">
                  <c:v>8.09E-2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Заробити багато грошей</c:v>
                </c:pt>
                <c:pt idx="1">
                  <c:v>Мати більше можливостей для дозвілля</c:v>
                </c:pt>
                <c:pt idx="2">
                  <c:v>Зробити кар’єру у великих компаніях</c:v>
                </c:pt>
                <c:pt idx="3">
                  <c:v>Мати більш комфортне життя</c:v>
                </c:pt>
                <c:pt idx="4">
                  <c:v>Знайти кращу роботу</c:v>
                </c:pt>
                <c:pt idx="5">
                  <c:v>Жити у великому місті</c:v>
                </c:pt>
                <c:pt idx="6">
                  <c:v>Розвивати власний бізнес</c:v>
                </c:pt>
                <c:pt idx="7">
                  <c:v>У іншому місті живуть близькі Вам люди</c:v>
                </c:pt>
                <c:pt idx="8">
                  <c:v>Отримати якісну освіту</c:v>
                </c:pt>
                <c:pt idx="9">
                  <c:v>Зробити кар’єру у державному управлінні</c:v>
                </c:pt>
                <c:pt idx="10">
                  <c:v>Інше</c:v>
                </c:pt>
                <c:pt idx="11">
                  <c:v>Важко сказати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31430000000000002</c:v>
                </c:pt>
                <c:pt idx="1">
                  <c:v>0.36099999999999999</c:v>
                </c:pt>
                <c:pt idx="2">
                  <c:v>0.37880000000000003</c:v>
                </c:pt>
                <c:pt idx="3">
                  <c:v>0.34620000000000001</c:v>
                </c:pt>
                <c:pt idx="4">
                  <c:v>0.32840000000000003</c:v>
                </c:pt>
                <c:pt idx="5">
                  <c:v>0.34989999999999999</c:v>
                </c:pt>
                <c:pt idx="6">
                  <c:v>0.2142</c:v>
                </c:pt>
                <c:pt idx="7">
                  <c:v>0.15340000000000001</c:v>
                </c:pt>
                <c:pt idx="8">
                  <c:v>0.10009999999999999</c:v>
                </c:pt>
                <c:pt idx="9">
                  <c:v>0.1179</c:v>
                </c:pt>
                <c:pt idx="10">
                  <c:v>7.8600000000000003E-2</c:v>
                </c:pt>
                <c:pt idx="11">
                  <c:v>1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Заробити багато грошей</c:v>
                </c:pt>
                <c:pt idx="1">
                  <c:v>Мати більше можливостей для дозвілля</c:v>
                </c:pt>
                <c:pt idx="2">
                  <c:v>Зробити кар’єру у великих компаніях</c:v>
                </c:pt>
                <c:pt idx="3">
                  <c:v>Мати більш комфортне життя</c:v>
                </c:pt>
                <c:pt idx="4">
                  <c:v>Знайти кращу роботу</c:v>
                </c:pt>
                <c:pt idx="5">
                  <c:v>Жити у великому місті</c:v>
                </c:pt>
                <c:pt idx="6">
                  <c:v>Розвивати власний бізнес</c:v>
                </c:pt>
                <c:pt idx="7">
                  <c:v>У іншому місті живуть близькі Вам люди</c:v>
                </c:pt>
                <c:pt idx="8">
                  <c:v>Отримати якісну освіту</c:v>
                </c:pt>
                <c:pt idx="9">
                  <c:v>Зробити кар’єру у державному управлінні</c:v>
                </c:pt>
                <c:pt idx="10">
                  <c:v>Інше</c:v>
                </c:pt>
                <c:pt idx="11">
                  <c:v>Важко сказати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28189999999999998</c:v>
                </c:pt>
                <c:pt idx="1">
                  <c:v>0.2752</c:v>
                </c:pt>
                <c:pt idx="2">
                  <c:v>0.28860000000000002</c:v>
                </c:pt>
                <c:pt idx="3">
                  <c:v>0.38250000000000001</c:v>
                </c:pt>
                <c:pt idx="4">
                  <c:v>0.30649999999999999</c:v>
                </c:pt>
                <c:pt idx="5">
                  <c:v>0.24160000000000001</c:v>
                </c:pt>
                <c:pt idx="6">
                  <c:v>0.34449999999999997</c:v>
                </c:pt>
                <c:pt idx="7">
                  <c:v>0.29980000000000001</c:v>
                </c:pt>
                <c:pt idx="8">
                  <c:v>0.1074</c:v>
                </c:pt>
                <c:pt idx="9">
                  <c:v>0.1208</c:v>
                </c:pt>
                <c:pt idx="10">
                  <c:v>0.13650000000000001</c:v>
                </c:pt>
                <c:pt idx="11">
                  <c:v>2.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0"/>
              <c:layout>
                <c:manualLayout>
                  <c:x val="-0.21980234769342974"/>
                  <c:y val="0.213335159981292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4320000000000001</c:v>
                </c:pt>
                <c:pt idx="1">
                  <c:v>0.57479999999999998</c:v>
                </c:pt>
                <c:pt idx="2">
                  <c:v>8.21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50449999999999995</c:v>
                </c:pt>
                <c:pt idx="1">
                  <c:v>0.28010000000000002</c:v>
                </c:pt>
                <c:pt idx="2">
                  <c:v>0.215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0"/>
              <c:layout>
                <c:manualLayout>
                  <c:x val="-0.21437541184376843"/>
                  <c:y val="0.1704766448886138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7419999999999998</c:v>
                </c:pt>
                <c:pt idx="1">
                  <c:v>0.48380000000000001</c:v>
                </c:pt>
                <c:pt idx="2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43919999999999998</c:v>
                </c:pt>
                <c:pt idx="1">
                  <c:v>0.23319999999999999</c:v>
                </c:pt>
                <c:pt idx="2">
                  <c:v>9.9000000000000005E-2</c:v>
                </c:pt>
                <c:pt idx="3">
                  <c:v>9.5500000000000002E-2</c:v>
                </c:pt>
                <c:pt idx="4">
                  <c:v>6.08E-2</c:v>
                </c:pt>
                <c:pt idx="5">
                  <c:v>6.3799999999999996E-2</c:v>
                </c:pt>
                <c:pt idx="6">
                  <c:v>8.500000000000000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0"/>
              <c:layout>
                <c:manualLayout>
                  <c:x val="-0.20980036920822984"/>
                  <c:y val="0.216076706616717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412</c:v>
                </c:pt>
                <c:pt idx="1">
                  <c:v>0.64539999999999997</c:v>
                </c:pt>
                <c:pt idx="2">
                  <c:v>1.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A6D-4D38-85EC-C76DCA70BA9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A6D-4D38-85EC-C76DCA70BA9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A6D-4D38-85EC-C76DCA70BA9B}"/>
              </c:ext>
            </c:extLst>
          </c:dPt>
          <c:dLbls>
            <c:dLbl>
              <c:idx val="0"/>
              <c:layout>
                <c:manualLayout>
                  <c:x val="-0.15960162137679679"/>
                  <c:y val="8.963644981520936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6D-4D38-85EC-C76DCA70BA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22459999999999999</c:v>
                </c:pt>
                <c:pt idx="1">
                  <c:v>0.76480000000000004</c:v>
                </c:pt>
                <c:pt idx="2">
                  <c:v>1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6D-4D38-85EC-C76DCA70B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Київ</c:v>
                </c:pt>
                <c:pt idx="1">
                  <c:v>Львів</c:v>
                </c:pt>
                <c:pt idx="2">
                  <c:v>Одеса</c:v>
                </c:pt>
                <c:pt idx="3">
                  <c:v>Харків</c:v>
                </c:pt>
                <c:pt idx="4">
                  <c:v>Івано-Франківськ</c:v>
                </c:pt>
                <c:pt idx="5">
                  <c:v>Інше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45540000000000003</c:v>
                </c:pt>
                <c:pt idx="1">
                  <c:v>0.16900000000000001</c:v>
                </c:pt>
                <c:pt idx="2">
                  <c:v>0.1186</c:v>
                </c:pt>
                <c:pt idx="3">
                  <c:v>6.0699999999999997E-2</c:v>
                </c:pt>
                <c:pt idx="4">
                  <c:v>2.8000000000000001E-2</c:v>
                </c:pt>
                <c:pt idx="5">
                  <c:v>0.1147</c:v>
                </c:pt>
                <c:pt idx="6">
                  <c:v>0.180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Київ</c:v>
                </c:pt>
                <c:pt idx="1">
                  <c:v>Львів</c:v>
                </c:pt>
                <c:pt idx="2">
                  <c:v>Одеса</c:v>
                </c:pt>
                <c:pt idx="3">
                  <c:v>Харків</c:v>
                </c:pt>
                <c:pt idx="4">
                  <c:v>Івано-Франківськ</c:v>
                </c:pt>
                <c:pt idx="5">
                  <c:v>Інше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3959999999999997</c:v>
                </c:pt>
                <c:pt idx="1">
                  <c:v>7.5200000000000003E-2</c:v>
                </c:pt>
                <c:pt idx="2">
                  <c:v>6.7400000000000002E-2</c:v>
                </c:pt>
                <c:pt idx="3">
                  <c:v>5.8400000000000001E-2</c:v>
                </c:pt>
                <c:pt idx="4">
                  <c:v>0</c:v>
                </c:pt>
                <c:pt idx="5">
                  <c:v>7.1300000000000002E-2</c:v>
                </c:pt>
                <c:pt idx="6">
                  <c:v>0.242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Київ</c:v>
                </c:pt>
                <c:pt idx="1">
                  <c:v>Львів</c:v>
                </c:pt>
                <c:pt idx="2">
                  <c:v>Одеса</c:v>
                </c:pt>
                <c:pt idx="3">
                  <c:v>Харків</c:v>
                </c:pt>
                <c:pt idx="4">
                  <c:v>Івано-Франківськ</c:v>
                </c:pt>
                <c:pt idx="5">
                  <c:v>Інше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44419999999999998</c:v>
                </c:pt>
                <c:pt idx="1">
                  <c:v>0.20949999999999999</c:v>
                </c:pt>
                <c:pt idx="2">
                  <c:v>0.10879999999999999</c:v>
                </c:pt>
                <c:pt idx="3">
                  <c:v>0</c:v>
                </c:pt>
                <c:pt idx="4">
                  <c:v>5.04E-2</c:v>
                </c:pt>
                <c:pt idx="5">
                  <c:v>0.15920000000000001</c:v>
                </c:pt>
                <c:pt idx="6">
                  <c:v>0.184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Київ</c:v>
                </c:pt>
                <c:pt idx="1">
                  <c:v>Львів</c:v>
                </c:pt>
                <c:pt idx="2">
                  <c:v>Одеса</c:v>
                </c:pt>
                <c:pt idx="3">
                  <c:v>Харків</c:v>
                </c:pt>
                <c:pt idx="4">
                  <c:v>Івано-Франківськ</c:v>
                </c:pt>
                <c:pt idx="5">
                  <c:v>Інше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46479999999999999</c:v>
                </c:pt>
                <c:pt idx="1">
                  <c:v>0.28539999999999999</c:v>
                </c:pt>
                <c:pt idx="2">
                  <c:v>0.2031</c:v>
                </c:pt>
                <c:pt idx="3">
                  <c:v>0</c:v>
                </c:pt>
                <c:pt idx="4">
                  <c:v>4.2999999999999997E-2</c:v>
                </c:pt>
                <c:pt idx="5">
                  <c:v>0.10009999999999999</c:v>
                </c:pt>
                <c:pt idx="6">
                  <c:v>8.5999999999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Київ</c:v>
                </c:pt>
                <c:pt idx="1">
                  <c:v>Львів</c:v>
                </c:pt>
                <c:pt idx="2">
                  <c:v>Одеса</c:v>
                </c:pt>
                <c:pt idx="3">
                  <c:v>Харків</c:v>
                </c:pt>
                <c:pt idx="4">
                  <c:v>Івано-Франківськ</c:v>
                </c:pt>
                <c:pt idx="5">
                  <c:v>Інше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33110000000000001</c:v>
                </c:pt>
                <c:pt idx="1">
                  <c:v>0.1656</c:v>
                </c:pt>
                <c:pt idx="2">
                  <c:v>0.1208</c:v>
                </c:pt>
                <c:pt idx="3">
                  <c:v>0.1678</c:v>
                </c:pt>
                <c:pt idx="4">
                  <c:v>3.7999999999999999E-2</c:v>
                </c:pt>
                <c:pt idx="5">
                  <c:v>0.1588</c:v>
                </c:pt>
                <c:pt idx="6">
                  <c:v>0.1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0"/>
              <c:layout>
                <c:manualLayout>
                  <c:x val="-0.18457157979828018"/>
                  <c:y val="0.2133357373592509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4320000000000001</c:v>
                </c:pt>
                <c:pt idx="1">
                  <c:v>0.57479999999999998</c:v>
                </c:pt>
                <c:pt idx="2">
                  <c:v>8.21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50449999999999995</c:v>
                </c:pt>
                <c:pt idx="1">
                  <c:v>0.28010000000000002</c:v>
                </c:pt>
                <c:pt idx="2">
                  <c:v>0.215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0"/>
              <c:layout>
                <c:manualLayout>
                  <c:x val="-0.19323668817316458"/>
                  <c:y val="0.187955830152816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7419999999999998</c:v>
                </c:pt>
                <c:pt idx="1">
                  <c:v>0.48380000000000001</c:v>
                </c:pt>
                <c:pt idx="2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C6-4E01-960B-2251BC9C215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C6-4E01-960B-2251BC9C215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7610000000000001</c:v>
                </c:pt>
                <c:pt idx="1">
                  <c:v>0.31990000000000002</c:v>
                </c:pt>
                <c:pt idx="2">
                  <c:v>0.18679999999999999</c:v>
                </c:pt>
                <c:pt idx="3">
                  <c:v>0.317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C6-4E01-960B-2251BC9C21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0"/>
              <c:layout>
                <c:manualLayout>
                  <c:x val="-0.17456936608446177"/>
                  <c:y val="0.2160760516351734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412</c:v>
                </c:pt>
                <c:pt idx="1">
                  <c:v>0.64539999999999997</c:v>
                </c:pt>
                <c:pt idx="2">
                  <c:v>1.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A6D-4D38-85EC-C76DCA70BA9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A6D-4D38-85EC-C76DCA70BA9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A6D-4D38-85EC-C76DCA70BA9B}"/>
              </c:ext>
            </c:extLst>
          </c:dPt>
          <c:dLbls>
            <c:dLbl>
              <c:idx val="0"/>
              <c:layout>
                <c:manualLayout>
                  <c:x val="-0.13846308340929683"/>
                  <c:y val="0.124595524933281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6D-4D38-85EC-C76DCA70BA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22459999999999999</c:v>
                </c:pt>
                <c:pt idx="1">
                  <c:v>0.76480000000000004</c:v>
                </c:pt>
                <c:pt idx="2">
                  <c:v>1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6D-4D38-85EC-C76DCA70B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3.32E-2</c:v>
                </c:pt>
                <c:pt idx="1">
                  <c:v>9.1700000000000004E-2</c:v>
                </c:pt>
                <c:pt idx="2">
                  <c:v>0.20660000000000001</c:v>
                </c:pt>
                <c:pt idx="3">
                  <c:v>0.34720000000000001</c:v>
                </c:pt>
                <c:pt idx="4">
                  <c:v>0.23319999999999999</c:v>
                </c:pt>
                <c:pt idx="5">
                  <c:v>8.79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5.5E-2</c:v>
                </c:pt>
                <c:pt idx="1">
                  <c:v>8.0500000000000002E-2</c:v>
                </c:pt>
                <c:pt idx="2">
                  <c:v>0.30109999999999998</c:v>
                </c:pt>
                <c:pt idx="3">
                  <c:v>0.21990000000000001</c:v>
                </c:pt>
                <c:pt idx="4">
                  <c:v>0.1139</c:v>
                </c:pt>
                <c:pt idx="5">
                  <c:v>0.229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5.2200000000000003E-2</c:v>
                </c:pt>
                <c:pt idx="1">
                  <c:v>4.8099999999999997E-2</c:v>
                </c:pt>
                <c:pt idx="2">
                  <c:v>0.2059</c:v>
                </c:pt>
                <c:pt idx="3">
                  <c:v>0.33450000000000002</c:v>
                </c:pt>
                <c:pt idx="4">
                  <c:v>0.17660000000000001</c:v>
                </c:pt>
                <c:pt idx="5">
                  <c:v>0.1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2.81E-2</c:v>
                </c:pt>
                <c:pt idx="1">
                  <c:v>0.1244</c:v>
                </c:pt>
                <c:pt idx="2">
                  <c:v>0.2145</c:v>
                </c:pt>
                <c:pt idx="3">
                  <c:v>0.37730000000000002</c:v>
                </c:pt>
                <c:pt idx="4">
                  <c:v>0.25569999999999998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Однозначно так</c:v>
                </c:pt>
                <c:pt idx="1">
                  <c:v>Скоріше так</c:v>
                </c:pt>
                <c:pt idx="2">
                  <c:v>І так, і ні</c:v>
                </c:pt>
                <c:pt idx="3">
                  <c:v>Скоріше ні</c:v>
                </c:pt>
                <c:pt idx="4">
                  <c:v>Однозначно ні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1.3599999999999999E-2</c:v>
                </c:pt>
                <c:pt idx="1">
                  <c:v>9.8500000000000004E-2</c:v>
                </c:pt>
                <c:pt idx="2">
                  <c:v>0.14019999999999999</c:v>
                </c:pt>
                <c:pt idx="3">
                  <c:v>0.41760000000000003</c:v>
                </c:pt>
                <c:pt idx="4">
                  <c:v>0.3231</c:v>
                </c:pt>
                <c:pt idx="5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Бути у безпеці, подалі від війни</c:v>
                </c:pt>
                <c:pt idx="1">
                  <c:v>Жити у приємному середовищі</c:v>
                </c:pt>
                <c:pt idx="2">
                  <c:v>Мати кращий соціальний захист</c:v>
                </c:pt>
                <c:pt idx="3">
                  <c:v>Заробити багато грошей</c:v>
                </c:pt>
                <c:pt idx="4">
                  <c:v>Мати більше можливостей для дозвілля</c:v>
                </c:pt>
                <c:pt idx="5">
                  <c:v>Зробити кар’єру у бажаній сфері</c:v>
                </c:pt>
                <c:pt idx="6">
                  <c:v>Знайти кращу роботу</c:v>
                </c:pt>
                <c:pt idx="7">
                  <c:v>За кордоном живуть близькі Вам люди</c:v>
                </c:pt>
                <c:pt idx="8">
                  <c:v>Розвивати власний бізнес</c:v>
                </c:pt>
                <c:pt idx="9">
                  <c:v>Отримати якісну освіту</c:v>
                </c:pt>
                <c:pt idx="10">
                  <c:v>Мати доступ до якісної медицини</c:v>
                </c:pt>
                <c:pt idx="11">
                  <c:v>Інше</c:v>
                </c:pt>
                <c:pt idx="12">
                  <c:v>Важко сказати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58540000000000003</c:v>
                </c:pt>
                <c:pt idx="1">
                  <c:v>0.38200000000000001</c:v>
                </c:pt>
                <c:pt idx="2">
                  <c:v>0.36659999999999998</c:v>
                </c:pt>
                <c:pt idx="3">
                  <c:v>0.33810000000000001</c:v>
                </c:pt>
                <c:pt idx="4">
                  <c:v>0.31259999999999999</c:v>
                </c:pt>
                <c:pt idx="5">
                  <c:v>0.29299999999999998</c:v>
                </c:pt>
                <c:pt idx="6">
                  <c:v>0.27750000000000002</c:v>
                </c:pt>
                <c:pt idx="7">
                  <c:v>0.27710000000000001</c:v>
                </c:pt>
                <c:pt idx="8">
                  <c:v>0.20519999999999999</c:v>
                </c:pt>
                <c:pt idx="9">
                  <c:v>0.20499999999999999</c:v>
                </c:pt>
                <c:pt idx="10">
                  <c:v>0.18310000000000001</c:v>
                </c:pt>
                <c:pt idx="11">
                  <c:v>2.86E-2</c:v>
                </c:pt>
                <c:pt idx="12">
                  <c:v>5.1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Бути у безпеці, подалі від війни</c:v>
                </c:pt>
                <c:pt idx="1">
                  <c:v>Жити у приємному середовищі</c:v>
                </c:pt>
                <c:pt idx="2">
                  <c:v>Мати кращий соціальний захист</c:v>
                </c:pt>
                <c:pt idx="3">
                  <c:v>Заробити багато грошей</c:v>
                </c:pt>
                <c:pt idx="4">
                  <c:v>Мати більше можливостей для дозвілля</c:v>
                </c:pt>
                <c:pt idx="5">
                  <c:v>Зробити кар’єру у бажаній сфері</c:v>
                </c:pt>
                <c:pt idx="6">
                  <c:v>Знайти кращу роботу</c:v>
                </c:pt>
                <c:pt idx="7">
                  <c:v>За кордоном живуть близькі Вам люди</c:v>
                </c:pt>
                <c:pt idx="8">
                  <c:v>Розвивати власний бізнес</c:v>
                </c:pt>
                <c:pt idx="9">
                  <c:v>Отримати якісну освіту</c:v>
                </c:pt>
                <c:pt idx="10">
                  <c:v>Мати доступ до якісної медицини</c:v>
                </c:pt>
                <c:pt idx="11">
                  <c:v>Інше</c:v>
                </c:pt>
                <c:pt idx="12">
                  <c:v>Важко сказати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46920000000000001</c:v>
                </c:pt>
                <c:pt idx="1">
                  <c:v>0.33879999999999999</c:v>
                </c:pt>
                <c:pt idx="2">
                  <c:v>0.33879999999999999</c:v>
                </c:pt>
                <c:pt idx="3">
                  <c:v>0.4783</c:v>
                </c:pt>
                <c:pt idx="4">
                  <c:v>0.32969999999999999</c:v>
                </c:pt>
                <c:pt idx="5">
                  <c:v>0.40629999999999999</c:v>
                </c:pt>
                <c:pt idx="6">
                  <c:v>0.3569</c:v>
                </c:pt>
                <c:pt idx="7">
                  <c:v>0.28939999999999999</c:v>
                </c:pt>
                <c:pt idx="8">
                  <c:v>0.26540000000000002</c:v>
                </c:pt>
                <c:pt idx="9">
                  <c:v>0.29530000000000001</c:v>
                </c:pt>
                <c:pt idx="10">
                  <c:v>0.13500000000000001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Бути у безпеці, подалі від війни</c:v>
                </c:pt>
                <c:pt idx="1">
                  <c:v>Жити у приємному середовищі</c:v>
                </c:pt>
                <c:pt idx="2">
                  <c:v>Мати кращий соціальний захист</c:v>
                </c:pt>
                <c:pt idx="3">
                  <c:v>Заробити багато грошей</c:v>
                </c:pt>
                <c:pt idx="4">
                  <c:v>Мати більше можливостей для дозвілля</c:v>
                </c:pt>
                <c:pt idx="5">
                  <c:v>Зробити кар’єру у бажаній сфері</c:v>
                </c:pt>
                <c:pt idx="6">
                  <c:v>Знайти кращу роботу</c:v>
                </c:pt>
                <c:pt idx="7">
                  <c:v>За кордоном живуть близькі Вам люди</c:v>
                </c:pt>
                <c:pt idx="8">
                  <c:v>Розвивати власний бізнес</c:v>
                </c:pt>
                <c:pt idx="9">
                  <c:v>Отримати якісну освіту</c:v>
                </c:pt>
                <c:pt idx="10">
                  <c:v>Мати доступ до якісної медицини</c:v>
                </c:pt>
                <c:pt idx="11">
                  <c:v>Інше</c:v>
                </c:pt>
                <c:pt idx="12">
                  <c:v>Важко сказати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35820000000000002</c:v>
                </c:pt>
                <c:pt idx="1">
                  <c:v>0.39560000000000001</c:v>
                </c:pt>
                <c:pt idx="2">
                  <c:v>0.2626</c:v>
                </c:pt>
                <c:pt idx="3">
                  <c:v>0.31759999999999999</c:v>
                </c:pt>
                <c:pt idx="4">
                  <c:v>0.35489999999999999</c:v>
                </c:pt>
                <c:pt idx="5">
                  <c:v>0.29010000000000002</c:v>
                </c:pt>
                <c:pt idx="6">
                  <c:v>0.19120000000000001</c:v>
                </c:pt>
                <c:pt idx="7">
                  <c:v>0.311</c:v>
                </c:pt>
                <c:pt idx="8">
                  <c:v>0.1022</c:v>
                </c:pt>
                <c:pt idx="9">
                  <c:v>0.2253</c:v>
                </c:pt>
                <c:pt idx="10">
                  <c:v>0.19450000000000001</c:v>
                </c:pt>
                <c:pt idx="11">
                  <c:v>3.4099999999999998E-2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89-454A-B5EA-F65D47E658A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C89-454A-B5EA-F65D47E658A4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2762</c:v>
                </c:pt>
                <c:pt idx="1">
                  <c:v>0.29099999999999998</c:v>
                </c:pt>
                <c:pt idx="2">
                  <c:v>0.2127</c:v>
                </c:pt>
                <c:pt idx="3">
                  <c:v>0.220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89-454A-B5EA-F65D47E65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Бути у безпеці, подалі від війни</c:v>
                </c:pt>
                <c:pt idx="1">
                  <c:v>Жити у приємному середовищі</c:v>
                </c:pt>
                <c:pt idx="2">
                  <c:v>Мати кращий соціальний захист</c:v>
                </c:pt>
                <c:pt idx="3">
                  <c:v>Заробити багато грошей</c:v>
                </c:pt>
                <c:pt idx="4">
                  <c:v>Мати більше можливостей для дозвілля</c:v>
                </c:pt>
                <c:pt idx="5">
                  <c:v>Зробити кар’єру у бажаній сфері</c:v>
                </c:pt>
                <c:pt idx="6">
                  <c:v>Знайти кращу роботу</c:v>
                </c:pt>
                <c:pt idx="7">
                  <c:v>За кордоном живуть близькі Вам люди</c:v>
                </c:pt>
                <c:pt idx="8">
                  <c:v>Розвивати власний бізнес</c:v>
                </c:pt>
                <c:pt idx="9">
                  <c:v>Отримати якісну освіту</c:v>
                </c:pt>
                <c:pt idx="10">
                  <c:v>Мати доступ до якісної медицини</c:v>
                </c:pt>
                <c:pt idx="11">
                  <c:v>Інше</c:v>
                </c:pt>
                <c:pt idx="12">
                  <c:v>Важко сказати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64439999999999997</c:v>
                </c:pt>
                <c:pt idx="1">
                  <c:v>0.3921</c:v>
                </c:pt>
                <c:pt idx="2">
                  <c:v>0.4052</c:v>
                </c:pt>
                <c:pt idx="3">
                  <c:v>0.32869999999999999</c:v>
                </c:pt>
                <c:pt idx="4">
                  <c:v>0.34870000000000001</c:v>
                </c:pt>
                <c:pt idx="5">
                  <c:v>0.2722</c:v>
                </c:pt>
                <c:pt idx="6">
                  <c:v>0.31909999999999999</c:v>
                </c:pt>
                <c:pt idx="7">
                  <c:v>0.23910000000000001</c:v>
                </c:pt>
                <c:pt idx="8">
                  <c:v>0.17299999999999999</c:v>
                </c:pt>
                <c:pt idx="9">
                  <c:v>0.12609999999999999</c:v>
                </c:pt>
                <c:pt idx="10">
                  <c:v>0.22259999999999999</c:v>
                </c:pt>
                <c:pt idx="11">
                  <c:v>0.04</c:v>
                </c:pt>
                <c:pt idx="12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Бути у безпеці, подалі від війни</c:v>
                </c:pt>
                <c:pt idx="1">
                  <c:v>Жити у приємному середовищі</c:v>
                </c:pt>
                <c:pt idx="2">
                  <c:v>Мати кращий соціальний захист</c:v>
                </c:pt>
                <c:pt idx="3">
                  <c:v>Заробити багато грошей</c:v>
                </c:pt>
                <c:pt idx="4">
                  <c:v>Мати більше можливостей для дозвілля</c:v>
                </c:pt>
                <c:pt idx="5">
                  <c:v>Зробити кар’єру у бажаній сфері</c:v>
                </c:pt>
                <c:pt idx="6">
                  <c:v>Знайти кращу роботу</c:v>
                </c:pt>
                <c:pt idx="7">
                  <c:v>За кордоном живуть близькі Вам люди</c:v>
                </c:pt>
                <c:pt idx="8">
                  <c:v>Розвивати власний бізнес</c:v>
                </c:pt>
                <c:pt idx="9">
                  <c:v>Отримати якісну освіту</c:v>
                </c:pt>
                <c:pt idx="10">
                  <c:v>Мати доступ до якісної медицини</c:v>
                </c:pt>
                <c:pt idx="11">
                  <c:v>Інше</c:v>
                </c:pt>
                <c:pt idx="12">
                  <c:v>Важко сказати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78879999999999995</c:v>
                </c:pt>
                <c:pt idx="1">
                  <c:v>0.4143</c:v>
                </c:pt>
                <c:pt idx="2">
                  <c:v>0.42030000000000001</c:v>
                </c:pt>
                <c:pt idx="3">
                  <c:v>0.19919999999999999</c:v>
                </c:pt>
                <c:pt idx="4">
                  <c:v>0.23710000000000001</c:v>
                </c:pt>
                <c:pt idx="5">
                  <c:v>0.1852</c:v>
                </c:pt>
                <c:pt idx="6">
                  <c:v>0.19719999999999999</c:v>
                </c:pt>
                <c:pt idx="7">
                  <c:v>0.27889999999999998</c:v>
                </c:pt>
                <c:pt idx="8">
                  <c:v>0.22309999999999999</c:v>
                </c:pt>
                <c:pt idx="9">
                  <c:v>0.1633</c:v>
                </c:pt>
                <c:pt idx="10">
                  <c:v>0.19520000000000001</c:v>
                </c:pt>
                <c:pt idx="11">
                  <c:v>4.7800000000000002E-2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0"/>
              <c:layout>
                <c:manualLayout>
                  <c:x val="-0.21980234769342974"/>
                  <c:y val="0.213335159981292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3160000000000001</c:v>
                </c:pt>
                <c:pt idx="1">
                  <c:v>0.58050000000000002</c:v>
                </c:pt>
                <c:pt idx="2">
                  <c:v>8.79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4365</c:v>
                </c:pt>
                <c:pt idx="1">
                  <c:v>0.3337</c:v>
                </c:pt>
                <c:pt idx="2">
                  <c:v>0.229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0"/>
              <c:layout>
                <c:manualLayout>
                  <c:x val="-0.21437541184376843"/>
                  <c:y val="0.1704766448886138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0620000000000003</c:v>
                </c:pt>
                <c:pt idx="1">
                  <c:v>0.5111</c:v>
                </c:pt>
                <c:pt idx="2">
                  <c:v>0.1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0"/>
              <c:layout>
                <c:manualLayout>
                  <c:x val="-0.20980036920822984"/>
                  <c:y val="0.216076706616717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6699999999999999</c:v>
                </c:pt>
                <c:pt idx="1">
                  <c:v>0.6330000000000000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A6D-4D38-85EC-C76DCA70BA9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A6D-4D38-85EC-C76DCA70BA9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A6D-4D38-85EC-C76DCA70BA9B}"/>
              </c:ext>
            </c:extLst>
          </c:dPt>
          <c:dLbls>
            <c:dLbl>
              <c:idx val="0"/>
              <c:layout>
                <c:manualLayout>
                  <c:x val="-0.18036754041587433"/>
                  <c:y val="0.109635095576205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6D-4D38-85EC-C76DCA70BA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25230000000000002</c:v>
                </c:pt>
                <c:pt idx="1">
                  <c:v>0.74070000000000003</c:v>
                </c:pt>
                <c:pt idx="2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6D-4D38-85EC-C76DCA70B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Бажання жити у спокійному, тихому, звичному місті</c:v>
                </c:pt>
                <c:pt idx="1">
                  <c:v>Воз’єднання з родиною</c:v>
                </c:pt>
                <c:pt idx="2">
                  <c:v>Власне житло у Вінниці</c:v>
                </c:pt>
                <c:pt idx="3">
                  <c:v>Закінчення війни</c:v>
                </c:pt>
                <c:pt idx="4">
                  <c:v>Можливості добре заробляти</c:v>
                </c:pt>
                <c:pt idx="5">
                  <c:v>Можливості розвивати власний бізнес</c:v>
                </c:pt>
                <c:pt idx="6">
                  <c:v>Можливості для кар’єри</c:v>
                </c:pt>
                <c:pt idx="7">
                  <c:v>Можливості працювати за бажаним напрямком</c:v>
                </c:pt>
                <c:pt idx="8">
                  <c:v>Добрі можливості для дозвілля</c:v>
                </c:pt>
                <c:pt idx="9">
                  <c:v>Інше</c:v>
                </c:pt>
                <c:pt idx="10">
                  <c:v>Важко сказати</c:v>
                </c:pt>
                <c:pt idx="11">
                  <c:v>Не планую повертатись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48270000000000002</c:v>
                </c:pt>
                <c:pt idx="1">
                  <c:v>0.43259999999999998</c:v>
                </c:pt>
                <c:pt idx="2">
                  <c:v>0.41060000000000002</c:v>
                </c:pt>
                <c:pt idx="3">
                  <c:v>0.40429999999999999</c:v>
                </c:pt>
                <c:pt idx="4">
                  <c:v>0.28449999999999998</c:v>
                </c:pt>
                <c:pt idx="5">
                  <c:v>0.27829999999999999</c:v>
                </c:pt>
                <c:pt idx="6">
                  <c:v>0.24049999999999999</c:v>
                </c:pt>
                <c:pt idx="7">
                  <c:v>0.20760000000000001</c:v>
                </c:pt>
                <c:pt idx="8">
                  <c:v>0.16600000000000001</c:v>
                </c:pt>
                <c:pt idx="9">
                  <c:v>4.0300000000000002E-2</c:v>
                </c:pt>
                <c:pt idx="10">
                  <c:v>1.66E-2</c:v>
                </c:pt>
                <c:pt idx="11">
                  <c:v>3.20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Бажання жити у спокійному, тихому, звичному місті</c:v>
                </c:pt>
                <c:pt idx="1">
                  <c:v>Воз’єднання з родиною</c:v>
                </c:pt>
                <c:pt idx="2">
                  <c:v>Власне житло у Вінниці</c:v>
                </c:pt>
                <c:pt idx="3">
                  <c:v>Закінчення війни</c:v>
                </c:pt>
                <c:pt idx="4">
                  <c:v>Можливості добре заробляти</c:v>
                </c:pt>
                <c:pt idx="5">
                  <c:v>Можливості розвивати власний бізнес</c:v>
                </c:pt>
                <c:pt idx="6">
                  <c:v>Можливості для кар’єри</c:v>
                </c:pt>
                <c:pt idx="7">
                  <c:v>Можливості працювати за бажаним напрямком</c:v>
                </c:pt>
                <c:pt idx="8">
                  <c:v>Добрі можливості для дозвілля</c:v>
                </c:pt>
                <c:pt idx="9">
                  <c:v>Інше</c:v>
                </c:pt>
                <c:pt idx="10">
                  <c:v>Важко сказати</c:v>
                </c:pt>
                <c:pt idx="11">
                  <c:v>Не планую повертатись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31690000000000002</c:v>
                </c:pt>
                <c:pt idx="1">
                  <c:v>0.504</c:v>
                </c:pt>
                <c:pt idx="2">
                  <c:v>0.36380000000000001</c:v>
                </c:pt>
                <c:pt idx="3">
                  <c:v>0.35239999999999999</c:v>
                </c:pt>
                <c:pt idx="4">
                  <c:v>0.19389999999999999</c:v>
                </c:pt>
                <c:pt idx="5">
                  <c:v>0.20630000000000001</c:v>
                </c:pt>
                <c:pt idx="6">
                  <c:v>0.2019</c:v>
                </c:pt>
                <c:pt idx="7">
                  <c:v>0.18360000000000001</c:v>
                </c:pt>
                <c:pt idx="8">
                  <c:v>0.11749999999999999</c:v>
                </c:pt>
                <c:pt idx="9">
                  <c:v>0</c:v>
                </c:pt>
                <c:pt idx="10">
                  <c:v>4.7899999999999998E-2</c:v>
                </c:pt>
                <c:pt idx="11">
                  <c:v>6.27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Бажання жити у спокійному, тихому, звичному місті</c:v>
                </c:pt>
                <c:pt idx="1">
                  <c:v>Воз’єднання з родиною</c:v>
                </c:pt>
                <c:pt idx="2">
                  <c:v>Власне житло у Вінниці</c:v>
                </c:pt>
                <c:pt idx="3">
                  <c:v>Закінчення війни</c:v>
                </c:pt>
                <c:pt idx="4">
                  <c:v>Можливості добре заробляти</c:v>
                </c:pt>
                <c:pt idx="5">
                  <c:v>Можливості розвивати власний бізнес</c:v>
                </c:pt>
                <c:pt idx="6">
                  <c:v>Можливості для кар’єри</c:v>
                </c:pt>
                <c:pt idx="7">
                  <c:v>Можливості працювати за бажаним напрямком</c:v>
                </c:pt>
                <c:pt idx="8">
                  <c:v>Добрі можливості для дозвілля</c:v>
                </c:pt>
                <c:pt idx="9">
                  <c:v>Інше</c:v>
                </c:pt>
                <c:pt idx="10">
                  <c:v>Важко сказати</c:v>
                </c:pt>
                <c:pt idx="11">
                  <c:v>Не планую повертатись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4516</c:v>
                </c:pt>
                <c:pt idx="1">
                  <c:v>0.45369999999999999</c:v>
                </c:pt>
                <c:pt idx="2">
                  <c:v>0.33189999999999997</c:v>
                </c:pt>
                <c:pt idx="3">
                  <c:v>0.28989999999999999</c:v>
                </c:pt>
                <c:pt idx="4">
                  <c:v>0.2301</c:v>
                </c:pt>
                <c:pt idx="5">
                  <c:v>0.25640000000000002</c:v>
                </c:pt>
                <c:pt idx="6">
                  <c:v>0.21010000000000001</c:v>
                </c:pt>
                <c:pt idx="7">
                  <c:v>0.18590000000000001</c:v>
                </c:pt>
                <c:pt idx="8">
                  <c:v>0.24360000000000001</c:v>
                </c:pt>
                <c:pt idx="9">
                  <c:v>2.2100000000000002E-2</c:v>
                </c:pt>
                <c:pt idx="10">
                  <c:v>0</c:v>
                </c:pt>
                <c:pt idx="11">
                  <c:v>4.42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2BF-4E24-84B7-30B1F90AE6E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2BF-4E24-84B7-30B1F90AE6E2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22320000000000001</c:v>
                </c:pt>
                <c:pt idx="1">
                  <c:v>0.2427</c:v>
                </c:pt>
                <c:pt idx="2">
                  <c:v>0.25729999999999997</c:v>
                </c:pt>
                <c:pt idx="3">
                  <c:v>0.276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BF-4E24-84B7-30B1F90AE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Бажання жити у спокійному, тихому, звичному місті</c:v>
                </c:pt>
                <c:pt idx="1">
                  <c:v>Воз’єднання з родиною</c:v>
                </c:pt>
                <c:pt idx="2">
                  <c:v>Власне житло у Вінниці</c:v>
                </c:pt>
                <c:pt idx="3">
                  <c:v>Закінчення війни</c:v>
                </c:pt>
                <c:pt idx="4">
                  <c:v>Можливості добре заробляти</c:v>
                </c:pt>
                <c:pt idx="5">
                  <c:v>Можливості розвивати власний бізнес</c:v>
                </c:pt>
                <c:pt idx="6">
                  <c:v>Можливості для кар’єри</c:v>
                </c:pt>
                <c:pt idx="7">
                  <c:v>Можливості працювати за бажаним напрямком</c:v>
                </c:pt>
                <c:pt idx="8">
                  <c:v>Добрі можливості для дозвілля</c:v>
                </c:pt>
                <c:pt idx="9">
                  <c:v>Інше</c:v>
                </c:pt>
                <c:pt idx="10">
                  <c:v>Важко сказати</c:v>
                </c:pt>
                <c:pt idx="11">
                  <c:v>Не планую повертатись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54559999999999997</c:v>
                </c:pt>
                <c:pt idx="1">
                  <c:v>0.41599999999999998</c:v>
                </c:pt>
                <c:pt idx="2">
                  <c:v>0.4783</c:v>
                </c:pt>
                <c:pt idx="3">
                  <c:v>0.43240000000000001</c:v>
                </c:pt>
                <c:pt idx="4">
                  <c:v>0.31469999999999998</c:v>
                </c:pt>
                <c:pt idx="5">
                  <c:v>0.3392</c:v>
                </c:pt>
                <c:pt idx="6">
                  <c:v>0.24740000000000001</c:v>
                </c:pt>
                <c:pt idx="7">
                  <c:v>0.19700000000000001</c:v>
                </c:pt>
                <c:pt idx="8">
                  <c:v>0.15859999999999999</c:v>
                </c:pt>
                <c:pt idx="9">
                  <c:v>5.5399999999999998E-2</c:v>
                </c:pt>
                <c:pt idx="10">
                  <c:v>1.2E-2</c:v>
                </c:pt>
                <c:pt idx="11">
                  <c:v>2.88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3</c:f>
              <c:strCache>
                <c:ptCount val="12"/>
                <c:pt idx="0">
                  <c:v>Бажання жити у спокійному, тихому, звичному місті</c:v>
                </c:pt>
                <c:pt idx="1">
                  <c:v>Воз’єднання з родиною</c:v>
                </c:pt>
                <c:pt idx="2">
                  <c:v>Власне житло у Вінниці</c:v>
                </c:pt>
                <c:pt idx="3">
                  <c:v>Закінчення війни</c:v>
                </c:pt>
                <c:pt idx="4">
                  <c:v>Можливості добре заробляти</c:v>
                </c:pt>
                <c:pt idx="5">
                  <c:v>Можливості розвивати власний бізнес</c:v>
                </c:pt>
                <c:pt idx="6">
                  <c:v>Можливості для кар’єри</c:v>
                </c:pt>
                <c:pt idx="7">
                  <c:v>Можливості працювати за бажаним напрямком</c:v>
                </c:pt>
                <c:pt idx="8">
                  <c:v>Добрі можливості для дозвілля</c:v>
                </c:pt>
                <c:pt idx="9">
                  <c:v>Інше</c:v>
                </c:pt>
                <c:pt idx="10">
                  <c:v>Важко сказати</c:v>
                </c:pt>
                <c:pt idx="11">
                  <c:v>Не планую повертатись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60319999999999996</c:v>
                </c:pt>
                <c:pt idx="1">
                  <c:v>0.36830000000000002</c:v>
                </c:pt>
                <c:pt idx="2">
                  <c:v>0.4425</c:v>
                </c:pt>
                <c:pt idx="3">
                  <c:v>0.49070000000000003</c:v>
                </c:pt>
                <c:pt idx="4">
                  <c:v>0.37330000000000002</c:v>
                </c:pt>
                <c:pt idx="5">
                  <c:v>0.309</c:v>
                </c:pt>
                <c:pt idx="6">
                  <c:v>0.2868</c:v>
                </c:pt>
                <c:pt idx="7">
                  <c:v>0.24970000000000001</c:v>
                </c:pt>
                <c:pt idx="8">
                  <c:v>0.17549999999999999</c:v>
                </c:pt>
                <c:pt idx="9">
                  <c:v>7.5399999999999995E-2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4320000000000001</c:v>
                </c:pt>
                <c:pt idx="1">
                  <c:v>0.57479999999999998</c:v>
                </c:pt>
                <c:pt idx="2">
                  <c:v>8.21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50449999999999995</c:v>
                </c:pt>
                <c:pt idx="1">
                  <c:v>0.28010000000000002</c:v>
                </c:pt>
                <c:pt idx="2">
                  <c:v>0.215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7419999999999998</c:v>
                </c:pt>
                <c:pt idx="1">
                  <c:v>0.48380000000000001</c:v>
                </c:pt>
                <c:pt idx="2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412</c:v>
                </c:pt>
                <c:pt idx="1">
                  <c:v>0.64539999999999997</c:v>
                </c:pt>
                <c:pt idx="2">
                  <c:v>1.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A6D-4D38-85EC-C76DCA70BA9B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A6D-4D38-85EC-C76DCA70BA9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A6D-4D38-85EC-C76DCA70BA9B}"/>
              </c:ext>
            </c:extLst>
          </c:dPt>
          <c:dLbls>
            <c:dLbl>
              <c:idx val="0"/>
              <c:layout>
                <c:manualLayout>
                  <c:x val="-7.7202301683528457E-2"/>
                  <c:y val="0.1496323870981965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A6D-4D38-85EC-C76DCA70BA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22459999999999999</c:v>
                </c:pt>
                <c:pt idx="1">
                  <c:v>0.76480000000000004</c:v>
                </c:pt>
                <c:pt idx="2">
                  <c:v>1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6D-4D38-85EC-C76DCA70B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C26-40D8-A81C-AE73E7B7CEA3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C26-40D8-A81C-AE73E7B7CEA3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C26-40D8-A81C-AE73E7B7CEA3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C26-40D8-A81C-AE73E7B7CE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3160000000000001</c:v>
                </c:pt>
                <c:pt idx="1">
                  <c:v>0.58050000000000002</c:v>
                </c:pt>
                <c:pt idx="2">
                  <c:v>8.79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26-40D8-A81C-AE73E7B7CE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539-4C4D-882B-3C8D3A45D23D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539-4C4D-882B-3C8D3A45D23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539-4C4D-882B-3C8D3A45D23D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39-4C4D-882B-3C8D3A45D2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4365</c:v>
                </c:pt>
                <c:pt idx="1">
                  <c:v>0.3337</c:v>
                </c:pt>
                <c:pt idx="2">
                  <c:v>0.229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539-4C4D-882B-3C8D3A45D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24A-4643-92C5-5FC56751BA06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24A-4643-92C5-5FC56751BA0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24A-4643-92C5-5FC56751BA06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24A-4643-92C5-5FC56751BA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0620000000000003</c:v>
                </c:pt>
                <c:pt idx="1">
                  <c:v>0.5111</c:v>
                </c:pt>
                <c:pt idx="2">
                  <c:v>0.1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24A-4643-92C5-5FC56751BA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12-4493-9F69-7DA364E8966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812-4493-9F69-7DA364E89667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3109999999999999</c:v>
                </c:pt>
                <c:pt idx="1">
                  <c:v>0.34960000000000002</c:v>
                </c:pt>
                <c:pt idx="2">
                  <c:v>0.2341</c:v>
                </c:pt>
                <c:pt idx="3">
                  <c:v>0.285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12-4493-9F69-7DA364E89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470-4DF9-B886-9E99B15890EB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470-4DF9-B886-9E99B15890E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470-4DF9-B886-9E99B15890EB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470-4DF9-B886-9E99B15890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6699999999999999</c:v>
                </c:pt>
                <c:pt idx="1">
                  <c:v>0.6330000000000000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470-4DF9-B886-9E99B1589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789-4573-A7B7-7ED1354BBF93}"/>
              </c:ext>
            </c:extLst>
          </c:dPt>
          <c:dPt>
            <c:idx val="1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789-4573-A7B7-7ED1354BBF93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789-4573-A7B7-7ED1354BBF93}"/>
              </c:ext>
            </c:extLst>
          </c:dPt>
          <c:dLbls>
            <c:dLbl>
              <c:idx val="0"/>
              <c:layout>
                <c:manualLayout>
                  <c:x val="-6.4651616942616993E-2"/>
                  <c:y val="0.1644266608717834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789-4573-A7B7-7ED1354BBF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25230000000000002</c:v>
                </c:pt>
                <c:pt idx="1">
                  <c:v>0.74070000000000003</c:v>
                </c:pt>
                <c:pt idx="2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789-4573-A7B7-7ED1354BBF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Тут живе Ваша родина</c:v>
                </c:pt>
                <c:pt idx="1">
                  <c:v>Комфортні умови для життя у місті</c:v>
                </c:pt>
                <c:pt idx="2">
                  <c:v>Тут Ваші друзі</c:v>
                </c:pt>
                <c:pt idx="3">
                  <c:v>Тут є власне житло</c:v>
                </c:pt>
                <c:pt idx="4">
                  <c:v>Можливості працювати за бажаним напрямком</c:v>
                </c:pt>
                <c:pt idx="5">
                  <c:v>Тут безпечно</c:v>
                </c:pt>
                <c:pt idx="6">
                  <c:v>Добрі можливості для дозвілля</c:v>
                </c:pt>
                <c:pt idx="7">
                  <c:v>Добра якість освіти</c:v>
                </c:pt>
                <c:pt idx="8">
                  <c:v>Можливості розвивати власний бізнес</c:v>
                </c:pt>
                <c:pt idx="9">
                  <c:v>Звичка / Тут народився(-лась) / Люблю це місто</c:v>
                </c:pt>
                <c:pt idx="10">
                  <c:v>Інше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79020000000000001</c:v>
                </c:pt>
                <c:pt idx="1">
                  <c:v>0.68710000000000004</c:v>
                </c:pt>
                <c:pt idx="2">
                  <c:v>0.65690000000000004</c:v>
                </c:pt>
                <c:pt idx="3">
                  <c:v>0.64019999999999999</c:v>
                </c:pt>
                <c:pt idx="4">
                  <c:v>0.53839999999999999</c:v>
                </c:pt>
                <c:pt idx="5">
                  <c:v>0.53010000000000002</c:v>
                </c:pt>
                <c:pt idx="6">
                  <c:v>0.38700000000000001</c:v>
                </c:pt>
                <c:pt idx="7">
                  <c:v>0.34770000000000001</c:v>
                </c:pt>
                <c:pt idx="8">
                  <c:v>0.3417</c:v>
                </c:pt>
                <c:pt idx="9">
                  <c:v>5.21E-2</c:v>
                </c:pt>
                <c:pt idx="10">
                  <c:v>1.28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Тут живе Ваша родина</c:v>
                </c:pt>
                <c:pt idx="1">
                  <c:v>Комфортні умови для життя у місті</c:v>
                </c:pt>
                <c:pt idx="2">
                  <c:v>Тут Ваші друзі</c:v>
                </c:pt>
                <c:pt idx="3">
                  <c:v>Тут є власне житло</c:v>
                </c:pt>
                <c:pt idx="4">
                  <c:v>Можливості працювати за бажаним напрямком</c:v>
                </c:pt>
                <c:pt idx="5">
                  <c:v>Тут безпечно</c:v>
                </c:pt>
                <c:pt idx="6">
                  <c:v>Добрі можливості для дозвілля</c:v>
                </c:pt>
                <c:pt idx="7">
                  <c:v>Добра якість освіти</c:v>
                </c:pt>
                <c:pt idx="8">
                  <c:v>Можливості розвивати власний бізнес</c:v>
                </c:pt>
                <c:pt idx="9">
                  <c:v>Звичка / Тут народився(-лась) / Люблю це місто</c:v>
                </c:pt>
                <c:pt idx="10">
                  <c:v>Інше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71330000000000005</c:v>
                </c:pt>
                <c:pt idx="1">
                  <c:v>0.50139999999999996</c:v>
                </c:pt>
                <c:pt idx="2">
                  <c:v>0.86560000000000004</c:v>
                </c:pt>
                <c:pt idx="3">
                  <c:v>0.28039999999999998</c:v>
                </c:pt>
                <c:pt idx="4">
                  <c:v>0.4536</c:v>
                </c:pt>
                <c:pt idx="5">
                  <c:v>0.4536</c:v>
                </c:pt>
                <c:pt idx="6">
                  <c:v>0.3165</c:v>
                </c:pt>
                <c:pt idx="7">
                  <c:v>0.3553</c:v>
                </c:pt>
                <c:pt idx="8">
                  <c:v>0.29849999999999999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Тут живе Ваша родина</c:v>
                </c:pt>
                <c:pt idx="1">
                  <c:v>Комфортні умови для життя у місті</c:v>
                </c:pt>
                <c:pt idx="2">
                  <c:v>Тут Ваші друзі</c:v>
                </c:pt>
                <c:pt idx="3">
                  <c:v>Тут є власне житло</c:v>
                </c:pt>
                <c:pt idx="4">
                  <c:v>Можливості працювати за бажаним напрямком</c:v>
                </c:pt>
                <c:pt idx="5">
                  <c:v>Тут безпечно</c:v>
                </c:pt>
                <c:pt idx="6">
                  <c:v>Добрі можливості для дозвілля</c:v>
                </c:pt>
                <c:pt idx="7">
                  <c:v>Добра якість освіти</c:v>
                </c:pt>
                <c:pt idx="8">
                  <c:v>Можливості розвивати власний бізнес</c:v>
                </c:pt>
                <c:pt idx="9">
                  <c:v>Звичка / Тут народився(-лась) / Люблю це місто</c:v>
                </c:pt>
                <c:pt idx="10">
                  <c:v>Інше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74150000000000005</c:v>
                </c:pt>
                <c:pt idx="1">
                  <c:v>0.78620000000000001</c:v>
                </c:pt>
                <c:pt idx="2">
                  <c:v>0.66100000000000003</c:v>
                </c:pt>
                <c:pt idx="3">
                  <c:v>0.4803</c:v>
                </c:pt>
                <c:pt idx="4">
                  <c:v>0.5474</c:v>
                </c:pt>
                <c:pt idx="5">
                  <c:v>0.60289999999999999</c:v>
                </c:pt>
                <c:pt idx="6">
                  <c:v>0.49459999999999998</c:v>
                </c:pt>
                <c:pt idx="7">
                  <c:v>0.36399999999999999</c:v>
                </c:pt>
                <c:pt idx="8">
                  <c:v>0.31659999999999999</c:v>
                </c:pt>
                <c:pt idx="9">
                  <c:v>5.0099999999999999E-2</c:v>
                </c:pt>
                <c:pt idx="10">
                  <c:v>2.76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Тут живе Ваша родина</c:v>
                </c:pt>
                <c:pt idx="1">
                  <c:v>Комфортні умови для життя у місті</c:v>
                </c:pt>
                <c:pt idx="2">
                  <c:v>Тут Ваші друзі</c:v>
                </c:pt>
                <c:pt idx="3">
                  <c:v>Тут є власне житло</c:v>
                </c:pt>
                <c:pt idx="4">
                  <c:v>Можливості працювати за бажаним напрямком</c:v>
                </c:pt>
                <c:pt idx="5">
                  <c:v>Тут безпечно</c:v>
                </c:pt>
                <c:pt idx="6">
                  <c:v>Добрі можливості для дозвілля</c:v>
                </c:pt>
                <c:pt idx="7">
                  <c:v>Добра якість освіти</c:v>
                </c:pt>
                <c:pt idx="8">
                  <c:v>Можливості розвивати власний бізнес</c:v>
                </c:pt>
                <c:pt idx="9">
                  <c:v>Звичка / Тут народився(-лась) / Люблю це місто</c:v>
                </c:pt>
                <c:pt idx="10">
                  <c:v>Інше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76300000000000001</c:v>
                </c:pt>
                <c:pt idx="1">
                  <c:v>0.73119999999999996</c:v>
                </c:pt>
                <c:pt idx="2">
                  <c:v>0.63929999999999998</c:v>
                </c:pt>
                <c:pt idx="3">
                  <c:v>0.6593</c:v>
                </c:pt>
                <c:pt idx="4">
                  <c:v>0.56799999999999995</c:v>
                </c:pt>
                <c:pt idx="5">
                  <c:v>0.50639999999999996</c:v>
                </c:pt>
                <c:pt idx="6">
                  <c:v>0.44690000000000002</c:v>
                </c:pt>
                <c:pt idx="7">
                  <c:v>0.373</c:v>
                </c:pt>
                <c:pt idx="8">
                  <c:v>0.34329999999999999</c:v>
                </c:pt>
                <c:pt idx="9">
                  <c:v>9.3899999999999997E-2</c:v>
                </c:pt>
                <c:pt idx="10">
                  <c:v>1.2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Тут живе Ваша родина</c:v>
                </c:pt>
                <c:pt idx="1">
                  <c:v>Комфортні умови для життя у місті</c:v>
                </c:pt>
                <c:pt idx="2">
                  <c:v>Тут Ваші друзі</c:v>
                </c:pt>
                <c:pt idx="3">
                  <c:v>Тут є власне житло</c:v>
                </c:pt>
                <c:pt idx="4">
                  <c:v>Можливості працювати за бажаним напрямком</c:v>
                </c:pt>
                <c:pt idx="5">
                  <c:v>Тут безпечно</c:v>
                </c:pt>
                <c:pt idx="6">
                  <c:v>Добрі можливості для дозвілля</c:v>
                </c:pt>
                <c:pt idx="7">
                  <c:v>Добра якість освіти</c:v>
                </c:pt>
                <c:pt idx="8">
                  <c:v>Можливості розвивати власний бізнес</c:v>
                </c:pt>
                <c:pt idx="9">
                  <c:v>Звичка / Тут народився(-лась) / Люблю це місто</c:v>
                </c:pt>
                <c:pt idx="10">
                  <c:v>Інше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83730000000000004</c:v>
                </c:pt>
                <c:pt idx="1">
                  <c:v>0.68059999999999998</c:v>
                </c:pt>
                <c:pt idx="2">
                  <c:v>0.61409999999999998</c:v>
                </c:pt>
                <c:pt idx="3">
                  <c:v>0.7641</c:v>
                </c:pt>
                <c:pt idx="4">
                  <c:v>0.54090000000000005</c:v>
                </c:pt>
                <c:pt idx="5">
                  <c:v>0.54</c:v>
                </c:pt>
                <c:pt idx="6">
                  <c:v>0.34160000000000001</c:v>
                </c:pt>
                <c:pt idx="7">
                  <c:v>0.32790000000000002</c:v>
                </c:pt>
                <c:pt idx="8">
                  <c:v>0.35859999999999997</c:v>
                </c:pt>
                <c:pt idx="9">
                  <c:v>4.3400000000000001E-2</c:v>
                </c:pt>
                <c:pt idx="10">
                  <c:v>1.19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4320000000000001</c:v>
                </c:pt>
                <c:pt idx="1">
                  <c:v>0.57479999999999998</c:v>
                </c:pt>
                <c:pt idx="2">
                  <c:v>8.21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50449999999999995</c:v>
                </c:pt>
                <c:pt idx="1">
                  <c:v>0.28010000000000002</c:v>
                </c:pt>
                <c:pt idx="2">
                  <c:v>0.215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1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7419999999999998</c:v>
                </c:pt>
                <c:pt idx="1">
                  <c:v>0.48380000000000001</c:v>
                </c:pt>
                <c:pt idx="2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9</c:f>
              <c:strCache>
                <c:ptCount val="8"/>
                <c:pt idx="0">
                  <c:v>місто Вінниця</c:v>
                </c:pt>
                <c:pt idx="1">
                  <c:v>село Вінницькі Хутори</c:v>
                </c:pt>
                <c:pt idx="2">
                  <c:v>село Щітки</c:v>
                </c:pt>
                <c:pt idx="3">
                  <c:v>селище Десна</c:v>
                </c:pt>
                <c:pt idx="4">
                  <c:v>село Писарівка</c:v>
                </c:pt>
                <c:pt idx="5">
                  <c:v>село Малі Крушлинці</c:v>
                </c:pt>
                <c:pt idx="6">
                  <c:v>село Гавришівка</c:v>
                </c:pt>
                <c:pt idx="7">
                  <c:v>село Великі Крушлинці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0.84619999999999995</c:v>
                </c:pt>
                <c:pt idx="1">
                  <c:v>0.1074</c:v>
                </c:pt>
                <c:pt idx="2">
                  <c:v>2.9499999999999998E-2</c:v>
                </c:pt>
                <c:pt idx="3">
                  <c:v>0</c:v>
                </c:pt>
                <c:pt idx="4">
                  <c:v>1.7000000000000001E-2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DE4-4943-A2E5-CCBCE12E5E4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E4-4943-A2E5-CCBCE12E5E41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381</c:v>
                </c:pt>
                <c:pt idx="1">
                  <c:v>0.34320000000000001</c:v>
                </c:pt>
                <c:pt idx="2">
                  <c:v>0.129</c:v>
                </c:pt>
                <c:pt idx="3">
                  <c:v>0.389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E4-4943-A2E5-CCBCE12E5E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412</c:v>
                </c:pt>
                <c:pt idx="1">
                  <c:v>0.64539999999999997</c:v>
                </c:pt>
                <c:pt idx="2">
                  <c:v>1.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2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A6D-4D38-85EC-C76DCA70BA9B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A6D-4D38-85EC-C76DCA70BA9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A6D-4D38-85EC-C76DCA70BA9B}"/>
              </c:ext>
            </c:extLst>
          </c:dPt>
          <c:dLbls>
            <c:dLbl>
              <c:idx val="1"/>
              <c:layout>
                <c:manualLayout>
                  <c:x val="0.13104241617141379"/>
                  <c:y val="-0.3053982171286039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6D-4D38-85EC-C76DCA70BA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22459999999999999</c:v>
                </c:pt>
                <c:pt idx="1">
                  <c:v>0.76480000000000004</c:v>
                </c:pt>
                <c:pt idx="2">
                  <c:v>1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6D-4D38-85EC-C76DCA70B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2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C26-40D8-A81C-AE73E7B7CEA3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C26-40D8-A81C-AE73E7B7CEA3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C26-40D8-A81C-AE73E7B7CEA3}"/>
              </c:ext>
            </c:extLst>
          </c:dPt>
          <c:dLbls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C26-40D8-A81C-AE73E7B7CE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3160000000000001</c:v>
                </c:pt>
                <c:pt idx="1">
                  <c:v>0.58050000000000002</c:v>
                </c:pt>
                <c:pt idx="2">
                  <c:v>8.79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26-40D8-A81C-AE73E7B7CE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2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539-4C4D-882B-3C8D3A45D23D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539-4C4D-882B-3C8D3A45D23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539-4C4D-882B-3C8D3A45D23D}"/>
              </c:ext>
            </c:extLst>
          </c:dPt>
          <c:dLbls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539-4C4D-882B-3C8D3A45D2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4365</c:v>
                </c:pt>
                <c:pt idx="1">
                  <c:v>0.3337</c:v>
                </c:pt>
                <c:pt idx="2">
                  <c:v>0.229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539-4C4D-882B-3C8D3A45D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2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24A-4643-92C5-5FC56751BA06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24A-4643-92C5-5FC56751BA0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24A-4643-92C5-5FC56751BA06}"/>
              </c:ext>
            </c:extLst>
          </c:dPt>
          <c:dLbls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24A-4643-92C5-5FC56751BA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0620000000000003</c:v>
                </c:pt>
                <c:pt idx="1">
                  <c:v>0.5111</c:v>
                </c:pt>
                <c:pt idx="2">
                  <c:v>0.1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24A-4643-92C5-5FC56751BA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2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470-4DF9-B886-9E99B15890EB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470-4DF9-B886-9E99B15890E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470-4DF9-B886-9E99B15890EB}"/>
              </c:ext>
            </c:extLst>
          </c:dPt>
          <c:dLbls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470-4DF9-B886-9E99B15890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36699999999999999</c:v>
                </c:pt>
                <c:pt idx="1">
                  <c:v>0.6330000000000000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470-4DF9-B886-9E99B1589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2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FDF0E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789-4573-A7B7-7ED1354BBF93}"/>
              </c:ext>
            </c:extLst>
          </c:dPt>
          <c:dPt>
            <c:idx val="1"/>
            <c:bubble3D val="0"/>
            <c:spPr>
              <a:solidFill>
                <a:srgbClr val="7AD3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789-4573-A7B7-7ED1354BBF93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789-4573-A7B7-7ED1354BBF93}"/>
              </c:ext>
            </c:extLst>
          </c:dPt>
          <c:dLbls>
            <c:dLbl>
              <c:idx val="1"/>
              <c:layout>
                <c:manualLayout>
                  <c:x val="0.11650285225894931"/>
                  <c:y val="-0.3016110720061476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789-4573-A7B7-7ED1354BBF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Аркуш1!$A$2:$A$4</c:f>
              <c:strCache>
                <c:ptCount val="3"/>
                <c:pt idx="0">
                  <c:v>Однозначно так + Скоріше так + І так, і ні</c:v>
                </c:pt>
                <c:pt idx="1">
                  <c:v>Скоріше ні + Однозначно ні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25230000000000002</c:v>
                </c:pt>
                <c:pt idx="1">
                  <c:v>0.74070000000000003</c:v>
                </c:pt>
                <c:pt idx="2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789-4573-A7B7-7ED1354BBF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2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14-19 років</c:v>
                </c:pt>
                <c:pt idx="1">
                  <c:v>20-24 роки</c:v>
                </c:pt>
                <c:pt idx="2">
                  <c:v>25-29 років</c:v>
                </c:pt>
                <c:pt idx="3">
                  <c:v>30-35 років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2394</c:v>
                </c:pt>
                <c:pt idx="1">
                  <c:v>0.1663</c:v>
                </c:pt>
                <c:pt idx="2">
                  <c:v>0.2288</c:v>
                </c:pt>
                <c:pt idx="3">
                  <c:v>0.365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14-19 років</c:v>
                </c:pt>
                <c:pt idx="1">
                  <c:v>20-24 роки</c:v>
                </c:pt>
                <c:pt idx="2">
                  <c:v>25-29 років</c:v>
                </c:pt>
                <c:pt idx="3">
                  <c:v>30-35 років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3664</c:v>
                </c:pt>
                <c:pt idx="1">
                  <c:v>0.15440000000000001</c:v>
                </c:pt>
                <c:pt idx="2">
                  <c:v>0.19570000000000001</c:v>
                </c:pt>
                <c:pt idx="3">
                  <c:v>0.2834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14-19 років</c:v>
                </c:pt>
                <c:pt idx="1">
                  <c:v>20-24 роки</c:v>
                </c:pt>
                <c:pt idx="2">
                  <c:v>25-29 років</c:v>
                </c:pt>
                <c:pt idx="3">
                  <c:v>30-35 років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42209999999999998</c:v>
                </c:pt>
                <c:pt idx="1">
                  <c:v>0.2223</c:v>
                </c:pt>
                <c:pt idx="2">
                  <c:v>0.18859999999999999</c:v>
                </c:pt>
                <c:pt idx="3">
                  <c:v>0.16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62319999999999998</c:v>
                </c:pt>
                <c:pt idx="1">
                  <c:v>0.20760000000000001</c:v>
                </c:pt>
                <c:pt idx="2">
                  <c:v>0.1017</c:v>
                </c:pt>
                <c:pt idx="3">
                  <c:v>6.7599999999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14-19 років</c:v>
                </c:pt>
                <c:pt idx="1">
                  <c:v>20-24 роки</c:v>
                </c:pt>
                <c:pt idx="2">
                  <c:v>25-29 років</c:v>
                </c:pt>
                <c:pt idx="3">
                  <c:v>30-35 років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167</c:v>
                </c:pt>
                <c:pt idx="1">
                  <c:v>0.14000000000000001</c:v>
                </c:pt>
                <c:pt idx="2">
                  <c:v>0.25690000000000002</c:v>
                </c:pt>
                <c:pt idx="3">
                  <c:v>0.486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A40-4B02-A344-15DBCA12B6E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A40-4B02-A344-15DBCA12B6E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49209999999999998</c:v>
                </c:pt>
                <c:pt idx="1">
                  <c:v>0.507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40-4B02-A344-15DBCA12B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4C1-4D02-8F1D-5DEE263DDA3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4C1-4D02-8F1D-5DEE263DDA3F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53110000000000002</c:v>
                </c:pt>
                <c:pt idx="1">
                  <c:v>0.4688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C1-4D02-8F1D-5DEE263DD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5C8-4F44-AD32-28F44F46E85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5C8-4F44-AD32-28F44F46E85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4904</c:v>
                </c:pt>
                <c:pt idx="1">
                  <c:v>0.5096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C8-4F44-AD32-28F44F46E8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DF-48B8-A968-A5B47639A80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DF-48B8-A968-A5B47639A80B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48430000000000001</c:v>
                </c:pt>
                <c:pt idx="1">
                  <c:v>0.5157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DF-48B8-A968-A5B47639A8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14-19 років</c:v>
                </c:pt>
                <c:pt idx="1">
                  <c:v>20-24 роки</c:v>
                </c:pt>
                <c:pt idx="2">
                  <c:v>25-29 років</c:v>
                </c:pt>
                <c:pt idx="3">
                  <c:v>30-35 років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2394</c:v>
                </c:pt>
                <c:pt idx="1">
                  <c:v>0.1663</c:v>
                </c:pt>
                <c:pt idx="2">
                  <c:v>0.2288</c:v>
                </c:pt>
                <c:pt idx="3">
                  <c:v>0.365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14-19 років</c:v>
                </c:pt>
                <c:pt idx="1">
                  <c:v>20-24 роки</c:v>
                </c:pt>
                <c:pt idx="2">
                  <c:v>25-29 років</c:v>
                </c:pt>
                <c:pt idx="3">
                  <c:v>30-35 років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25950000000000001</c:v>
                </c:pt>
                <c:pt idx="1">
                  <c:v>0.13339999999999999</c:v>
                </c:pt>
                <c:pt idx="2">
                  <c:v>0.2792</c:v>
                </c:pt>
                <c:pt idx="3">
                  <c:v>0.327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14-19 років</c:v>
                </c:pt>
                <c:pt idx="1">
                  <c:v>20-24 роки</c:v>
                </c:pt>
                <c:pt idx="2">
                  <c:v>25-29 років</c:v>
                </c:pt>
                <c:pt idx="3">
                  <c:v>30-35 років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43140000000000001</c:v>
                </c:pt>
                <c:pt idx="1">
                  <c:v>0.21929999999999999</c:v>
                </c:pt>
                <c:pt idx="2">
                  <c:v>0.1666</c:v>
                </c:pt>
                <c:pt idx="3">
                  <c:v>0.1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14-19 років</c:v>
                </c:pt>
                <c:pt idx="1">
                  <c:v>20-24 роки</c:v>
                </c:pt>
                <c:pt idx="2">
                  <c:v>25-29 років</c:v>
                </c:pt>
                <c:pt idx="3">
                  <c:v>30-35 років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376</c:v>
                </c:pt>
                <c:pt idx="1">
                  <c:v>0.1464</c:v>
                </c:pt>
                <c:pt idx="2">
                  <c:v>0.2495</c:v>
                </c:pt>
                <c:pt idx="3">
                  <c:v>0.466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A40-4B02-A344-15DBCA12B6E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A40-4B02-A344-15DBCA12B6E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49209999999999998</c:v>
                </c:pt>
                <c:pt idx="1">
                  <c:v>0.507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40-4B02-A344-15DBCA12B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4C1-4D02-8F1D-5DEE263DDA3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4C1-4D02-8F1D-5DEE263DDA3F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60029999999999994</c:v>
                </c:pt>
                <c:pt idx="1">
                  <c:v>0.3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C1-4D02-8F1D-5DEE263DD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5C8-4F44-AD32-28F44F46E85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5C8-4F44-AD32-28F44F46E85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54339999999999999</c:v>
                </c:pt>
                <c:pt idx="1">
                  <c:v>0.456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C8-4F44-AD32-28F44F46E8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DF-48B8-A968-A5B47639A80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DF-48B8-A968-A5B47639A80B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44280000000000003</c:v>
                </c:pt>
                <c:pt idx="1">
                  <c:v>0.5572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DF-48B8-A968-A5B47639A8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1849999999999996</c:v>
                </c:pt>
                <c:pt idx="1">
                  <c:v>0.217</c:v>
                </c:pt>
                <c:pt idx="2">
                  <c:v>0.125</c:v>
                </c:pt>
                <c:pt idx="3">
                  <c:v>5.8700000000000002E-2</c:v>
                </c:pt>
                <c:pt idx="4">
                  <c:v>4.6800000000000001E-2</c:v>
                </c:pt>
                <c:pt idx="5">
                  <c:v>3.09E-2</c:v>
                </c:pt>
                <c:pt idx="6" formatCode="0.0%">
                  <c:v>3.0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0939999999999996</c:v>
                </c:pt>
                <c:pt idx="1">
                  <c:v>0.18279999999999999</c:v>
                </c:pt>
                <c:pt idx="2">
                  <c:v>7.8899999999999998E-2</c:v>
                </c:pt>
                <c:pt idx="3">
                  <c:v>4.0099999999999997E-2</c:v>
                </c:pt>
                <c:pt idx="4">
                  <c:v>0.1545</c:v>
                </c:pt>
                <c:pt idx="5">
                  <c:v>3.44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0739999999999996</c:v>
                </c:pt>
                <c:pt idx="1">
                  <c:v>0.2384</c:v>
                </c:pt>
                <c:pt idx="2">
                  <c:v>0.15160000000000001</c:v>
                </c:pt>
                <c:pt idx="3">
                  <c:v>2.1299999999999999E-2</c:v>
                </c:pt>
                <c:pt idx="4">
                  <c:v>5.74E-2</c:v>
                </c:pt>
                <c:pt idx="5">
                  <c:v>1.3299999999999999E-2</c:v>
                </c:pt>
                <c:pt idx="6">
                  <c:v>1.05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262</c:v>
                </c:pt>
                <c:pt idx="1">
                  <c:v>0.21360000000000001</c:v>
                </c:pt>
                <c:pt idx="2">
                  <c:v>0.1215</c:v>
                </c:pt>
                <c:pt idx="3">
                  <c:v>8.2199999999999995E-2</c:v>
                </c:pt>
                <c:pt idx="4">
                  <c:v>1.7299999999999999E-2</c:v>
                </c:pt>
                <c:pt idx="5">
                  <c:v>3.9199999999999999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C6-4E01-960B-2251BC9C215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C6-4E01-960B-2251BC9C215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7610000000000001</c:v>
                </c:pt>
                <c:pt idx="1">
                  <c:v>0.31990000000000002</c:v>
                </c:pt>
                <c:pt idx="2">
                  <c:v>0.18679999999999999</c:v>
                </c:pt>
                <c:pt idx="3">
                  <c:v>0.317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C6-4E01-960B-2251BC9C21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89-454A-B5EA-F65D47E658A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C89-454A-B5EA-F65D47E658A4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57169999999999999</c:v>
                </c:pt>
                <c:pt idx="1">
                  <c:v>0.27989999999999998</c:v>
                </c:pt>
                <c:pt idx="2">
                  <c:v>9.3200000000000005E-2</c:v>
                </c:pt>
                <c:pt idx="3">
                  <c:v>5.51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89-454A-B5EA-F65D47E65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2BF-4E24-84B7-30B1F90AE6E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2BF-4E24-84B7-30B1F90AE6E2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406</c:v>
                </c:pt>
                <c:pt idx="1">
                  <c:v>0.19989999999999999</c:v>
                </c:pt>
                <c:pt idx="2">
                  <c:v>0.26650000000000001</c:v>
                </c:pt>
                <c:pt idx="3">
                  <c:v>0.3929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BF-4E24-84B7-30B1F90AE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93200000000000005</c:v>
                </c:pt>
                <c:pt idx="1">
                  <c:v>6.8000000000000005E-2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12-4493-9F69-7DA364E8966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812-4493-9F69-7DA364E89667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8.8200000000000001E-2</c:v>
                </c:pt>
                <c:pt idx="1">
                  <c:v>0.39350000000000002</c:v>
                </c:pt>
                <c:pt idx="2">
                  <c:v>0.17019999999999999</c:v>
                </c:pt>
                <c:pt idx="3">
                  <c:v>0.3481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12-4493-9F69-7DA364E89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1849999999999996</c:v>
                </c:pt>
                <c:pt idx="1">
                  <c:v>0.217</c:v>
                </c:pt>
                <c:pt idx="2">
                  <c:v>0.125</c:v>
                </c:pt>
                <c:pt idx="3">
                  <c:v>5.8700000000000002E-2</c:v>
                </c:pt>
                <c:pt idx="4">
                  <c:v>4.6800000000000001E-2</c:v>
                </c:pt>
                <c:pt idx="5">
                  <c:v>3.09E-2</c:v>
                </c:pt>
                <c:pt idx="6" formatCode="0.0%">
                  <c:v>3.0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63629999999999998</c:v>
                </c:pt>
                <c:pt idx="1">
                  <c:v>0.13950000000000001</c:v>
                </c:pt>
                <c:pt idx="2">
                  <c:v>7.9699999999999993E-2</c:v>
                </c:pt>
                <c:pt idx="3">
                  <c:v>5.4399999999999997E-2</c:v>
                </c:pt>
                <c:pt idx="4">
                  <c:v>4.7300000000000002E-2</c:v>
                </c:pt>
                <c:pt idx="5">
                  <c:v>4.2799999999999998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4657</c:v>
                </c:pt>
                <c:pt idx="1">
                  <c:v>0.2445</c:v>
                </c:pt>
                <c:pt idx="2">
                  <c:v>0.1583</c:v>
                </c:pt>
                <c:pt idx="3">
                  <c:v>5.7099999999999998E-2</c:v>
                </c:pt>
                <c:pt idx="4">
                  <c:v>5.67E-2</c:v>
                </c:pt>
                <c:pt idx="5">
                  <c:v>1.34E-2</c:v>
                </c:pt>
                <c:pt idx="6" formatCode="0.0%">
                  <c:v>4.40000000000000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Народились у Вінниці</c:v>
                </c:pt>
                <c:pt idx="1">
                  <c:v>Приїхали на навчання до Вінниці</c:v>
                </c:pt>
                <c:pt idx="2">
                  <c:v>Проживаєте тут з дитинства</c:v>
                </c:pt>
                <c:pt idx="3">
                  <c:v>Приїхали на роботу до Вінниці</c:v>
                </c:pt>
                <c:pt idx="4">
                  <c:v>Переїхали до Вінниці внаслідок бойових дій</c:v>
                </c:pt>
                <c:pt idx="5">
                  <c:v>Переїхали за сімейними обставинами / За власним бажанням</c:v>
                </c:pt>
                <c:pt idx="6">
                  <c:v>Інш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51990000000000003</c:v>
                </c:pt>
                <c:pt idx="1">
                  <c:v>0.21970000000000001</c:v>
                </c:pt>
                <c:pt idx="2">
                  <c:v>0.1178</c:v>
                </c:pt>
                <c:pt idx="3">
                  <c:v>6.0400000000000002E-2</c:v>
                </c:pt>
                <c:pt idx="4">
                  <c:v>4.1700000000000001E-2</c:v>
                </c:pt>
                <c:pt idx="5">
                  <c:v>3.7199999999999997E-2</c:v>
                </c:pt>
                <c:pt idx="6" formatCode="0.0%">
                  <c:v>3.200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C6-4E01-960B-2251BC9C215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C6-4E01-960B-2251BC9C215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7610000000000001</c:v>
                </c:pt>
                <c:pt idx="1">
                  <c:v>0.31990000000000002</c:v>
                </c:pt>
                <c:pt idx="2">
                  <c:v>0.18679999999999999</c:v>
                </c:pt>
                <c:pt idx="3">
                  <c:v>0.317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C6-4E01-960B-2251BC9C21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89-454A-B5EA-F65D47E658A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C89-454A-B5EA-F65D47E658A4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842</c:v>
                </c:pt>
                <c:pt idx="1">
                  <c:v>0.73040000000000005</c:v>
                </c:pt>
                <c:pt idx="2">
                  <c:v>4.2700000000000002E-2</c:v>
                </c:pt>
                <c:pt idx="3">
                  <c:v>4.27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89-454A-B5EA-F65D47E65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2BF-4E24-84B7-30B1F90AE6E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2BF-4E24-84B7-30B1F90AE6E2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86</c:v>
                </c:pt>
                <c:pt idx="1">
                  <c:v>0.19189999999999999</c:v>
                </c:pt>
                <c:pt idx="2">
                  <c:v>0.28199999999999997</c:v>
                </c:pt>
                <c:pt idx="3">
                  <c:v>0.3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BF-4E24-84B7-30B1F90AE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12-4493-9F69-7DA364E8966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812-4493-9F69-7DA364E89667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Місто-обласний центр</c:v>
                </c:pt>
                <c:pt idx="1">
                  <c:v>Інше місто, не обласний центр</c:v>
                </c:pt>
                <c:pt idx="2">
                  <c:v>Селище</c:v>
                </c:pt>
                <c:pt idx="3">
                  <c:v>Село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6919999999999999</c:v>
                </c:pt>
                <c:pt idx="1">
                  <c:v>0.3261</c:v>
                </c:pt>
                <c:pt idx="2">
                  <c:v>0.15620000000000001</c:v>
                </c:pt>
                <c:pt idx="3">
                  <c:v>0.3484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12-4493-9F69-7DA364E89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62319999999999998</c:v>
                </c:pt>
                <c:pt idx="1">
                  <c:v>0.20760000000000001</c:v>
                </c:pt>
                <c:pt idx="2">
                  <c:v>0.1017</c:v>
                </c:pt>
                <c:pt idx="3">
                  <c:v>6.7599999999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68489999999999995</c:v>
                </c:pt>
                <c:pt idx="1">
                  <c:v>0.2263</c:v>
                </c:pt>
                <c:pt idx="2">
                  <c:v>5.11E-2</c:v>
                </c:pt>
                <c:pt idx="3">
                  <c:v>3.76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74909999999999999</c:v>
                </c:pt>
                <c:pt idx="1">
                  <c:v>0.1618</c:v>
                </c:pt>
                <c:pt idx="2">
                  <c:v>5.7500000000000002E-2</c:v>
                </c:pt>
                <c:pt idx="3">
                  <c:v>3.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76290000000000002</c:v>
                </c:pt>
                <c:pt idx="1">
                  <c:v>0.1638</c:v>
                </c:pt>
                <c:pt idx="2">
                  <c:v>5.4800000000000001E-2</c:v>
                </c:pt>
                <c:pt idx="3">
                  <c:v>1.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54449999999999998</c:v>
                </c:pt>
                <c:pt idx="1">
                  <c:v>0.23330000000000001</c:v>
                </c:pt>
                <c:pt idx="2">
                  <c:v>0.12839999999999999</c:v>
                </c:pt>
                <c:pt idx="3">
                  <c:v>9.37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2B-486D-9217-71BF0F7DAE8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B2B-486D-9217-71BF0F7DAE8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4304</c:v>
                </c:pt>
                <c:pt idx="1">
                  <c:v>0.43330000000000002</c:v>
                </c:pt>
                <c:pt idx="2">
                  <c:v>0.1017</c:v>
                </c:pt>
                <c:pt idx="3">
                  <c:v>3.1399999999999997E-2</c:v>
                </c:pt>
                <c:pt idx="4" formatCode="0.0%">
                  <c:v>3.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2B-486D-9217-71BF0F7DAE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2F2-4E34-ACD7-B9B797166CC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2F2-4E34-ACD7-B9B797166CC9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59899999999999998</c:v>
                </c:pt>
                <c:pt idx="1">
                  <c:v>0.29210000000000003</c:v>
                </c:pt>
                <c:pt idx="2">
                  <c:v>7.7299999999999994E-2</c:v>
                </c:pt>
                <c:pt idx="3">
                  <c:v>3.15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F2-4E34-ACD7-B9B797166C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7D7-4910-93E1-8443F2854FD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7D7-4910-93E1-8443F2854FD7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59799999999999998</c:v>
                </c:pt>
                <c:pt idx="1">
                  <c:v>0.30590000000000001</c:v>
                </c:pt>
                <c:pt idx="2">
                  <c:v>7.5300000000000006E-2</c:v>
                </c:pt>
                <c:pt idx="3">
                  <c:v>1.41E-2</c:v>
                </c:pt>
                <c:pt idx="4">
                  <c:v>6.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D7-4910-93E1-8443F2854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F80-4972-BD8B-BCD87B268DB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F80-4972-BD8B-BCD87B268DB4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33279999999999998</c:v>
                </c:pt>
                <c:pt idx="1">
                  <c:v>0.50980000000000003</c:v>
                </c:pt>
                <c:pt idx="2">
                  <c:v>0.1166</c:v>
                </c:pt>
                <c:pt idx="3">
                  <c:v>3.8100000000000002E-2</c:v>
                </c:pt>
                <c:pt idx="4" formatCode="0.0%">
                  <c:v>2.5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80-4972-BD8B-BCD87B268D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62319999999999998</c:v>
                </c:pt>
                <c:pt idx="1">
                  <c:v>0.20760000000000001</c:v>
                </c:pt>
                <c:pt idx="2">
                  <c:v>0.1017</c:v>
                </c:pt>
                <c:pt idx="3">
                  <c:v>6.7599999999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74629999999999996</c:v>
                </c:pt>
                <c:pt idx="1">
                  <c:v>0.16309999999999999</c:v>
                </c:pt>
                <c:pt idx="2">
                  <c:v>7.8E-2</c:v>
                </c:pt>
                <c:pt idx="3">
                  <c:v>1.26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72509999999999997</c:v>
                </c:pt>
                <c:pt idx="1">
                  <c:v>0.17180000000000001</c:v>
                </c:pt>
                <c:pt idx="2">
                  <c:v>5.0500000000000003E-2</c:v>
                </c:pt>
                <c:pt idx="3">
                  <c:v>5.2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36280000000000001</c:v>
                </c:pt>
                <c:pt idx="1">
                  <c:v>0.30399999999999999</c:v>
                </c:pt>
                <c:pt idx="2">
                  <c:v>0.20150000000000001</c:v>
                </c:pt>
                <c:pt idx="3">
                  <c:v>0.131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</c:v>
                </c:pt>
                <c:pt idx="1">
                  <c:v>Так, дошкільного віку</c:v>
                </c:pt>
                <c:pt idx="2">
                  <c:v>Так, шкільного віку</c:v>
                </c:pt>
                <c:pt idx="3">
                  <c:v>Так, шкільного та дошкільного віку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56020000000000003</c:v>
                </c:pt>
                <c:pt idx="1">
                  <c:v>0.22989999999999999</c:v>
                </c:pt>
                <c:pt idx="2">
                  <c:v>0.126</c:v>
                </c:pt>
                <c:pt idx="3">
                  <c:v>8.39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2B-486D-9217-71BF0F7DAE8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B2B-486D-9217-71BF0F7DAE8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4304</c:v>
                </c:pt>
                <c:pt idx="1">
                  <c:v>0.43330000000000002</c:v>
                </c:pt>
                <c:pt idx="2">
                  <c:v>0.1017</c:v>
                </c:pt>
                <c:pt idx="3">
                  <c:v>3.1399999999999997E-2</c:v>
                </c:pt>
                <c:pt idx="4" formatCode="0.0%">
                  <c:v>3.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2B-486D-9217-71BF0F7DAE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2F2-4E34-ACD7-B9B797166CC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2F2-4E34-ACD7-B9B797166CC9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49230000000000002</c:v>
                </c:pt>
                <c:pt idx="1">
                  <c:v>0.31950000000000001</c:v>
                </c:pt>
                <c:pt idx="2">
                  <c:v>0.1394</c:v>
                </c:pt>
                <c:pt idx="3">
                  <c:v>4.8800000000000003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F2-4E34-ACD7-B9B797166C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7D7-4910-93E1-8443F2854FD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7D7-4910-93E1-8443F2854FD7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59660000000000002</c:v>
                </c:pt>
                <c:pt idx="1">
                  <c:v>0.30080000000000001</c:v>
                </c:pt>
                <c:pt idx="2">
                  <c:v>8.8200000000000001E-2</c:v>
                </c:pt>
                <c:pt idx="3">
                  <c:v>1.44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D7-4910-93E1-8443F2854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F80-4972-BD8B-BCD87B268DB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F80-4972-BD8B-BCD87B268DB4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35420000000000001</c:v>
                </c:pt>
                <c:pt idx="1">
                  <c:v>0.50629999999999997</c:v>
                </c:pt>
                <c:pt idx="2">
                  <c:v>9.9599999999999994E-2</c:v>
                </c:pt>
                <c:pt idx="3">
                  <c:v>3.4599999999999999E-2</c:v>
                </c:pt>
                <c:pt idx="4">
                  <c:v>5.19999999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80-4972-BD8B-BCD87B268D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41909999999999997</c:v>
                </c:pt>
                <c:pt idx="1">
                  <c:v>0.14369999999999999</c:v>
                </c:pt>
                <c:pt idx="2">
                  <c:v>0.1019</c:v>
                </c:pt>
                <c:pt idx="3">
                  <c:v>9.7600000000000006E-2</c:v>
                </c:pt>
                <c:pt idx="4">
                  <c:v>8.3799999999999999E-2</c:v>
                </c:pt>
                <c:pt idx="5">
                  <c:v>7.5200000000000003E-2</c:v>
                </c:pt>
                <c:pt idx="6">
                  <c:v>4.7899999999999998E-2</c:v>
                </c:pt>
                <c:pt idx="7">
                  <c:v>2.1700000000000001E-2</c:v>
                </c:pt>
                <c:pt idx="8">
                  <c:v>9.1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26700000000000002</c:v>
                </c:pt>
                <c:pt idx="1">
                  <c:v>0.19650000000000001</c:v>
                </c:pt>
                <c:pt idx="2">
                  <c:v>0.15920000000000001</c:v>
                </c:pt>
                <c:pt idx="3">
                  <c:v>0.1295</c:v>
                </c:pt>
                <c:pt idx="4">
                  <c:v>8.2600000000000007E-2</c:v>
                </c:pt>
                <c:pt idx="5">
                  <c:v>0.1026</c:v>
                </c:pt>
                <c:pt idx="6">
                  <c:v>3.8699999999999998E-2</c:v>
                </c:pt>
                <c:pt idx="7">
                  <c:v>2.3900000000000001E-2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27210000000000001</c:v>
                </c:pt>
                <c:pt idx="1">
                  <c:v>8.7400000000000005E-2</c:v>
                </c:pt>
                <c:pt idx="2">
                  <c:v>0.19700000000000001</c:v>
                </c:pt>
                <c:pt idx="3">
                  <c:v>0.1973</c:v>
                </c:pt>
                <c:pt idx="4">
                  <c:v>5.4300000000000001E-2</c:v>
                </c:pt>
                <c:pt idx="5">
                  <c:v>0.12239999999999999</c:v>
                </c:pt>
                <c:pt idx="6">
                  <c:v>5.21E-2</c:v>
                </c:pt>
                <c:pt idx="7">
                  <c:v>1.7299999999999999E-2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52900000000000003</c:v>
                </c:pt>
                <c:pt idx="1">
                  <c:v>0.161</c:v>
                </c:pt>
                <c:pt idx="2">
                  <c:v>0.04</c:v>
                </c:pt>
                <c:pt idx="3">
                  <c:v>3.9E-2</c:v>
                </c:pt>
                <c:pt idx="4">
                  <c:v>9.9299999999999999E-2</c:v>
                </c:pt>
                <c:pt idx="5">
                  <c:v>4.4699999999999997E-2</c:v>
                </c:pt>
                <c:pt idx="6">
                  <c:v>4.7800000000000002E-2</c:v>
                </c:pt>
                <c:pt idx="7">
                  <c:v>2.35E-2</c:v>
                </c:pt>
                <c:pt idx="8">
                  <c:v>1.58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41909999999999997</c:v>
                </c:pt>
                <c:pt idx="1">
                  <c:v>0.14369999999999999</c:v>
                </c:pt>
                <c:pt idx="2">
                  <c:v>0.1019</c:v>
                </c:pt>
                <c:pt idx="3">
                  <c:v>9.7600000000000006E-2</c:v>
                </c:pt>
                <c:pt idx="4">
                  <c:v>8.3799999999999999E-2</c:v>
                </c:pt>
                <c:pt idx="5">
                  <c:v>7.5200000000000003E-2</c:v>
                </c:pt>
                <c:pt idx="6">
                  <c:v>4.7899999999999998E-2</c:v>
                </c:pt>
                <c:pt idx="7">
                  <c:v>2.1700000000000001E-2</c:v>
                </c:pt>
                <c:pt idx="8">
                  <c:v>9.1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2B-486D-9217-71BF0F7DAE8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B2B-486D-9217-71BF0F7DAE8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4304</c:v>
                </c:pt>
                <c:pt idx="1">
                  <c:v>0.43330000000000002</c:v>
                </c:pt>
                <c:pt idx="2">
                  <c:v>0.1017</c:v>
                </c:pt>
                <c:pt idx="3">
                  <c:v>3.1399999999999997E-2</c:v>
                </c:pt>
                <c:pt idx="4" formatCode="0.0%">
                  <c:v>3.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2B-486D-9217-71BF0F7DAE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34570000000000001</c:v>
                </c:pt>
                <c:pt idx="1">
                  <c:v>0.26729999999999998</c:v>
                </c:pt>
                <c:pt idx="2">
                  <c:v>6.3799999999999996E-2</c:v>
                </c:pt>
                <c:pt idx="3">
                  <c:v>6.8900000000000003E-2</c:v>
                </c:pt>
                <c:pt idx="4">
                  <c:v>4.2299999999999997E-2</c:v>
                </c:pt>
                <c:pt idx="5">
                  <c:v>8.5199999999999998E-2</c:v>
                </c:pt>
                <c:pt idx="6">
                  <c:v>6.0299999999999999E-2</c:v>
                </c:pt>
                <c:pt idx="7">
                  <c:v>3.8399999999999997E-2</c:v>
                </c:pt>
                <c:pt idx="8">
                  <c:v>2.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247</c:v>
                </c:pt>
                <c:pt idx="1">
                  <c:v>0.10589999999999999</c:v>
                </c:pt>
                <c:pt idx="2">
                  <c:v>0.18</c:v>
                </c:pt>
                <c:pt idx="3">
                  <c:v>0.21060000000000001</c:v>
                </c:pt>
                <c:pt idx="4">
                  <c:v>7.3200000000000001E-2</c:v>
                </c:pt>
                <c:pt idx="5">
                  <c:v>0.1452</c:v>
                </c:pt>
                <c:pt idx="6">
                  <c:v>1.5900000000000001E-2</c:v>
                </c:pt>
                <c:pt idx="7">
                  <c:v>2.2200000000000001E-2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52229999999999999</c:v>
                </c:pt>
                <c:pt idx="1">
                  <c:v>0.13619999999999999</c:v>
                </c:pt>
                <c:pt idx="2">
                  <c:v>7.0499999999999993E-2</c:v>
                </c:pt>
                <c:pt idx="3">
                  <c:v>4.6399999999999997E-2</c:v>
                </c:pt>
                <c:pt idx="4">
                  <c:v>9.8100000000000007E-2</c:v>
                </c:pt>
                <c:pt idx="5">
                  <c:v>3.7499999999999999E-2</c:v>
                </c:pt>
                <c:pt idx="6">
                  <c:v>6.1400000000000003E-2</c:v>
                </c:pt>
                <c:pt idx="7">
                  <c:v>1.7899999999999999E-2</c:v>
                </c:pt>
                <c:pt idx="8">
                  <c:v>9.599999999999999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3.3399999999999999E-2</c:v>
                </c:pt>
                <c:pt idx="1">
                  <c:v>3.7900000000000003E-2</c:v>
                </c:pt>
                <c:pt idx="2">
                  <c:v>6.0499999999999998E-2</c:v>
                </c:pt>
                <c:pt idx="3">
                  <c:v>0.14649999999999999</c:v>
                </c:pt>
                <c:pt idx="4">
                  <c:v>0.46400000000000002</c:v>
                </c:pt>
                <c:pt idx="5">
                  <c:v>2.01E-2</c:v>
                </c:pt>
                <c:pt idx="6">
                  <c:v>0.237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4.8300000000000003E-2</c:v>
                </c:pt>
                <c:pt idx="1">
                  <c:v>2.35E-2</c:v>
                </c:pt>
                <c:pt idx="2">
                  <c:v>7.2099999999999997E-2</c:v>
                </c:pt>
                <c:pt idx="3">
                  <c:v>7.2999999999999995E-2</c:v>
                </c:pt>
                <c:pt idx="4">
                  <c:v>0.50160000000000005</c:v>
                </c:pt>
                <c:pt idx="5">
                  <c:v>4.2999999999999997E-2</c:v>
                </c:pt>
                <c:pt idx="6">
                  <c:v>0.2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2.1399999999999999E-2</c:v>
                </c:pt>
                <c:pt idx="1">
                  <c:v>5.5599999999999997E-2</c:v>
                </c:pt>
                <c:pt idx="2">
                  <c:v>4.1200000000000001E-2</c:v>
                </c:pt>
                <c:pt idx="3">
                  <c:v>0.1968</c:v>
                </c:pt>
                <c:pt idx="4">
                  <c:v>0.40510000000000002</c:v>
                </c:pt>
                <c:pt idx="5">
                  <c:v>1.2800000000000001E-2</c:v>
                </c:pt>
                <c:pt idx="6">
                  <c:v>0.2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3.4500000000000003E-2</c:v>
                </c:pt>
                <c:pt idx="1">
                  <c:v>3.5200000000000002E-2</c:v>
                </c:pt>
                <c:pt idx="2">
                  <c:v>6.4199999999999993E-2</c:v>
                </c:pt>
                <c:pt idx="3">
                  <c:v>0.14349999999999999</c:v>
                </c:pt>
                <c:pt idx="4">
                  <c:v>0.47499999999999998</c:v>
                </c:pt>
                <c:pt idx="5">
                  <c:v>1.8599999999999998E-2</c:v>
                </c:pt>
                <c:pt idx="6">
                  <c:v>0.22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3.3399999999999999E-2</c:v>
                </c:pt>
                <c:pt idx="1">
                  <c:v>3.7900000000000003E-2</c:v>
                </c:pt>
                <c:pt idx="2">
                  <c:v>6.0499999999999998E-2</c:v>
                </c:pt>
                <c:pt idx="3">
                  <c:v>0.14649999999999999</c:v>
                </c:pt>
                <c:pt idx="4">
                  <c:v>0.46400000000000002</c:v>
                </c:pt>
                <c:pt idx="5">
                  <c:v>2.01E-2</c:v>
                </c:pt>
                <c:pt idx="6">
                  <c:v>0.237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2.0799999999999999E-2</c:v>
                </c:pt>
                <c:pt idx="1">
                  <c:v>4.9000000000000002E-2</c:v>
                </c:pt>
                <c:pt idx="2">
                  <c:v>0.16009999999999999</c:v>
                </c:pt>
                <c:pt idx="3">
                  <c:v>0.1216</c:v>
                </c:pt>
                <c:pt idx="4">
                  <c:v>0.43230000000000002</c:v>
                </c:pt>
                <c:pt idx="5">
                  <c:v>0</c:v>
                </c:pt>
                <c:pt idx="6">
                  <c:v>0.2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2.24E-2</c:v>
                </c:pt>
                <c:pt idx="1">
                  <c:v>5.7599999999999998E-2</c:v>
                </c:pt>
                <c:pt idx="2">
                  <c:v>1.8800000000000001E-2</c:v>
                </c:pt>
                <c:pt idx="3">
                  <c:v>0.1822</c:v>
                </c:pt>
                <c:pt idx="4">
                  <c:v>0.45550000000000002</c:v>
                </c:pt>
                <c:pt idx="5">
                  <c:v>1.23E-2</c:v>
                </c:pt>
                <c:pt idx="6">
                  <c:v>0.251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2F2-4E34-ACD7-B9B797166CC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2F2-4E34-ACD7-B9B797166CC9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F2-4E34-ACD7-B9B797166C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3.8899999999999997E-2</c:v>
                </c:pt>
                <c:pt idx="1">
                  <c:v>3.0300000000000001E-2</c:v>
                </c:pt>
                <c:pt idx="2">
                  <c:v>5.2299999999999999E-2</c:v>
                </c:pt>
                <c:pt idx="3">
                  <c:v>0.14149999999999999</c:v>
                </c:pt>
                <c:pt idx="4">
                  <c:v>0.47270000000000001</c:v>
                </c:pt>
                <c:pt idx="5">
                  <c:v>2.63E-2</c:v>
                </c:pt>
                <c:pt idx="6">
                  <c:v>0.237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90129999999999999</c:v>
                </c:pt>
                <c:pt idx="1">
                  <c:v>0.87409999999999999</c:v>
                </c:pt>
                <c:pt idx="2">
                  <c:v>0.86619999999999997</c:v>
                </c:pt>
                <c:pt idx="3">
                  <c:v>0.83830000000000005</c:v>
                </c:pt>
                <c:pt idx="4">
                  <c:v>0.83340000000000003</c:v>
                </c:pt>
                <c:pt idx="5">
                  <c:v>0.73899999999999999</c:v>
                </c:pt>
                <c:pt idx="6">
                  <c:v>0.72230000000000005</c:v>
                </c:pt>
                <c:pt idx="7">
                  <c:v>0.65990000000000004</c:v>
                </c:pt>
                <c:pt idx="8">
                  <c:v>0.55179999999999996</c:v>
                </c:pt>
                <c:pt idx="9">
                  <c:v>0.5494</c:v>
                </c:pt>
                <c:pt idx="10">
                  <c:v>0.52049999999999996</c:v>
                </c:pt>
                <c:pt idx="11">
                  <c:v>0.50860000000000005</c:v>
                </c:pt>
                <c:pt idx="12">
                  <c:v>0.49220000000000003</c:v>
                </c:pt>
                <c:pt idx="13">
                  <c:v>0.40460000000000002</c:v>
                </c:pt>
                <c:pt idx="14">
                  <c:v>0.40150000000000002</c:v>
                </c:pt>
                <c:pt idx="15">
                  <c:v>0.37569999999999998</c:v>
                </c:pt>
                <c:pt idx="16">
                  <c:v>0.36380000000000001</c:v>
                </c:pt>
                <c:pt idx="17">
                  <c:v>0.24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2599206349206366"/>
                  <c:y val="4.916420845624385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0.11759259259259275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0.13439153439153448"/>
                  <c:y val="4.916420845624385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dLbl>
              <c:idx val="3"/>
              <c:layout>
                <c:manualLayout>
                  <c:x val="-0.13439153439153448"/>
                  <c:y val="7.374631268722751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A7-46BC-B805-32D8209EE2E0}"/>
                </c:ext>
              </c:extLst>
            </c:dLbl>
            <c:dLbl>
              <c:idx val="4"/>
              <c:layout>
                <c:manualLayout>
                  <c:x val="-8.3994708994708997E-2"/>
                  <c:y val="2.86173357490006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A7-46BC-B805-32D8209EE2E0}"/>
                </c:ext>
              </c:extLst>
            </c:dLbl>
            <c:dLbl>
              <c:idx val="5"/>
              <c:layout>
                <c:manualLayout>
                  <c:x val="-5.03968253968253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A7-46BC-B805-32D8209EE2E0}"/>
                </c:ext>
              </c:extLst>
            </c:dLbl>
            <c:dLbl>
              <c:idx val="6"/>
              <c:layout>
                <c:manualLayout>
                  <c:x val="-3.3597883597883599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2A7-46BC-B805-32D8209EE2E0}"/>
                </c:ext>
              </c:extLst>
            </c:dLbl>
            <c:dLbl>
              <c:idx val="7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9.7000000000000003E-2</c:v>
                </c:pt>
                <c:pt idx="1">
                  <c:v>0.11890000000000001</c:v>
                </c:pt>
                <c:pt idx="2">
                  <c:v>0.13009999999999999</c:v>
                </c:pt>
                <c:pt idx="3">
                  <c:v>0.15909999999999999</c:v>
                </c:pt>
                <c:pt idx="4">
                  <c:v>0.1595</c:v>
                </c:pt>
                <c:pt idx="5">
                  <c:v>0.24990000000000001</c:v>
                </c:pt>
                <c:pt idx="6">
                  <c:v>0.25169999999999998</c:v>
                </c:pt>
                <c:pt idx="7">
                  <c:v>0.33600000000000002</c:v>
                </c:pt>
                <c:pt idx="8">
                  <c:v>0.42159999999999997</c:v>
                </c:pt>
                <c:pt idx="9">
                  <c:v>0.4083</c:v>
                </c:pt>
                <c:pt idx="10">
                  <c:v>0.4425</c:v>
                </c:pt>
                <c:pt idx="11">
                  <c:v>0.4456</c:v>
                </c:pt>
                <c:pt idx="12">
                  <c:v>0.45319999999999999</c:v>
                </c:pt>
                <c:pt idx="13">
                  <c:v>0.53820000000000001</c:v>
                </c:pt>
                <c:pt idx="14">
                  <c:v>0.47949999999999998</c:v>
                </c:pt>
                <c:pt idx="15">
                  <c:v>0.51990000000000003</c:v>
                </c:pt>
                <c:pt idx="16">
                  <c:v>0.51800000000000002</c:v>
                </c:pt>
                <c:pt idx="17">
                  <c:v>0.563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 formatCode="0.0%">
                  <c:v>1.6999999999999999E-3</c:v>
                </c:pt>
                <c:pt idx="1">
                  <c:v>5.0000000000000001E-3</c:v>
                </c:pt>
                <c:pt idx="2" formatCode="0.0%">
                  <c:v>3.8E-3</c:v>
                </c:pt>
                <c:pt idx="3" formatCode="0.0%">
                  <c:v>2.7000000000000001E-3</c:v>
                </c:pt>
                <c:pt idx="4">
                  <c:v>7.1000000000000004E-3</c:v>
                </c:pt>
                <c:pt idx="5">
                  <c:v>7.3000000000000001E-3</c:v>
                </c:pt>
                <c:pt idx="6">
                  <c:v>2.2499999999999999E-2</c:v>
                </c:pt>
                <c:pt idx="7" formatCode="0.0%">
                  <c:v>2E-3</c:v>
                </c:pt>
                <c:pt idx="8">
                  <c:v>2.6599999999999999E-2</c:v>
                </c:pt>
                <c:pt idx="9">
                  <c:v>3.8899999999999997E-2</c:v>
                </c:pt>
                <c:pt idx="10">
                  <c:v>3.5000000000000003E-2</c:v>
                </c:pt>
                <c:pt idx="11">
                  <c:v>4.1599999999999998E-2</c:v>
                </c:pt>
                <c:pt idx="12">
                  <c:v>4.9099999999999998E-2</c:v>
                </c:pt>
                <c:pt idx="13">
                  <c:v>5.7200000000000001E-2</c:v>
                </c:pt>
                <c:pt idx="14">
                  <c:v>0.1153</c:v>
                </c:pt>
                <c:pt idx="15">
                  <c:v>0.1011</c:v>
                </c:pt>
                <c:pt idx="16">
                  <c:v>0.11650000000000001</c:v>
                </c:pt>
                <c:pt idx="17">
                  <c:v>0.1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0.0%</c:formatCode>
                <c:ptCount val="18"/>
                <c:pt idx="1">
                  <c:v>2E-3</c:v>
                </c:pt>
                <c:pt idx="5">
                  <c:v>3.8E-3</c:v>
                </c:pt>
                <c:pt idx="6">
                  <c:v>3.5000000000000001E-3</c:v>
                </c:pt>
                <c:pt idx="7">
                  <c:v>2E-3</c:v>
                </c:pt>
                <c:pt idx="9">
                  <c:v>3.3E-3</c:v>
                </c:pt>
                <c:pt idx="10">
                  <c:v>2E-3</c:v>
                </c:pt>
                <c:pt idx="11">
                  <c:v>4.1999999999999997E-3</c:v>
                </c:pt>
                <c:pt idx="12" formatCode="0%">
                  <c:v>5.4999999999999997E-3</c:v>
                </c:pt>
                <c:pt idx="14">
                  <c:v>3.7000000000000002E-3</c:v>
                </c:pt>
                <c:pt idx="15">
                  <c:v>3.3E-3</c:v>
                </c:pt>
                <c:pt idx="16">
                  <c:v>1.6999999999999999E-3</c:v>
                </c:pt>
                <c:pt idx="17">
                  <c:v>4.4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05-4359-A1B0-0AB3899B0F6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3660000000000001</c:v>
                </c:pt>
                <c:pt idx="1">
                  <c:v>0.8085</c:v>
                </c:pt>
                <c:pt idx="2">
                  <c:v>0.86170000000000002</c:v>
                </c:pt>
                <c:pt idx="3">
                  <c:v>0.81950000000000001</c:v>
                </c:pt>
                <c:pt idx="4">
                  <c:v>0.70350000000000001</c:v>
                </c:pt>
                <c:pt idx="5">
                  <c:v>0.63719999999999999</c:v>
                </c:pt>
                <c:pt idx="6">
                  <c:v>0.64239999999999997</c:v>
                </c:pt>
                <c:pt idx="7">
                  <c:v>0.53369999999999995</c:v>
                </c:pt>
                <c:pt idx="8">
                  <c:v>0.48959999999999998</c:v>
                </c:pt>
                <c:pt idx="9">
                  <c:v>0.622</c:v>
                </c:pt>
                <c:pt idx="10">
                  <c:v>0.52749999999999997</c:v>
                </c:pt>
                <c:pt idx="11">
                  <c:v>0.45300000000000001</c:v>
                </c:pt>
                <c:pt idx="12">
                  <c:v>0.42749999999999999</c:v>
                </c:pt>
                <c:pt idx="13">
                  <c:v>0.44040000000000001</c:v>
                </c:pt>
                <c:pt idx="14">
                  <c:v>0.254</c:v>
                </c:pt>
                <c:pt idx="15">
                  <c:v>0.21249999999999999</c:v>
                </c:pt>
                <c:pt idx="16">
                  <c:v>0.3523</c:v>
                </c:pt>
                <c:pt idx="17">
                  <c:v>0.17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05-4359-A1B0-0AB3899B0F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5.595317556300142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5BB-4948-B9A6-FA0D6AD9CD3F}"/>
                </c:ext>
              </c:extLst>
            </c:dLbl>
            <c:dLbl>
              <c:idx val="2"/>
              <c:layout>
                <c:manualLayout>
                  <c:x val="-5.595317556300129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F05-4359-A1B0-0AB3899B0F65}"/>
                </c:ext>
              </c:extLst>
            </c:dLbl>
            <c:dLbl>
              <c:idx val="4"/>
              <c:layout>
                <c:manualLayout>
                  <c:x val="-0.10491220418062755"/>
                  <c:y val="2.4582104230983659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F05-4359-A1B0-0AB3899B0F65}"/>
                </c:ext>
              </c:extLst>
            </c:dLbl>
            <c:dLbl>
              <c:idx val="5"/>
              <c:layout>
                <c:manualLayout>
                  <c:x val="-4.196488167225097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F05-4359-A1B0-0AB3899B0F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4990000000000001</c:v>
                </c:pt>
                <c:pt idx="1">
                  <c:v>0.1915</c:v>
                </c:pt>
                <c:pt idx="2">
                  <c:v>0.12470000000000001</c:v>
                </c:pt>
                <c:pt idx="3">
                  <c:v>0.18049999999999999</c:v>
                </c:pt>
                <c:pt idx="4">
                  <c:v>0.28339999999999999</c:v>
                </c:pt>
                <c:pt idx="5">
                  <c:v>0.33339999999999997</c:v>
                </c:pt>
                <c:pt idx="6">
                  <c:v>0.31230000000000002</c:v>
                </c:pt>
                <c:pt idx="7">
                  <c:v>0.46629999999999999</c:v>
                </c:pt>
                <c:pt idx="8">
                  <c:v>0.46510000000000001</c:v>
                </c:pt>
                <c:pt idx="9">
                  <c:v>0.32469999999999999</c:v>
                </c:pt>
                <c:pt idx="10">
                  <c:v>0.44579999999999997</c:v>
                </c:pt>
                <c:pt idx="11">
                  <c:v>0.49940000000000001</c:v>
                </c:pt>
                <c:pt idx="12">
                  <c:v>0.53500000000000003</c:v>
                </c:pt>
                <c:pt idx="13">
                  <c:v>0.54649999999999999</c:v>
                </c:pt>
                <c:pt idx="14">
                  <c:v>0.57499999999999996</c:v>
                </c:pt>
                <c:pt idx="15">
                  <c:v>0.61209999999999998</c:v>
                </c:pt>
                <c:pt idx="16">
                  <c:v>0.4914</c:v>
                </c:pt>
                <c:pt idx="17">
                  <c:v>0.56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5-4359-A1B0-0AB3899B0F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4"/>
              <c:layout>
                <c:manualLayout>
                  <c:x val="-3.497073472687580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5BB-4948-B9A6-FA0D6AD9CD3F}"/>
                </c:ext>
              </c:extLst>
            </c:dLbl>
            <c:dLbl>
              <c:idx val="15"/>
              <c:layout>
                <c:manualLayout>
                  <c:x val="-9.092391028987710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5BB-4948-B9A6-FA0D6AD9CD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  <c:pt idx="0" formatCode="0%">
                  <c:v>1.35E-2</c:v>
                </c:pt>
                <c:pt idx="2" formatCode="0%">
                  <c:v>1.35E-2</c:v>
                </c:pt>
                <c:pt idx="4" formatCode="0%">
                  <c:v>1.3100000000000001E-2</c:v>
                </c:pt>
                <c:pt idx="5" formatCode="0%">
                  <c:v>1.35E-2</c:v>
                </c:pt>
                <c:pt idx="6" formatCode="0%">
                  <c:v>4.53E-2</c:v>
                </c:pt>
                <c:pt idx="8" formatCode="0%">
                  <c:v>4.5199999999999997E-2</c:v>
                </c:pt>
                <c:pt idx="9" formatCode="0%">
                  <c:v>3.7400000000000003E-2</c:v>
                </c:pt>
                <c:pt idx="10" formatCode="0%">
                  <c:v>1.0800000000000001E-2</c:v>
                </c:pt>
                <c:pt idx="11" formatCode="0%">
                  <c:v>4.7600000000000003E-2</c:v>
                </c:pt>
                <c:pt idx="12" formatCode="0%">
                  <c:v>3.7400000000000003E-2</c:v>
                </c:pt>
                <c:pt idx="13" formatCode="0%">
                  <c:v>1.3100000000000001E-2</c:v>
                </c:pt>
                <c:pt idx="14" formatCode="0%">
                  <c:v>0.17100000000000001</c:v>
                </c:pt>
                <c:pt idx="15" formatCode="0%">
                  <c:v>0.1754</c:v>
                </c:pt>
                <c:pt idx="16" formatCode="0%">
                  <c:v>0.15640000000000001</c:v>
                </c:pt>
                <c:pt idx="17" formatCode="0%">
                  <c:v>0.256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05-4359-A1B0-0AB3899B0F6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5" formatCode="0%">
                  <c:v>1.5900000000000001E-2</c:v>
                </c:pt>
                <c:pt idx="9" formatCode="0%">
                  <c:v>1.5900000000000001E-2</c:v>
                </c:pt>
                <c:pt idx="10" formatCode="0%">
                  <c:v>1.59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05-4359-A1B0-0AB3899B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27F-49C8-B8D5-5085D4622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9100000000000001</c:v>
                </c:pt>
                <c:pt idx="1">
                  <c:v>0.84389999999999998</c:v>
                </c:pt>
                <c:pt idx="2">
                  <c:v>0.87939999999999996</c:v>
                </c:pt>
                <c:pt idx="3">
                  <c:v>0.87829999999999997</c:v>
                </c:pt>
                <c:pt idx="4">
                  <c:v>0.84289999999999998</c:v>
                </c:pt>
                <c:pt idx="5">
                  <c:v>0.76980000000000004</c:v>
                </c:pt>
                <c:pt idx="6">
                  <c:v>0.74150000000000005</c:v>
                </c:pt>
                <c:pt idx="7">
                  <c:v>0.69689999999999996</c:v>
                </c:pt>
                <c:pt idx="8">
                  <c:v>0.63060000000000005</c:v>
                </c:pt>
                <c:pt idx="9">
                  <c:v>0.6875</c:v>
                </c:pt>
                <c:pt idx="10">
                  <c:v>0.58620000000000005</c:v>
                </c:pt>
                <c:pt idx="11">
                  <c:v>0.59040000000000004</c:v>
                </c:pt>
                <c:pt idx="12">
                  <c:v>0.55859999999999999</c:v>
                </c:pt>
                <c:pt idx="13">
                  <c:v>0.53539999999999999</c:v>
                </c:pt>
                <c:pt idx="14">
                  <c:v>0.51739999999999997</c:v>
                </c:pt>
                <c:pt idx="15">
                  <c:v>0.43390000000000001</c:v>
                </c:pt>
                <c:pt idx="16">
                  <c:v>0.51400000000000001</c:v>
                </c:pt>
                <c:pt idx="17">
                  <c:v>0.34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F-49C8-B8D5-5085D4622A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4.895902861762613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4-48A0-9F5E-BC8DC37CAB6B}"/>
                </c:ext>
              </c:extLst>
            </c:dLbl>
            <c:dLbl>
              <c:idx val="2"/>
              <c:layout>
                <c:manualLayout>
                  <c:x val="-7.6935616399126772E-2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7F-49C8-B8D5-5085D4622AA0}"/>
                </c:ext>
              </c:extLst>
            </c:dLbl>
            <c:dLbl>
              <c:idx val="4"/>
              <c:layout>
                <c:manualLayout>
                  <c:x val="-6.2947322508376452E-2"/>
                  <c:y val="2.4582104230983659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7F-49C8-B8D5-5085D4622AA0}"/>
                </c:ext>
              </c:extLst>
            </c:dLbl>
            <c:dLbl>
              <c:idx val="5"/>
              <c:layout>
                <c:manualLayout>
                  <c:x val="-5.595317556300129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27F-49C8-B8D5-5085D4622AA0}"/>
                </c:ext>
              </c:extLst>
            </c:dLbl>
            <c:dLbl>
              <c:idx val="6"/>
              <c:layout>
                <c:manualLayout>
                  <c:x val="-3.4970734726875806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27F-49C8-B8D5-5085D4622A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09</c:v>
                </c:pt>
                <c:pt idx="1">
                  <c:v>0.13869999999999999</c:v>
                </c:pt>
                <c:pt idx="2">
                  <c:v>0.1137</c:v>
                </c:pt>
                <c:pt idx="3">
                  <c:v>0.1217</c:v>
                </c:pt>
                <c:pt idx="4">
                  <c:v>0.14460000000000001</c:v>
                </c:pt>
                <c:pt idx="5">
                  <c:v>0.2175</c:v>
                </c:pt>
                <c:pt idx="6">
                  <c:v>0.23150000000000001</c:v>
                </c:pt>
                <c:pt idx="7">
                  <c:v>0.2893</c:v>
                </c:pt>
                <c:pt idx="8">
                  <c:v>0.34379999999999999</c:v>
                </c:pt>
                <c:pt idx="9">
                  <c:v>0.28570000000000001</c:v>
                </c:pt>
                <c:pt idx="10">
                  <c:v>0.38579999999999998</c:v>
                </c:pt>
                <c:pt idx="11">
                  <c:v>0.36359999999999998</c:v>
                </c:pt>
                <c:pt idx="12">
                  <c:v>0.3906</c:v>
                </c:pt>
                <c:pt idx="13">
                  <c:v>0.40460000000000002</c:v>
                </c:pt>
                <c:pt idx="14">
                  <c:v>0.39379999999999998</c:v>
                </c:pt>
                <c:pt idx="15">
                  <c:v>0.46260000000000001</c:v>
                </c:pt>
                <c:pt idx="16">
                  <c:v>0.37619999999999998</c:v>
                </c:pt>
                <c:pt idx="17">
                  <c:v>0.5038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7F-49C8-B8D5-5085D4622AA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1">
                  <c:v>1.0500000000000001E-2</c:v>
                </c:pt>
                <c:pt idx="2">
                  <c:v>6.8999999999999999E-3</c:v>
                </c:pt>
                <c:pt idx="4">
                  <c:v>1.2500000000000001E-2</c:v>
                </c:pt>
                <c:pt idx="5">
                  <c:v>6.8999999999999999E-3</c:v>
                </c:pt>
                <c:pt idx="6">
                  <c:v>2.7E-2</c:v>
                </c:pt>
                <c:pt idx="7">
                  <c:v>6.8999999999999999E-3</c:v>
                </c:pt>
                <c:pt idx="8">
                  <c:v>2.5600000000000001E-2</c:v>
                </c:pt>
                <c:pt idx="9">
                  <c:v>2.6800000000000001E-2</c:v>
                </c:pt>
                <c:pt idx="10">
                  <c:v>2.8000000000000001E-2</c:v>
                </c:pt>
                <c:pt idx="11">
                  <c:v>3.7499999999999999E-2</c:v>
                </c:pt>
                <c:pt idx="12">
                  <c:v>3.2300000000000002E-2</c:v>
                </c:pt>
                <c:pt idx="13">
                  <c:v>0.06</c:v>
                </c:pt>
                <c:pt idx="14">
                  <c:v>8.8900000000000007E-2</c:v>
                </c:pt>
                <c:pt idx="15">
                  <c:v>9.2399999999999996E-2</c:v>
                </c:pt>
                <c:pt idx="16">
                  <c:v>0.10979999999999999</c:v>
                </c:pt>
                <c:pt idx="17">
                  <c:v>0.13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7F-49C8-B8D5-5085D4622AA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0%</c:formatCode>
                <c:ptCount val="18"/>
                <c:pt idx="1">
                  <c:v>6.8999999999999999E-3</c:v>
                </c:pt>
                <c:pt idx="5">
                  <c:v>5.7999999999999996E-3</c:v>
                </c:pt>
                <c:pt idx="7">
                  <c:v>6.8999999999999999E-3</c:v>
                </c:pt>
                <c:pt idx="11">
                  <c:v>8.3999999999999995E-3</c:v>
                </c:pt>
                <c:pt idx="12">
                  <c:v>1.8499999999999999E-2</c:v>
                </c:pt>
                <c:pt idx="15">
                  <c:v>1.11E-2</c:v>
                </c:pt>
                <c:pt idx="17">
                  <c:v>1.52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7F-49C8-B8D5-5085D4622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860-409A-BEC4-9CA9D09CDB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92110000000000003</c:v>
                </c:pt>
                <c:pt idx="1">
                  <c:v>0.90429999999999999</c:v>
                </c:pt>
                <c:pt idx="2">
                  <c:v>0.86029999999999995</c:v>
                </c:pt>
                <c:pt idx="3">
                  <c:v>0.82179999999999997</c:v>
                </c:pt>
                <c:pt idx="4">
                  <c:v>0.85740000000000005</c:v>
                </c:pt>
                <c:pt idx="5">
                  <c:v>0.74580000000000002</c:v>
                </c:pt>
                <c:pt idx="6">
                  <c:v>0.73019999999999996</c:v>
                </c:pt>
                <c:pt idx="7">
                  <c:v>0.66890000000000005</c:v>
                </c:pt>
                <c:pt idx="8">
                  <c:v>0.52500000000000002</c:v>
                </c:pt>
                <c:pt idx="9">
                  <c:v>0.46189999999999998</c:v>
                </c:pt>
                <c:pt idx="10">
                  <c:v>0.48499999999999999</c:v>
                </c:pt>
                <c:pt idx="11">
                  <c:v>0.47870000000000001</c:v>
                </c:pt>
                <c:pt idx="12">
                  <c:v>0.47239999999999999</c:v>
                </c:pt>
                <c:pt idx="13">
                  <c:v>0.32900000000000001</c:v>
                </c:pt>
                <c:pt idx="14">
                  <c:v>0.37459999999999999</c:v>
                </c:pt>
                <c:pt idx="15">
                  <c:v>0.38200000000000001</c:v>
                </c:pt>
                <c:pt idx="16">
                  <c:v>0.28870000000000001</c:v>
                </c:pt>
                <c:pt idx="17">
                  <c:v>0.214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60-409A-BEC4-9CA9D09CDB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9.791805723525226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44-4C76-877C-72ACA12FAFC6}"/>
                </c:ext>
              </c:extLst>
            </c:dLbl>
            <c:dLbl>
              <c:idx val="3"/>
              <c:layout>
                <c:manualLayout>
                  <c:x val="-0.11190635112600258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860-409A-BEC4-9CA9D09CDB45}"/>
                </c:ext>
              </c:extLst>
            </c:dLbl>
            <c:dLbl>
              <c:idx val="4"/>
              <c:layout>
                <c:manualLayout>
                  <c:x val="-0.12589464501675304"/>
                  <c:y val="2.86173357490006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860-409A-BEC4-9CA9D09CDB45}"/>
                </c:ext>
              </c:extLst>
            </c:dLbl>
            <c:dLbl>
              <c:idx val="5"/>
              <c:layout>
                <c:manualLayout>
                  <c:x val="-3.497073472687580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44-4C76-877C-72ACA12FAFC6}"/>
                </c:ext>
              </c:extLst>
            </c:dLbl>
            <c:dLbl>
              <c:idx val="6"/>
              <c:layout>
                <c:manualLayout>
                  <c:x val="-2.7976587781500774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860-409A-BEC4-9CA9D09CDB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7.8899999999999998E-2</c:v>
                </c:pt>
                <c:pt idx="1">
                  <c:v>9.2499999999999999E-2</c:v>
                </c:pt>
                <c:pt idx="2">
                  <c:v>0.13969999999999999</c:v>
                </c:pt>
                <c:pt idx="3">
                  <c:v>0.1736</c:v>
                </c:pt>
                <c:pt idx="4">
                  <c:v>0.1396</c:v>
                </c:pt>
                <c:pt idx="5">
                  <c:v>0.248</c:v>
                </c:pt>
                <c:pt idx="6">
                  <c:v>0.24859999999999999</c:v>
                </c:pt>
                <c:pt idx="7">
                  <c:v>0.33110000000000001</c:v>
                </c:pt>
                <c:pt idx="8">
                  <c:v>0.45200000000000001</c:v>
                </c:pt>
                <c:pt idx="9">
                  <c:v>0.49030000000000001</c:v>
                </c:pt>
                <c:pt idx="10">
                  <c:v>0.47099999999999997</c:v>
                </c:pt>
                <c:pt idx="11">
                  <c:v>0.47599999999999998</c:v>
                </c:pt>
                <c:pt idx="12">
                  <c:v>0.46729999999999999</c:v>
                </c:pt>
                <c:pt idx="13">
                  <c:v>0.60540000000000005</c:v>
                </c:pt>
                <c:pt idx="14">
                  <c:v>0.50249999999999995</c:v>
                </c:pt>
                <c:pt idx="15">
                  <c:v>0.52900000000000003</c:v>
                </c:pt>
                <c:pt idx="16">
                  <c:v>0.59719999999999995</c:v>
                </c:pt>
                <c:pt idx="17">
                  <c:v>0.593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60-409A-BEC4-9CA9D09CDB4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0.0%</c:formatCode>
                <c:ptCount val="18"/>
                <c:pt idx="1">
                  <c:v>3.2000000000000002E-3</c:v>
                </c:pt>
                <c:pt idx="3">
                  <c:v>4.7000000000000002E-3</c:v>
                </c:pt>
                <c:pt idx="4">
                  <c:v>3.0000000000000001E-3</c:v>
                </c:pt>
                <c:pt idx="5" formatCode="0%">
                  <c:v>6.1999999999999998E-3</c:v>
                </c:pt>
                <c:pt idx="6" formatCode="0%">
                  <c:v>1.4999999999999999E-2</c:v>
                </c:pt>
                <c:pt idx="8" formatCode="0%">
                  <c:v>2.29E-2</c:v>
                </c:pt>
                <c:pt idx="9" formatCode="0%">
                  <c:v>4.5600000000000002E-2</c:v>
                </c:pt>
                <c:pt idx="10" formatCode="0%">
                  <c:v>4.3999999999999997E-2</c:v>
                </c:pt>
                <c:pt idx="11" formatCode="0%">
                  <c:v>4.2299999999999997E-2</c:v>
                </c:pt>
                <c:pt idx="12" formatCode="0%">
                  <c:v>6.0299999999999999E-2</c:v>
                </c:pt>
                <c:pt idx="13" formatCode="0%">
                  <c:v>6.5699999999999995E-2</c:v>
                </c:pt>
                <c:pt idx="14" formatCode="0%">
                  <c:v>0.11650000000000001</c:v>
                </c:pt>
                <c:pt idx="15" formatCode="0%">
                  <c:v>8.8999999999999996E-2</c:v>
                </c:pt>
                <c:pt idx="16" formatCode="0%">
                  <c:v>0.111</c:v>
                </c:pt>
                <c:pt idx="17" formatCode="0%">
                  <c:v>0.192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60-409A-BEC4-9CA9D09CDB4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6" formatCode="0%">
                  <c:v>6.1000000000000004E-3</c:v>
                </c:pt>
                <c:pt idx="9" formatCode="0.0%">
                  <c:v>2.2000000000000001E-3</c:v>
                </c:pt>
                <c:pt idx="11" formatCode="0.0%">
                  <c:v>3.0000000000000001E-3</c:v>
                </c:pt>
                <c:pt idx="14" formatCode="0%">
                  <c:v>6.4000000000000003E-3</c:v>
                </c:pt>
                <c:pt idx="16" formatCode="0.0%">
                  <c:v>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60-409A-BEC4-9CA9D09CD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Загалом</c:v>
                </c:pt>
              </c:strCache>
            </c:strRef>
          </c:tx>
          <c:spPr>
            <a:ln w="12700">
              <a:solidFill>
                <a:srgbClr val="2E6861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2E6861"/>
              </a:solidFill>
              <a:ln w="12700" cap="rnd">
                <a:solidFill>
                  <a:srgbClr val="2E6861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2E686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2269535706275798</c:v>
                </c:pt>
                <c:pt idx="1">
                  <c:v>4.7450880842237169</c:v>
                </c:pt>
                <c:pt idx="2">
                  <c:v>5.9466606059950244</c:v>
                </c:pt>
                <c:pt idx="3">
                  <c:v>5.4704702247323951</c:v>
                </c:pt>
                <c:pt idx="4">
                  <c:v>5.961459643570751</c:v>
                </c:pt>
                <c:pt idx="5">
                  <c:v>5.9012696389117307</c:v>
                </c:pt>
                <c:pt idx="6">
                  <c:v>6.2411171450691549</c:v>
                </c:pt>
                <c:pt idx="7">
                  <c:v>4.5304335353053178</c:v>
                </c:pt>
                <c:pt idx="8">
                  <c:v>4.8392240691452111</c:v>
                </c:pt>
                <c:pt idx="9">
                  <c:v>6.2730869635896802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966E-468C-89B8-777A05AE0372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731-46A5-9125-5CA8AB68C1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8-966E-468C-89B8-777A05AE03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9-966E-468C-89B8-777A05AE0372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2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Планують переїзд в інше місто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2438912724116067</c:v>
                </c:pt>
                <c:pt idx="1">
                  <c:v>4.5451685068810868</c:v>
                </c:pt>
                <c:pt idx="2">
                  <c:v>5.8511006783910071</c:v>
                </c:pt>
                <c:pt idx="3">
                  <c:v>5.6609713906130477</c:v>
                </c:pt>
                <c:pt idx="4">
                  <c:v>6.0431679768538134</c:v>
                </c:pt>
                <c:pt idx="5">
                  <c:v>5.694285140601786</c:v>
                </c:pt>
                <c:pt idx="6">
                  <c:v>5.9754459674925275</c:v>
                </c:pt>
                <c:pt idx="7">
                  <c:v>4.1221887348418065</c:v>
                </c:pt>
                <c:pt idx="8">
                  <c:v>4.2209266579778806</c:v>
                </c:pt>
                <c:pt idx="9">
                  <c:v>5.9824355097395259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C62E-4D50-B101-8D2551259F4A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62E-4D50-B101-8D2551259F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C62E-4D50-B101-8D2551259F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C62E-4D50-B101-8D2551259F4A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2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Не впевнені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5023203656940876</c:v>
                </c:pt>
                <c:pt idx="1">
                  <c:v>5.153896296126633</c:v>
                </c:pt>
                <c:pt idx="2">
                  <c:v>6.0618414587593366</c:v>
                </c:pt>
                <c:pt idx="3">
                  <c:v>5.915807443311234</c:v>
                </c:pt>
                <c:pt idx="4">
                  <c:v>6.0240239746657274</c:v>
                </c:pt>
                <c:pt idx="5">
                  <c:v>5.9499800112358674</c:v>
                </c:pt>
                <c:pt idx="6">
                  <c:v>6.2396361259880857</c:v>
                </c:pt>
                <c:pt idx="7">
                  <c:v>4.8683088226863163</c:v>
                </c:pt>
                <c:pt idx="8">
                  <c:v>4.9778202290478131</c:v>
                </c:pt>
                <c:pt idx="9">
                  <c:v>6.2119005813217951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008-44CA-ADE8-19E24987F7D4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008-44CA-ADE8-19E24987F7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F008-44CA-ADE8-19E24987F7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F008-44CA-ADE8-19E24987F7D4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2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Не планують переїзд в інше місто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0809056637404852</c:v>
                </c:pt>
                <c:pt idx="1">
                  <c:v>4.5779965823918802</c:v>
                </c:pt>
                <c:pt idx="2">
                  <c:v>5.9084818000803683</c:v>
                </c:pt>
                <c:pt idx="3">
                  <c:v>5.197933075304273</c:v>
                </c:pt>
                <c:pt idx="4">
                  <c:v>5.9108986329930744</c:v>
                </c:pt>
                <c:pt idx="5">
                  <c:v>5.9223026231734854</c:v>
                </c:pt>
                <c:pt idx="6">
                  <c:v>6.3011802537550192</c:v>
                </c:pt>
                <c:pt idx="7">
                  <c:v>4.4469917644158796</c:v>
                </c:pt>
                <c:pt idx="8">
                  <c:v>4.9064189975222741</c:v>
                </c:pt>
                <c:pt idx="9">
                  <c:v>6.3695722741504417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3965-44D0-8170-A5174C366B7F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3965-44D0-8170-A5174C366B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3965-44D0-8170-A5174C366B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3965-44D0-8170-A5174C366B7F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7D7-4910-93E1-8443F2854FD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7D7-4910-93E1-8443F2854FD7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67059999999999997</c:v>
                </c:pt>
                <c:pt idx="1">
                  <c:v>0.1245</c:v>
                </c:pt>
                <c:pt idx="2">
                  <c:v>0.19550000000000001</c:v>
                </c:pt>
                <c:pt idx="3">
                  <c:v>9.4000000000000004E-3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D7-4910-93E1-8443F2854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90-41E9-BDE5-6DF2DB8BA384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B90-41E9-BDE5-6DF2DB8BA384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90-41E9-BDE5-6DF2DB8BA384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B90-41E9-BDE5-6DF2DB8BA384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90-41E9-BDE5-6DF2DB8BA384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B90-41E9-BDE5-6DF2DB8BA384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B90-41E9-BDE5-6DF2DB8BA384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B90-41E9-BDE5-6DF2DB8BA384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B90-41E9-BDE5-6DF2DB8BA384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B90-41E9-BDE5-6DF2DB8BA384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B90-41E9-BDE5-6DF2DB8BA384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B90-41E9-BDE5-6DF2DB8BA384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B90-41E9-BDE5-6DF2DB8BA384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B90-41E9-BDE5-6DF2DB8BA384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B90-41E9-BDE5-6DF2DB8BA384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2E686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39045620566328604</c:v>
                </c:pt>
                <c:pt idx="1">
                  <c:v>-0.87339426665949071</c:v>
                </c:pt>
                <c:pt idx="2">
                  <c:v>0.32925082970415209</c:v>
                </c:pt>
                <c:pt idx="3">
                  <c:v>-0.14632217899725752</c:v>
                </c:pt>
                <c:pt idx="4">
                  <c:v>0.34404986727987652</c:v>
                </c:pt>
                <c:pt idx="5">
                  <c:v>0.2838598626208636</c:v>
                </c:pt>
                <c:pt idx="6">
                  <c:v>0.62370736877828414</c:v>
                </c:pt>
                <c:pt idx="7">
                  <c:v>-1.0869762409855512</c:v>
                </c:pt>
                <c:pt idx="8">
                  <c:v>-0.77861158483975768</c:v>
                </c:pt>
                <c:pt idx="9">
                  <c:v>0.65567718729879998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39045620566328604</c:v>
                </c:pt>
                <c:pt idx="1">
                  <c:v>-0.87339426665949071</c:v>
                </c:pt>
                <c:pt idx="2">
                  <c:v>0.32925082970415209</c:v>
                </c:pt>
                <c:pt idx="3">
                  <c:v>-0.14632217899725752</c:v>
                </c:pt>
                <c:pt idx="4">
                  <c:v>0.34404986727987652</c:v>
                </c:pt>
                <c:pt idx="5">
                  <c:v>0.2838598626208636</c:v>
                </c:pt>
                <c:pt idx="6">
                  <c:v>0.62370736877828414</c:v>
                </c:pt>
                <c:pt idx="7">
                  <c:v>-1.0869762409855512</c:v>
                </c:pt>
                <c:pt idx="8">
                  <c:v>-0.77861158483975768</c:v>
                </c:pt>
                <c:pt idx="9">
                  <c:v>0.6556771872987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90-41E9-BDE5-6DF2DB8BA3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2">
    <c:autoUpdate val="0"/>
  </c:externalData>
</c:chartSpace>
</file>

<file path=ppt/charts/chart2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57C-44D5-BD5D-BBBC5DFB0078}"/>
              </c:ext>
            </c:extLst>
          </c:dPt>
          <c:dPt>
            <c:idx val="3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57C-44D5-BD5D-BBBC5DFB0078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57C-44D5-BD5D-BBBC5DFB0078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57C-44D5-BD5D-BBBC5DFB0078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57C-44D5-BD5D-BBBC5DFB0078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57C-44D5-BD5D-BBBC5DFB0078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657C-44D5-BD5D-BBBC5DFB0078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657C-44D5-BD5D-BBBC5DFB0078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657C-44D5-BD5D-BBBC5DFB0078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657C-44D5-BD5D-BBBC5DFB0078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657C-44D5-BD5D-BBBC5DFB0078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657C-44D5-BD5D-BBBC5DFB0078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657C-44D5-BD5D-BBBC5DFB0078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657C-44D5-BD5D-BBBC5DFB0078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657C-44D5-BD5D-BBBC5DFB0078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657C-44D5-BD5D-BBBC5DFB0078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19668727363347638</c:v>
                </c:pt>
                <c:pt idx="1">
                  <c:v>-0.89541003916399797</c:v>
                </c:pt>
                <c:pt idx="2">
                  <c:v>0.41052213234592216</c:v>
                </c:pt>
                <c:pt idx="3">
                  <c:v>0.22182484482452752</c:v>
                </c:pt>
                <c:pt idx="4">
                  <c:v>0.60258943080873262</c:v>
                </c:pt>
                <c:pt idx="5">
                  <c:v>0.25370659455670325</c:v>
                </c:pt>
                <c:pt idx="6">
                  <c:v>0.53486742144744404</c:v>
                </c:pt>
                <c:pt idx="7">
                  <c:v>-1.3183898112032792</c:v>
                </c:pt>
                <c:pt idx="8">
                  <c:v>-1.219651888067202</c:v>
                </c:pt>
                <c:pt idx="9">
                  <c:v>0.5418569636944397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19668727363347638</c:v>
                </c:pt>
                <c:pt idx="1">
                  <c:v>-0.89541003916399797</c:v>
                </c:pt>
                <c:pt idx="2">
                  <c:v>0.41052213234592216</c:v>
                </c:pt>
                <c:pt idx="3">
                  <c:v>0.22182484482452752</c:v>
                </c:pt>
                <c:pt idx="4">
                  <c:v>0.60258943080873262</c:v>
                </c:pt>
                <c:pt idx="5">
                  <c:v>0.25370659455670325</c:v>
                </c:pt>
                <c:pt idx="6">
                  <c:v>0.53486742144744404</c:v>
                </c:pt>
                <c:pt idx="7">
                  <c:v>-1.3183898112032792</c:v>
                </c:pt>
                <c:pt idx="8">
                  <c:v>-1.219651888067202</c:v>
                </c:pt>
                <c:pt idx="9">
                  <c:v>0.5418569636944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7C-44D5-BD5D-BBBC5DFB00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2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35-44B9-8662-F891AA2D3991}"/>
              </c:ext>
            </c:extLst>
          </c:dPt>
          <c:dPt>
            <c:idx val="3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535-44B9-8662-F891AA2D3991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535-44B9-8662-F891AA2D3991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535-44B9-8662-F891AA2D3991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535-44B9-8662-F891AA2D3991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35-44B9-8662-F891AA2D3991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9535-44B9-8662-F891AA2D3991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9535-44B9-8662-F891AA2D3991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9535-44B9-8662-F891AA2D3991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9535-44B9-8662-F891AA2D3991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9535-44B9-8662-F891AA2D3991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9535-44B9-8662-F891AA2D3991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9535-44B9-8662-F891AA2D3991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9535-44B9-8662-F891AA2D3991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9535-44B9-8662-F891AA2D3991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9535-44B9-8662-F891AA2D3991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25934964832978907</c:v>
                </c:pt>
                <c:pt idx="1">
                  <c:v>-0.60777371789724643</c:v>
                </c:pt>
                <c:pt idx="2">
                  <c:v>0.30017144473546009</c:v>
                </c:pt>
                <c:pt idx="3">
                  <c:v>0.15413742928735472</c:v>
                </c:pt>
                <c:pt idx="4">
                  <c:v>0.2623539606418509</c:v>
                </c:pt>
                <c:pt idx="5">
                  <c:v>0.18830999721199182</c:v>
                </c:pt>
                <c:pt idx="6">
                  <c:v>0.47796611196420608</c:v>
                </c:pt>
                <c:pt idx="7">
                  <c:v>-0.89336119133756287</c:v>
                </c:pt>
                <c:pt idx="8">
                  <c:v>-0.78691678929088227</c:v>
                </c:pt>
                <c:pt idx="9">
                  <c:v>0.45023056729791533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25934964832978907</c:v>
                </c:pt>
                <c:pt idx="1">
                  <c:v>-0.60777371789724643</c:v>
                </c:pt>
                <c:pt idx="2">
                  <c:v>0.30017144473546009</c:v>
                </c:pt>
                <c:pt idx="3">
                  <c:v>0.15413742928735472</c:v>
                </c:pt>
                <c:pt idx="4">
                  <c:v>0.2623539606418509</c:v>
                </c:pt>
                <c:pt idx="5">
                  <c:v>0.18830999721199182</c:v>
                </c:pt>
                <c:pt idx="6">
                  <c:v>0.47796611196420608</c:v>
                </c:pt>
                <c:pt idx="7">
                  <c:v>-0.89336119133756287</c:v>
                </c:pt>
                <c:pt idx="8">
                  <c:v>-0.78691678929088227</c:v>
                </c:pt>
                <c:pt idx="9">
                  <c:v>0.45023056729791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35-44B9-8662-F891AA2D39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2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28-40BF-9CCF-9E1956AAABA0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528-40BF-9CCF-9E1956AAABA0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28-40BF-9CCF-9E1956AAABA0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528-40BF-9CCF-9E1956AAABA0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528-40BF-9CCF-9E1956AAABA0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4528-40BF-9CCF-9E1956AAABA0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4528-40BF-9CCF-9E1956AAABA0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4528-40BF-9CCF-9E1956AAABA0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4528-40BF-9CCF-9E1956AAABA0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4528-40BF-9CCF-9E1956AAABA0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4528-40BF-9CCF-9E1956AAABA0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4528-40BF-9CCF-9E1956AAABA0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4528-40BF-9CCF-9E1956AAABA0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4528-40BF-9CCF-9E1956AAABA0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4528-40BF-9CCF-9E1956AAABA0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50144132926578144</c:v>
                </c:pt>
                <c:pt idx="1">
                  <c:v>-1.0061128149494436</c:v>
                </c:pt>
                <c:pt idx="2">
                  <c:v>0.32613480707410347</c:v>
                </c:pt>
                <c:pt idx="3">
                  <c:v>-0.38295004811003741</c:v>
                </c:pt>
                <c:pt idx="4">
                  <c:v>0.32855163998680881</c:v>
                </c:pt>
                <c:pt idx="5">
                  <c:v>0.33995563016722524</c:v>
                </c:pt>
                <c:pt idx="6">
                  <c:v>0.71883326074875298</c:v>
                </c:pt>
                <c:pt idx="7">
                  <c:v>-1.1353552285903854</c:v>
                </c:pt>
                <c:pt idx="8">
                  <c:v>-0.67592799548398663</c:v>
                </c:pt>
                <c:pt idx="9">
                  <c:v>0.78722528114417623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50144132926578144</c:v>
                </c:pt>
                <c:pt idx="1">
                  <c:v>-1.0061128149494436</c:v>
                </c:pt>
                <c:pt idx="2">
                  <c:v>0.32613480707410347</c:v>
                </c:pt>
                <c:pt idx="3">
                  <c:v>-0.38295004811003741</c:v>
                </c:pt>
                <c:pt idx="4">
                  <c:v>0.32855163998680881</c:v>
                </c:pt>
                <c:pt idx="5">
                  <c:v>0.33995563016722524</c:v>
                </c:pt>
                <c:pt idx="6">
                  <c:v>0.71883326074875298</c:v>
                </c:pt>
                <c:pt idx="7">
                  <c:v>-1.1353552285903854</c:v>
                </c:pt>
                <c:pt idx="8">
                  <c:v>-0.67592799548398663</c:v>
                </c:pt>
                <c:pt idx="9">
                  <c:v>0.787225281144176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28-40BF-9CCF-9E1956AAA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2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90129999999999999</c:v>
                </c:pt>
                <c:pt idx="1">
                  <c:v>0.87409999999999999</c:v>
                </c:pt>
                <c:pt idx="2">
                  <c:v>0.86619999999999997</c:v>
                </c:pt>
                <c:pt idx="3">
                  <c:v>0.83830000000000005</c:v>
                </c:pt>
                <c:pt idx="4">
                  <c:v>0.83340000000000003</c:v>
                </c:pt>
                <c:pt idx="5">
                  <c:v>0.73899999999999999</c:v>
                </c:pt>
                <c:pt idx="6">
                  <c:v>0.72230000000000005</c:v>
                </c:pt>
                <c:pt idx="7">
                  <c:v>0.65990000000000004</c:v>
                </c:pt>
                <c:pt idx="8">
                  <c:v>0.55179999999999996</c:v>
                </c:pt>
                <c:pt idx="9">
                  <c:v>0.5494</c:v>
                </c:pt>
                <c:pt idx="10">
                  <c:v>0.52049999999999996</c:v>
                </c:pt>
                <c:pt idx="11">
                  <c:v>0.50860000000000005</c:v>
                </c:pt>
                <c:pt idx="12">
                  <c:v>0.49220000000000003</c:v>
                </c:pt>
                <c:pt idx="13">
                  <c:v>0.40460000000000002</c:v>
                </c:pt>
                <c:pt idx="14">
                  <c:v>0.40150000000000002</c:v>
                </c:pt>
                <c:pt idx="15">
                  <c:v>0.37569999999999998</c:v>
                </c:pt>
                <c:pt idx="16">
                  <c:v>0.36380000000000001</c:v>
                </c:pt>
                <c:pt idx="17">
                  <c:v>0.24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2599206349206366"/>
                  <c:y val="4.916420845624385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0.11759259259259275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0.13439153439153448"/>
                  <c:y val="4.916420845624385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dLbl>
              <c:idx val="3"/>
              <c:layout>
                <c:manualLayout>
                  <c:x val="-0.13439153439153448"/>
                  <c:y val="7.374631268722751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A7-46BC-B805-32D8209EE2E0}"/>
                </c:ext>
              </c:extLst>
            </c:dLbl>
            <c:dLbl>
              <c:idx val="4"/>
              <c:layout>
                <c:manualLayout>
                  <c:x val="-8.3994708994708997E-2"/>
                  <c:y val="2.86173357490006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A7-46BC-B805-32D8209EE2E0}"/>
                </c:ext>
              </c:extLst>
            </c:dLbl>
            <c:dLbl>
              <c:idx val="5"/>
              <c:layout>
                <c:manualLayout>
                  <c:x val="-5.03968253968253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A7-46BC-B805-32D8209EE2E0}"/>
                </c:ext>
              </c:extLst>
            </c:dLbl>
            <c:dLbl>
              <c:idx val="6"/>
              <c:layout>
                <c:manualLayout>
                  <c:x val="-3.3597883597883599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2A7-46BC-B805-32D8209EE2E0}"/>
                </c:ext>
              </c:extLst>
            </c:dLbl>
            <c:dLbl>
              <c:idx val="7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9.7000000000000003E-2</c:v>
                </c:pt>
                <c:pt idx="1">
                  <c:v>0.11890000000000001</c:v>
                </c:pt>
                <c:pt idx="2">
                  <c:v>0.13009999999999999</c:v>
                </c:pt>
                <c:pt idx="3">
                  <c:v>0.15909999999999999</c:v>
                </c:pt>
                <c:pt idx="4">
                  <c:v>0.1595</c:v>
                </c:pt>
                <c:pt idx="5">
                  <c:v>0.24990000000000001</c:v>
                </c:pt>
                <c:pt idx="6">
                  <c:v>0.25169999999999998</c:v>
                </c:pt>
                <c:pt idx="7">
                  <c:v>0.33600000000000002</c:v>
                </c:pt>
                <c:pt idx="8">
                  <c:v>0.42159999999999997</c:v>
                </c:pt>
                <c:pt idx="9">
                  <c:v>0.4083</c:v>
                </c:pt>
                <c:pt idx="10">
                  <c:v>0.4425</c:v>
                </c:pt>
                <c:pt idx="11">
                  <c:v>0.4456</c:v>
                </c:pt>
                <c:pt idx="12">
                  <c:v>0.45319999999999999</c:v>
                </c:pt>
                <c:pt idx="13">
                  <c:v>0.53820000000000001</c:v>
                </c:pt>
                <c:pt idx="14">
                  <c:v>0.47949999999999998</c:v>
                </c:pt>
                <c:pt idx="15">
                  <c:v>0.51990000000000003</c:v>
                </c:pt>
                <c:pt idx="16">
                  <c:v>0.51800000000000002</c:v>
                </c:pt>
                <c:pt idx="17">
                  <c:v>0.563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 formatCode="0.0%">
                  <c:v>1.6999999999999999E-3</c:v>
                </c:pt>
                <c:pt idx="1">
                  <c:v>5.0000000000000001E-3</c:v>
                </c:pt>
                <c:pt idx="2" formatCode="0.0%">
                  <c:v>3.8E-3</c:v>
                </c:pt>
                <c:pt idx="3" formatCode="0.0%">
                  <c:v>2.7000000000000001E-3</c:v>
                </c:pt>
                <c:pt idx="4">
                  <c:v>7.1000000000000004E-3</c:v>
                </c:pt>
                <c:pt idx="5">
                  <c:v>7.3000000000000001E-3</c:v>
                </c:pt>
                <c:pt idx="6">
                  <c:v>2.2499999999999999E-2</c:v>
                </c:pt>
                <c:pt idx="7" formatCode="0.0%">
                  <c:v>2E-3</c:v>
                </c:pt>
                <c:pt idx="8">
                  <c:v>2.6599999999999999E-2</c:v>
                </c:pt>
                <c:pt idx="9">
                  <c:v>3.8899999999999997E-2</c:v>
                </c:pt>
                <c:pt idx="10">
                  <c:v>3.5000000000000003E-2</c:v>
                </c:pt>
                <c:pt idx="11">
                  <c:v>4.1599999999999998E-2</c:v>
                </c:pt>
                <c:pt idx="12">
                  <c:v>4.9099999999999998E-2</c:v>
                </c:pt>
                <c:pt idx="13">
                  <c:v>5.7200000000000001E-2</c:v>
                </c:pt>
                <c:pt idx="14">
                  <c:v>0.1153</c:v>
                </c:pt>
                <c:pt idx="15">
                  <c:v>0.1011</c:v>
                </c:pt>
                <c:pt idx="16">
                  <c:v>0.11650000000000001</c:v>
                </c:pt>
                <c:pt idx="17">
                  <c:v>0.1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0.0%</c:formatCode>
                <c:ptCount val="18"/>
                <c:pt idx="1">
                  <c:v>2E-3</c:v>
                </c:pt>
                <c:pt idx="5">
                  <c:v>3.8E-3</c:v>
                </c:pt>
                <c:pt idx="6">
                  <c:v>3.5000000000000001E-3</c:v>
                </c:pt>
                <c:pt idx="7">
                  <c:v>2E-3</c:v>
                </c:pt>
                <c:pt idx="9">
                  <c:v>3.3E-3</c:v>
                </c:pt>
                <c:pt idx="10">
                  <c:v>2E-3</c:v>
                </c:pt>
                <c:pt idx="11">
                  <c:v>4.1999999999999997E-3</c:v>
                </c:pt>
                <c:pt idx="12" formatCode="0%">
                  <c:v>5.4999999999999997E-3</c:v>
                </c:pt>
                <c:pt idx="14">
                  <c:v>3.7000000000000002E-3</c:v>
                </c:pt>
                <c:pt idx="15">
                  <c:v>3.3E-3</c:v>
                </c:pt>
                <c:pt idx="16">
                  <c:v>1.6999999999999999E-3</c:v>
                </c:pt>
                <c:pt idx="17">
                  <c:v>4.4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05-4359-A1B0-0AB3899B0F6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91120000000000001</c:v>
                </c:pt>
                <c:pt idx="1">
                  <c:v>0.75660000000000005</c:v>
                </c:pt>
                <c:pt idx="2">
                  <c:v>0.8609</c:v>
                </c:pt>
                <c:pt idx="3">
                  <c:v>0.87239999999999995</c:v>
                </c:pt>
                <c:pt idx="4">
                  <c:v>0.73029999999999995</c:v>
                </c:pt>
                <c:pt idx="5">
                  <c:v>0.77500000000000002</c:v>
                </c:pt>
                <c:pt idx="6">
                  <c:v>0.66769999999999996</c:v>
                </c:pt>
                <c:pt idx="7">
                  <c:v>0.56289999999999996</c:v>
                </c:pt>
                <c:pt idx="8">
                  <c:v>0.50319999999999998</c:v>
                </c:pt>
                <c:pt idx="9">
                  <c:v>0.56179999999999997</c:v>
                </c:pt>
                <c:pt idx="10">
                  <c:v>0.4466</c:v>
                </c:pt>
                <c:pt idx="11">
                  <c:v>0.45519999999999999</c:v>
                </c:pt>
                <c:pt idx="12">
                  <c:v>0.59050000000000002</c:v>
                </c:pt>
                <c:pt idx="13">
                  <c:v>0.42699999999999999</c:v>
                </c:pt>
                <c:pt idx="14">
                  <c:v>0.28160000000000002</c:v>
                </c:pt>
                <c:pt idx="15">
                  <c:v>0.216</c:v>
                </c:pt>
                <c:pt idx="16">
                  <c:v>0.32490000000000002</c:v>
                </c:pt>
                <c:pt idx="17">
                  <c:v>0.244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05-4359-A1B0-0AB3899B0F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5.5953175563001292E-2"/>
                  <c:y val="2.458210422955279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6F-4AA2-8CAD-1C0454819DC6}"/>
                </c:ext>
              </c:extLst>
            </c:dLbl>
            <c:dLbl>
              <c:idx val="4"/>
              <c:layout>
                <c:manualLayout>
                  <c:x val="-5.5953175563001292E-2"/>
                  <c:y val="2.4582104230983659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F05-4359-A1B0-0AB3899B0F65}"/>
                </c:ext>
              </c:extLst>
            </c:dLbl>
            <c:dLbl>
              <c:idx val="5"/>
              <c:layout>
                <c:manualLayout>
                  <c:x val="-2.797658778150064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F05-4359-A1B0-0AB3899B0F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8.8800000000000004E-2</c:v>
                </c:pt>
                <c:pt idx="1">
                  <c:v>0.24340000000000001</c:v>
                </c:pt>
                <c:pt idx="2">
                  <c:v>0.1391</c:v>
                </c:pt>
                <c:pt idx="3">
                  <c:v>0.12759999999999999</c:v>
                </c:pt>
                <c:pt idx="4">
                  <c:v>0.2697</c:v>
                </c:pt>
                <c:pt idx="5">
                  <c:v>0.19639999999999999</c:v>
                </c:pt>
                <c:pt idx="6">
                  <c:v>0.28899999999999998</c:v>
                </c:pt>
                <c:pt idx="7">
                  <c:v>0.43709999999999999</c:v>
                </c:pt>
                <c:pt idx="8">
                  <c:v>0.4642</c:v>
                </c:pt>
                <c:pt idx="9">
                  <c:v>0.3644</c:v>
                </c:pt>
                <c:pt idx="10">
                  <c:v>0.48330000000000001</c:v>
                </c:pt>
                <c:pt idx="11">
                  <c:v>0.42359999999999998</c:v>
                </c:pt>
                <c:pt idx="12">
                  <c:v>0.3402</c:v>
                </c:pt>
                <c:pt idx="13">
                  <c:v>0.55830000000000002</c:v>
                </c:pt>
                <c:pt idx="14">
                  <c:v>0.49769999999999998</c:v>
                </c:pt>
                <c:pt idx="15">
                  <c:v>0.62660000000000005</c:v>
                </c:pt>
                <c:pt idx="16">
                  <c:v>0.55720000000000003</c:v>
                </c:pt>
                <c:pt idx="17">
                  <c:v>0.5531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5-4359-A1B0-0AB3899B0F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4"/>
              <c:layout>
                <c:manualLayout>
                  <c:x val="-4.895902861762613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5BB-4948-B9A6-FA0D6AD9CD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  <c:pt idx="5" formatCode="0%">
                  <c:v>1.47E-2</c:v>
                </c:pt>
                <c:pt idx="6" formatCode="0%">
                  <c:v>4.3299999999999998E-2</c:v>
                </c:pt>
                <c:pt idx="8" formatCode="0%">
                  <c:v>3.2599999999999997E-2</c:v>
                </c:pt>
                <c:pt idx="9" formatCode="0%">
                  <c:v>5.7500000000000002E-2</c:v>
                </c:pt>
                <c:pt idx="10" formatCode="0%">
                  <c:v>7.0099999999999996E-2</c:v>
                </c:pt>
                <c:pt idx="11" formatCode="0%">
                  <c:v>0.1212</c:v>
                </c:pt>
                <c:pt idx="12" formatCode="0%">
                  <c:v>5.5399999999999998E-2</c:v>
                </c:pt>
                <c:pt idx="13" formatCode="0%">
                  <c:v>1.47E-2</c:v>
                </c:pt>
                <c:pt idx="14" formatCode="0%">
                  <c:v>0.19120000000000001</c:v>
                </c:pt>
                <c:pt idx="15" formatCode="0%">
                  <c:v>0.14349999999999999</c:v>
                </c:pt>
                <c:pt idx="16" formatCode="0%">
                  <c:v>0.1179</c:v>
                </c:pt>
                <c:pt idx="17" formatCode="0%">
                  <c:v>0.202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05-4359-A1B0-0AB3899B0F6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5" formatCode="0%">
                  <c:v>1.3899999999999999E-2</c:v>
                </c:pt>
                <c:pt idx="9" formatCode="0%">
                  <c:v>1.6299999999999999E-2</c:v>
                </c:pt>
                <c:pt idx="12" formatCode="0%">
                  <c:v>1.3899999999999999E-2</c:v>
                </c:pt>
                <c:pt idx="14" formatCode="0%">
                  <c:v>2.9399999999999999E-2</c:v>
                </c:pt>
                <c:pt idx="15" formatCode="0%">
                  <c:v>1.38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05-4359-A1B0-0AB3899B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27F-49C8-B8D5-5085D4622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6209999999999998</c:v>
                </c:pt>
                <c:pt idx="1">
                  <c:v>0.8407</c:v>
                </c:pt>
                <c:pt idx="2">
                  <c:v>0.87070000000000003</c:v>
                </c:pt>
                <c:pt idx="3">
                  <c:v>0.8478</c:v>
                </c:pt>
                <c:pt idx="4">
                  <c:v>0.83140000000000003</c:v>
                </c:pt>
                <c:pt idx="5">
                  <c:v>0.69230000000000003</c:v>
                </c:pt>
                <c:pt idx="6">
                  <c:v>0.76549999999999996</c:v>
                </c:pt>
                <c:pt idx="7">
                  <c:v>0.68930000000000002</c:v>
                </c:pt>
                <c:pt idx="8">
                  <c:v>0.65210000000000001</c:v>
                </c:pt>
                <c:pt idx="9">
                  <c:v>0.69110000000000005</c:v>
                </c:pt>
                <c:pt idx="10">
                  <c:v>0.56269999999999998</c:v>
                </c:pt>
                <c:pt idx="11">
                  <c:v>0.56710000000000005</c:v>
                </c:pt>
                <c:pt idx="12">
                  <c:v>0.54569999999999996</c:v>
                </c:pt>
                <c:pt idx="13">
                  <c:v>0.58389999999999997</c:v>
                </c:pt>
                <c:pt idx="14">
                  <c:v>0.53010000000000002</c:v>
                </c:pt>
                <c:pt idx="15">
                  <c:v>0.44009999999999999</c:v>
                </c:pt>
                <c:pt idx="16">
                  <c:v>0.48799999999999999</c:v>
                </c:pt>
                <c:pt idx="17">
                  <c:v>0.3612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F-49C8-B8D5-5085D4622A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3288879196212808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E6-4D8B-B57E-2FC555725E8E}"/>
                </c:ext>
              </c:extLst>
            </c:dLbl>
            <c:dLbl>
              <c:idx val="1"/>
              <c:layout>
                <c:manualLayout>
                  <c:x val="-4.196488167225097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4-48A0-9F5E-BC8DC37CAB6B}"/>
                </c:ext>
              </c:extLst>
            </c:dLbl>
            <c:dLbl>
              <c:idx val="2"/>
              <c:layout>
                <c:manualLayout>
                  <c:x val="-8.392976334450207E-2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7F-49C8-B8D5-5085D4622AA0}"/>
                </c:ext>
              </c:extLst>
            </c:dLbl>
            <c:dLbl>
              <c:idx val="3"/>
              <c:layout>
                <c:manualLayout>
                  <c:x val="-0.10491220418062742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E6-4D8B-B57E-2FC555725E8E}"/>
                </c:ext>
              </c:extLst>
            </c:dLbl>
            <c:dLbl>
              <c:idx val="4"/>
              <c:layout>
                <c:manualLayout>
                  <c:x val="-7.693561639912691E-2"/>
                  <c:y val="2.4582104230983659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7F-49C8-B8D5-5085D4622A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3200000000000001</c:v>
                </c:pt>
                <c:pt idx="1">
                  <c:v>0.15240000000000001</c:v>
                </c:pt>
                <c:pt idx="2">
                  <c:v>0.11650000000000001</c:v>
                </c:pt>
                <c:pt idx="3">
                  <c:v>0.14779999999999999</c:v>
                </c:pt>
                <c:pt idx="4">
                  <c:v>0.16170000000000001</c:v>
                </c:pt>
                <c:pt idx="5">
                  <c:v>0.28799999999999998</c:v>
                </c:pt>
                <c:pt idx="6">
                  <c:v>0.2132</c:v>
                </c:pt>
                <c:pt idx="7">
                  <c:v>0.30380000000000001</c:v>
                </c:pt>
                <c:pt idx="8">
                  <c:v>0.3377</c:v>
                </c:pt>
                <c:pt idx="9">
                  <c:v>0.28339999999999999</c:v>
                </c:pt>
                <c:pt idx="10">
                  <c:v>0.39900000000000002</c:v>
                </c:pt>
                <c:pt idx="11">
                  <c:v>0.41310000000000002</c:v>
                </c:pt>
                <c:pt idx="12">
                  <c:v>0.40699999999999997</c:v>
                </c:pt>
                <c:pt idx="13">
                  <c:v>0.37859999999999999</c:v>
                </c:pt>
                <c:pt idx="14">
                  <c:v>0.3881</c:v>
                </c:pt>
                <c:pt idx="15">
                  <c:v>0.47599999999999998</c:v>
                </c:pt>
                <c:pt idx="16">
                  <c:v>0.4274</c:v>
                </c:pt>
                <c:pt idx="17">
                  <c:v>0.4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7F-49C8-B8D5-5085D4622AA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  <c:pt idx="0" formatCode="0%">
                  <c:v>5.8999999999999999E-3</c:v>
                </c:pt>
                <c:pt idx="2" formatCode="0%">
                  <c:v>1.2800000000000001E-2</c:v>
                </c:pt>
                <c:pt idx="3" formatCode="0.0%">
                  <c:v>4.4000000000000003E-3</c:v>
                </c:pt>
                <c:pt idx="4" formatCode="0%">
                  <c:v>6.8999999999999999E-3</c:v>
                </c:pt>
                <c:pt idx="5" formatCode="0%">
                  <c:v>1.2800000000000001E-2</c:v>
                </c:pt>
                <c:pt idx="6" formatCode="0%">
                  <c:v>2.1299999999999999E-2</c:v>
                </c:pt>
                <c:pt idx="7" formatCode="0%">
                  <c:v>6.8999999999999999E-3</c:v>
                </c:pt>
                <c:pt idx="8" formatCode="0%">
                  <c:v>1.03E-2</c:v>
                </c:pt>
                <c:pt idx="9" formatCode="0%">
                  <c:v>2.5499999999999998E-2</c:v>
                </c:pt>
                <c:pt idx="10" formatCode="0%">
                  <c:v>3.1399999999999997E-2</c:v>
                </c:pt>
                <c:pt idx="11" formatCode="0%">
                  <c:v>1.1299999999999999E-2</c:v>
                </c:pt>
                <c:pt idx="12" formatCode="0%">
                  <c:v>4.1500000000000002E-2</c:v>
                </c:pt>
                <c:pt idx="13" formatCode="0%">
                  <c:v>3.7499999999999999E-2</c:v>
                </c:pt>
                <c:pt idx="14" formatCode="0%">
                  <c:v>8.1799999999999998E-2</c:v>
                </c:pt>
                <c:pt idx="15" formatCode="0%">
                  <c:v>7.85E-2</c:v>
                </c:pt>
                <c:pt idx="16" formatCode="0%">
                  <c:v>8.4599999999999995E-2</c:v>
                </c:pt>
                <c:pt idx="17" formatCode="0%">
                  <c:v>0.163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7F-49C8-B8D5-5085D4622AA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0%</c:formatCode>
                <c:ptCount val="18"/>
                <c:pt idx="1">
                  <c:v>6.8999999999999999E-3</c:v>
                </c:pt>
                <c:pt idx="5">
                  <c:v>6.8999999999999999E-3</c:v>
                </c:pt>
                <c:pt idx="10">
                  <c:v>6.8999999999999999E-3</c:v>
                </c:pt>
                <c:pt idx="11">
                  <c:v>8.5000000000000006E-3</c:v>
                </c:pt>
                <c:pt idx="12">
                  <c:v>5.8999999999999999E-3</c:v>
                </c:pt>
                <c:pt idx="15">
                  <c:v>5.3E-3</c:v>
                </c:pt>
                <c:pt idx="17">
                  <c:v>1.5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7F-49C8-B8D5-5085D4622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860-409A-BEC4-9CA9D09CDB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91910000000000003</c:v>
                </c:pt>
                <c:pt idx="1">
                  <c:v>0.9163</c:v>
                </c:pt>
                <c:pt idx="2">
                  <c:v>0.86499999999999999</c:v>
                </c:pt>
                <c:pt idx="3">
                  <c:v>0.82609999999999995</c:v>
                </c:pt>
                <c:pt idx="4">
                  <c:v>0.85650000000000004</c:v>
                </c:pt>
                <c:pt idx="5">
                  <c:v>0.75490000000000002</c:v>
                </c:pt>
                <c:pt idx="6">
                  <c:v>0.71209999999999996</c:v>
                </c:pt>
                <c:pt idx="7">
                  <c:v>0.66579999999999995</c:v>
                </c:pt>
                <c:pt idx="8">
                  <c:v>0.51139999999999997</c:v>
                </c:pt>
                <c:pt idx="9">
                  <c:v>0.47489999999999999</c:v>
                </c:pt>
                <c:pt idx="10">
                  <c:v>0.51500000000000001</c:v>
                </c:pt>
                <c:pt idx="11">
                  <c:v>0.4904</c:v>
                </c:pt>
                <c:pt idx="12">
                  <c:v>0.44400000000000001</c:v>
                </c:pt>
                <c:pt idx="13">
                  <c:v>0.30869999999999997</c:v>
                </c:pt>
                <c:pt idx="14">
                  <c:v>0.36209999999999998</c:v>
                </c:pt>
                <c:pt idx="15">
                  <c:v>0.37740000000000001</c:v>
                </c:pt>
                <c:pt idx="16">
                  <c:v>0.30909999999999999</c:v>
                </c:pt>
                <c:pt idx="17">
                  <c:v>0.192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60-409A-BEC4-9CA9D09CDB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8.392976334450194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44-4C76-877C-72ACA12FAFC6}"/>
                </c:ext>
              </c:extLst>
            </c:dLbl>
            <c:dLbl>
              <c:idx val="3"/>
              <c:layout>
                <c:manualLayout>
                  <c:x val="-9.791805723525226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860-409A-BEC4-9CA9D09CDB45}"/>
                </c:ext>
              </c:extLst>
            </c:dLbl>
            <c:dLbl>
              <c:idx val="4"/>
              <c:layout>
                <c:manualLayout>
                  <c:x val="-8.3929763344501945E-2"/>
                  <c:y val="2.4582104230983659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860-409A-BEC4-9CA9D09CDB45}"/>
                </c:ext>
              </c:extLst>
            </c:dLbl>
            <c:dLbl>
              <c:idx val="5"/>
              <c:layout>
                <c:manualLayout>
                  <c:x val="-6.9941469453751612E-2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44-4C76-877C-72ACA12FAFC6}"/>
                </c:ext>
              </c:extLst>
            </c:dLbl>
            <c:dLbl>
              <c:idx val="6"/>
              <c:layout>
                <c:manualLayout>
                  <c:x val="-3.4970734726875806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860-409A-BEC4-9CA9D09CDB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8.09E-2</c:v>
                </c:pt>
                <c:pt idx="1">
                  <c:v>7.51E-2</c:v>
                </c:pt>
                <c:pt idx="2">
                  <c:v>0.13500000000000001</c:v>
                </c:pt>
                <c:pt idx="3">
                  <c:v>0.17150000000000001</c:v>
                </c:pt>
                <c:pt idx="4">
                  <c:v>0.13469999999999999</c:v>
                </c:pt>
                <c:pt idx="5">
                  <c:v>0.24210000000000001</c:v>
                </c:pt>
                <c:pt idx="6">
                  <c:v>0.26329999999999998</c:v>
                </c:pt>
                <c:pt idx="7">
                  <c:v>0.33069999999999999</c:v>
                </c:pt>
                <c:pt idx="8">
                  <c:v>0.45500000000000002</c:v>
                </c:pt>
                <c:pt idx="9">
                  <c:v>0.48110000000000003</c:v>
                </c:pt>
                <c:pt idx="10">
                  <c:v>0.45579999999999998</c:v>
                </c:pt>
                <c:pt idx="11">
                  <c:v>0.46679999999999999</c:v>
                </c:pt>
                <c:pt idx="12">
                  <c:v>0.501</c:v>
                </c:pt>
                <c:pt idx="13">
                  <c:v>0.61480000000000001</c:v>
                </c:pt>
                <c:pt idx="14">
                  <c:v>0.52200000000000002</c:v>
                </c:pt>
                <c:pt idx="15">
                  <c:v>0.51919999999999999</c:v>
                </c:pt>
                <c:pt idx="16">
                  <c:v>0.55559999999999998</c:v>
                </c:pt>
                <c:pt idx="17">
                  <c:v>0.6178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60-409A-BEC4-9CA9D09CDB4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1">
                  <c:v>8.5000000000000006E-3</c:v>
                </c:pt>
                <c:pt idx="3" formatCode="0.0%">
                  <c:v>2.3999999999999998E-3</c:v>
                </c:pt>
                <c:pt idx="4">
                  <c:v>8.8000000000000005E-3</c:v>
                </c:pt>
                <c:pt idx="5" formatCode="0.0%">
                  <c:v>3.0000000000000001E-3</c:v>
                </c:pt>
                <c:pt idx="6">
                  <c:v>1.8599999999999998E-2</c:v>
                </c:pt>
                <c:pt idx="8">
                  <c:v>3.3599999999999998E-2</c:v>
                </c:pt>
                <c:pt idx="9">
                  <c:v>4.1799999999999997E-2</c:v>
                </c:pt>
                <c:pt idx="10">
                  <c:v>2.92E-2</c:v>
                </c:pt>
                <c:pt idx="11">
                  <c:v>3.9800000000000002E-2</c:v>
                </c:pt>
                <c:pt idx="12">
                  <c:v>5.16E-2</c:v>
                </c:pt>
                <c:pt idx="13">
                  <c:v>7.6399999999999996E-2</c:v>
                </c:pt>
                <c:pt idx="14">
                  <c:v>0.1159</c:v>
                </c:pt>
                <c:pt idx="15">
                  <c:v>0.10340000000000001</c:v>
                </c:pt>
                <c:pt idx="16">
                  <c:v>0.1323</c:v>
                </c:pt>
                <c:pt idx="17">
                  <c:v>0.190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60-409A-BEC4-9CA9D09CDB4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6" formatCode="0%">
                  <c:v>6.1000000000000004E-3</c:v>
                </c:pt>
                <c:pt idx="7" formatCode="0.0%">
                  <c:v>3.5000000000000001E-3</c:v>
                </c:pt>
                <c:pt idx="9" formatCode="0.0%">
                  <c:v>2.2000000000000001E-3</c:v>
                </c:pt>
                <c:pt idx="11" formatCode="0.0%">
                  <c:v>3.0000000000000001E-3</c:v>
                </c:pt>
                <c:pt idx="12" formatCode="0.0%">
                  <c:v>3.5000000000000001E-3</c:v>
                </c:pt>
                <c:pt idx="16" formatCode="0.0%">
                  <c:v>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60-409A-BEC4-9CA9D09CD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Загалом</c:v>
                </c:pt>
              </c:strCache>
            </c:strRef>
          </c:tx>
          <c:spPr>
            <a:ln w="12700">
              <a:solidFill>
                <a:srgbClr val="2E6861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2E6861"/>
              </a:solidFill>
              <a:ln w="12700" cap="rnd">
                <a:solidFill>
                  <a:srgbClr val="2E6861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2E686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2269535706275798</c:v>
                </c:pt>
                <c:pt idx="1">
                  <c:v>4.7450880842237169</c:v>
                </c:pt>
                <c:pt idx="2">
                  <c:v>5.9466606059950244</c:v>
                </c:pt>
                <c:pt idx="3">
                  <c:v>5.4704702247323951</c:v>
                </c:pt>
                <c:pt idx="4">
                  <c:v>5.961459643570751</c:v>
                </c:pt>
                <c:pt idx="5">
                  <c:v>5.9012696389117307</c:v>
                </c:pt>
                <c:pt idx="6">
                  <c:v>6.2411171450691549</c:v>
                </c:pt>
                <c:pt idx="7">
                  <c:v>4.5304335353053178</c:v>
                </c:pt>
                <c:pt idx="8">
                  <c:v>4.8392240691452111</c:v>
                </c:pt>
                <c:pt idx="9">
                  <c:v>6.2730869635896802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966E-468C-89B8-777A05AE0372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988-43CC-A812-1FFC2AB025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8-966E-468C-89B8-777A05AE03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9-966E-468C-89B8-777A05AE0372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F80-4972-BD8B-BCD87B268DB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F80-4972-BD8B-BCD87B268DB4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43020000000000003</c:v>
                </c:pt>
                <c:pt idx="1">
                  <c:v>0.42970000000000003</c:v>
                </c:pt>
                <c:pt idx="2">
                  <c:v>0.1024</c:v>
                </c:pt>
                <c:pt idx="3">
                  <c:v>2.5499999999999998E-2</c:v>
                </c:pt>
                <c:pt idx="4">
                  <c:v>1.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80-4972-BD8B-BCD87B268D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Планують виїзд за кордон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0619650033199015</c:v>
                </c:pt>
                <c:pt idx="1">
                  <c:v>4.7307392225327796</c:v>
                </c:pt>
                <c:pt idx="2">
                  <c:v>5.927203663290193</c:v>
                </c:pt>
                <c:pt idx="3">
                  <c:v>5.4050445898944606</c:v>
                </c:pt>
                <c:pt idx="4">
                  <c:v>5.9748416365025268</c:v>
                </c:pt>
                <c:pt idx="5">
                  <c:v>5.9282106848836627</c:v>
                </c:pt>
                <c:pt idx="6">
                  <c:v>6.1711266028713911</c:v>
                </c:pt>
                <c:pt idx="7">
                  <c:v>4.2629387826614931</c:v>
                </c:pt>
                <c:pt idx="8">
                  <c:v>4.2791884326772882</c:v>
                </c:pt>
                <c:pt idx="9">
                  <c:v>6.0142106975851197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C62E-4D50-B101-8D2551259F4A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62E-4D50-B101-8D2551259F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C62E-4D50-B101-8D2551259F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C62E-4D50-B101-8D2551259F4A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2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Не впевнені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602735551178414</c:v>
                </c:pt>
                <c:pt idx="1">
                  <c:v>5.1615457030237719</c:v>
                </c:pt>
                <c:pt idx="2">
                  <c:v>6.0657705326269777</c:v>
                </c:pt>
                <c:pt idx="3">
                  <c:v>5.8992879801913345</c:v>
                </c:pt>
                <c:pt idx="4">
                  <c:v>5.9773282091430264</c:v>
                </c:pt>
                <c:pt idx="5">
                  <c:v>5.8951612344378788</c:v>
                </c:pt>
                <c:pt idx="6">
                  <c:v>6.1993841730353418</c:v>
                </c:pt>
                <c:pt idx="7">
                  <c:v>4.8907345995210072</c:v>
                </c:pt>
                <c:pt idx="8">
                  <c:v>5.0414952041790242</c:v>
                </c:pt>
                <c:pt idx="9">
                  <c:v>6.2938917077372354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008-44CA-ADE8-19E24987F7D4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008-44CA-ADE8-19E24987F7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F008-44CA-ADE8-19E24987F7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F008-44CA-ADE8-19E24987F7D4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2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Не планують виїзд за кордон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0717637575752041</c:v>
                </c:pt>
                <c:pt idx="1">
                  <c:v>4.5362050296720504</c:v>
                </c:pt>
                <c:pt idx="2">
                  <c:v>5.8904019129641965</c:v>
                </c:pt>
                <c:pt idx="3">
                  <c:v>5.2662516670408177</c:v>
                </c:pt>
                <c:pt idx="4">
                  <c:v>5.9505259074946171</c:v>
                </c:pt>
                <c:pt idx="5">
                  <c:v>5.8985702525474979</c:v>
                </c:pt>
                <c:pt idx="6">
                  <c:v>6.2773623564115431</c:v>
                </c:pt>
                <c:pt idx="7">
                  <c:v>4.4051656239675587</c:v>
                </c:pt>
                <c:pt idx="8">
                  <c:v>4.8559997330065618</c:v>
                </c:pt>
                <c:pt idx="9">
                  <c:v>6.3182545435288517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3965-44D0-8170-A5174C366B7F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3965-44D0-8170-A5174C366B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3965-44D0-8170-A5174C366B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3965-44D0-8170-A5174C366B7F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2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90-41E9-BDE5-6DF2DB8BA384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B90-41E9-BDE5-6DF2DB8BA384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90-41E9-BDE5-6DF2DB8BA384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B90-41E9-BDE5-6DF2DB8BA384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90-41E9-BDE5-6DF2DB8BA384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B90-41E9-BDE5-6DF2DB8BA384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B90-41E9-BDE5-6DF2DB8BA384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B90-41E9-BDE5-6DF2DB8BA384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B90-41E9-BDE5-6DF2DB8BA384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B90-41E9-BDE5-6DF2DB8BA384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B90-41E9-BDE5-6DF2DB8BA384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B90-41E9-BDE5-6DF2DB8BA384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B90-41E9-BDE5-6DF2DB8BA384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B90-41E9-BDE5-6DF2DB8BA384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B90-41E9-BDE5-6DF2DB8BA384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2E686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39045620566328604</c:v>
                </c:pt>
                <c:pt idx="1">
                  <c:v>-0.87339426665949071</c:v>
                </c:pt>
                <c:pt idx="2">
                  <c:v>0.32925082970415209</c:v>
                </c:pt>
                <c:pt idx="3">
                  <c:v>-0.14632217899725752</c:v>
                </c:pt>
                <c:pt idx="4">
                  <c:v>0.34404986727987652</c:v>
                </c:pt>
                <c:pt idx="5">
                  <c:v>0.2838598626208636</c:v>
                </c:pt>
                <c:pt idx="6">
                  <c:v>0.62370736877828414</c:v>
                </c:pt>
                <c:pt idx="7">
                  <c:v>-1.0869762409855512</c:v>
                </c:pt>
                <c:pt idx="8">
                  <c:v>-0.77861158483975768</c:v>
                </c:pt>
                <c:pt idx="9">
                  <c:v>0.65567718729879998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39045620566328604</c:v>
                </c:pt>
                <c:pt idx="1">
                  <c:v>-0.87339426665949071</c:v>
                </c:pt>
                <c:pt idx="2">
                  <c:v>0.32925082970415209</c:v>
                </c:pt>
                <c:pt idx="3">
                  <c:v>-0.14632217899725752</c:v>
                </c:pt>
                <c:pt idx="4">
                  <c:v>0.34404986727987652</c:v>
                </c:pt>
                <c:pt idx="5">
                  <c:v>0.2838598626208636</c:v>
                </c:pt>
                <c:pt idx="6">
                  <c:v>0.62370736877828414</c:v>
                </c:pt>
                <c:pt idx="7">
                  <c:v>-1.0869762409855512</c:v>
                </c:pt>
                <c:pt idx="8">
                  <c:v>-0.77861158483975768</c:v>
                </c:pt>
                <c:pt idx="9">
                  <c:v>0.6556771872987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90-41E9-BDE5-6DF2DB8BA3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2">
    <c:autoUpdate val="0"/>
  </c:externalData>
</c:chartSpace>
</file>

<file path=ppt/charts/chart2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57C-44D5-BD5D-BBBC5DFB0078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57C-44D5-BD5D-BBBC5DFB0078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57C-44D5-BD5D-BBBC5DFB0078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57C-44D5-BD5D-BBBC5DFB0078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57C-44D5-BD5D-BBBC5DFB0078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657C-44D5-BD5D-BBBC5DFB0078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657C-44D5-BD5D-BBBC5DFB0078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657C-44D5-BD5D-BBBC5DFB0078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657C-44D5-BD5D-BBBC5DFB0078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657C-44D5-BD5D-BBBC5DFB0078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657C-44D5-BD5D-BBBC5DFB0078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657C-44D5-BD5D-BBBC5DFB0078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657C-44D5-BD5D-BBBC5DFB0078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657C-44D5-BD5D-BBBC5DFB0078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657C-44D5-BD5D-BBBC5DFB0078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4380876097971616</c:v>
                </c:pt>
                <c:pt idx="1">
                  <c:v>-0.76931339058428561</c:v>
                </c:pt>
                <c:pt idx="2">
                  <c:v>0.42715105017313015</c:v>
                </c:pt>
                <c:pt idx="3">
                  <c:v>-9.4521906566501515E-2</c:v>
                </c:pt>
                <c:pt idx="4">
                  <c:v>0.47478902338546386</c:v>
                </c:pt>
                <c:pt idx="5">
                  <c:v>0.42815807176660042</c:v>
                </c:pt>
                <c:pt idx="6">
                  <c:v>0.67107398975432875</c:v>
                </c:pt>
                <c:pt idx="7">
                  <c:v>-1.2371138304555693</c:v>
                </c:pt>
                <c:pt idx="8">
                  <c:v>-1.2260255155590545</c:v>
                </c:pt>
                <c:pt idx="9">
                  <c:v>0.51415808446805822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4380876097971616</c:v>
                </c:pt>
                <c:pt idx="1">
                  <c:v>-0.76931339058428561</c:v>
                </c:pt>
                <c:pt idx="2">
                  <c:v>0.42715105017313015</c:v>
                </c:pt>
                <c:pt idx="3">
                  <c:v>-9.4521906566501515E-2</c:v>
                </c:pt>
                <c:pt idx="4">
                  <c:v>0.47478902338546386</c:v>
                </c:pt>
                <c:pt idx="5">
                  <c:v>0.42815807176660042</c:v>
                </c:pt>
                <c:pt idx="6">
                  <c:v>0.67107398975432875</c:v>
                </c:pt>
                <c:pt idx="7">
                  <c:v>-1.2371138304555693</c:v>
                </c:pt>
                <c:pt idx="8">
                  <c:v>-1.2260255155590545</c:v>
                </c:pt>
                <c:pt idx="9">
                  <c:v>0.514158084468058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7C-44D5-BD5D-BBBC5DFB00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2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35-44B9-8662-F891AA2D3991}"/>
              </c:ext>
            </c:extLst>
          </c:dPt>
          <c:dPt>
            <c:idx val="3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535-44B9-8662-F891AA2D3991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535-44B9-8662-F891AA2D3991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535-44B9-8662-F891AA2D3991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535-44B9-8662-F891AA2D3991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35-44B9-8662-F891AA2D3991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9535-44B9-8662-F891AA2D3991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9535-44B9-8662-F891AA2D3991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9535-44B9-8662-F891AA2D3991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9535-44B9-8662-F891AA2D3991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9535-44B9-8662-F891AA2D3991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9535-44B9-8662-F891AA2D3991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9535-44B9-8662-F891AA2D3991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9535-44B9-8662-F891AA2D3991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9535-44B9-8662-F891AA2D3991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9535-44B9-8662-F891AA2D3991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16791115749816846</c:v>
                </c:pt>
                <c:pt idx="1">
                  <c:v>-0.60910100565280922</c:v>
                </c:pt>
                <c:pt idx="2">
                  <c:v>0.29512382395039771</c:v>
                </c:pt>
                <c:pt idx="3">
                  <c:v>0.12864127151475196</c:v>
                </c:pt>
                <c:pt idx="4">
                  <c:v>0.20668150046644368</c:v>
                </c:pt>
                <c:pt idx="5">
                  <c:v>0.12451452576129722</c:v>
                </c:pt>
                <c:pt idx="6">
                  <c:v>0.42873746435876092</c:v>
                </c:pt>
                <c:pt idx="7">
                  <c:v>-0.87991210915557294</c:v>
                </c:pt>
                <c:pt idx="8">
                  <c:v>-0.7285543322330299</c:v>
                </c:pt>
                <c:pt idx="9">
                  <c:v>0.52324499906065303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16791115749816846</c:v>
                </c:pt>
                <c:pt idx="1">
                  <c:v>-0.60910100565280922</c:v>
                </c:pt>
                <c:pt idx="2">
                  <c:v>0.29512382395039771</c:v>
                </c:pt>
                <c:pt idx="3">
                  <c:v>0.12864127151475196</c:v>
                </c:pt>
                <c:pt idx="4">
                  <c:v>0.20668150046644368</c:v>
                </c:pt>
                <c:pt idx="5">
                  <c:v>0.12451452576129722</c:v>
                </c:pt>
                <c:pt idx="6">
                  <c:v>0.42873746435876092</c:v>
                </c:pt>
                <c:pt idx="7">
                  <c:v>-0.87991210915557294</c:v>
                </c:pt>
                <c:pt idx="8">
                  <c:v>-0.7285543322330299</c:v>
                </c:pt>
                <c:pt idx="9">
                  <c:v>0.52324499906065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35-44B9-8662-F891AA2D39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2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28-40BF-9CCF-9E1956AAABA0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528-40BF-9CCF-9E1956AAABA0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28-40BF-9CCF-9E1956AAABA0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528-40BF-9CCF-9E1956AAABA0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528-40BF-9CCF-9E1956AAABA0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4528-40BF-9CCF-9E1956AAABA0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4528-40BF-9CCF-9E1956AAABA0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4528-40BF-9CCF-9E1956AAABA0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4528-40BF-9CCF-9E1956AAABA0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4528-40BF-9CCF-9E1956AAABA0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4528-40BF-9CCF-9E1956AAABA0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4528-40BF-9CCF-9E1956AAABA0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4528-40BF-9CCF-9E1956AAABA0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4528-40BF-9CCF-9E1956AAABA0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4528-40BF-9CCF-9E1956AAABA0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49314226274520506</c:v>
                </c:pt>
                <c:pt idx="1">
                  <c:v>-1.0303937606119915</c:v>
                </c:pt>
                <c:pt idx="2">
                  <c:v>0.32549589264378792</c:v>
                </c:pt>
                <c:pt idx="3">
                  <c:v>-0.29716618499537589</c:v>
                </c:pt>
                <c:pt idx="4">
                  <c:v>0.38561988717421164</c:v>
                </c:pt>
                <c:pt idx="5">
                  <c:v>0.33366423222709102</c:v>
                </c:pt>
                <c:pt idx="6">
                  <c:v>0.71245633609113523</c:v>
                </c:pt>
                <c:pt idx="7">
                  <c:v>-1.1597403963528483</c:v>
                </c:pt>
                <c:pt idx="8">
                  <c:v>-0.70890628731384686</c:v>
                </c:pt>
                <c:pt idx="9">
                  <c:v>0.75334852320844881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49314226274520506</c:v>
                </c:pt>
                <c:pt idx="1">
                  <c:v>-1.0303937606119915</c:v>
                </c:pt>
                <c:pt idx="2">
                  <c:v>0.32549589264378792</c:v>
                </c:pt>
                <c:pt idx="3">
                  <c:v>-0.29716618499537589</c:v>
                </c:pt>
                <c:pt idx="4">
                  <c:v>0.38561988717421164</c:v>
                </c:pt>
                <c:pt idx="5">
                  <c:v>0.33366423222709102</c:v>
                </c:pt>
                <c:pt idx="6">
                  <c:v>0.71245633609113523</c:v>
                </c:pt>
                <c:pt idx="7">
                  <c:v>-1.1597403963528483</c:v>
                </c:pt>
                <c:pt idx="8">
                  <c:v>-0.70890628731384686</c:v>
                </c:pt>
                <c:pt idx="9">
                  <c:v>0.75334852320844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28-40BF-9CCF-9E1956AAA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2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78620000000000001</c:v>
                </c:pt>
                <c:pt idx="1">
                  <c:v>0.52180000000000004</c:v>
                </c:pt>
                <c:pt idx="2">
                  <c:v>0.51629999999999998</c:v>
                </c:pt>
                <c:pt idx="3">
                  <c:v>0.44740000000000002</c:v>
                </c:pt>
                <c:pt idx="4">
                  <c:v>0.38600000000000001</c:v>
                </c:pt>
                <c:pt idx="5">
                  <c:v>0.23089999999999999</c:v>
                </c:pt>
                <c:pt idx="6">
                  <c:v>0.22969999999999999</c:v>
                </c:pt>
                <c:pt idx="7">
                  <c:v>0.21079999999999999</c:v>
                </c:pt>
                <c:pt idx="8">
                  <c:v>0.15959999999999999</c:v>
                </c:pt>
                <c:pt idx="9">
                  <c:v>0.13569999999999999</c:v>
                </c:pt>
                <c:pt idx="10">
                  <c:v>0.10249999999999999</c:v>
                </c:pt>
                <c:pt idx="11">
                  <c:v>9.0300000000000005E-2</c:v>
                </c:pt>
                <c:pt idx="12">
                  <c:v>3.13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84570000000000001</c:v>
                </c:pt>
                <c:pt idx="1">
                  <c:v>0.4793</c:v>
                </c:pt>
                <c:pt idx="2">
                  <c:v>0.51100000000000001</c:v>
                </c:pt>
                <c:pt idx="3">
                  <c:v>0.32500000000000001</c:v>
                </c:pt>
                <c:pt idx="4">
                  <c:v>0.38469999999999999</c:v>
                </c:pt>
                <c:pt idx="5">
                  <c:v>0.313</c:v>
                </c:pt>
                <c:pt idx="6">
                  <c:v>0.2611</c:v>
                </c:pt>
                <c:pt idx="7">
                  <c:v>0.1938</c:v>
                </c:pt>
                <c:pt idx="8">
                  <c:v>0.15029999999999999</c:v>
                </c:pt>
                <c:pt idx="9">
                  <c:v>0.2</c:v>
                </c:pt>
                <c:pt idx="10">
                  <c:v>0.18990000000000001</c:v>
                </c:pt>
                <c:pt idx="11">
                  <c:v>7.9799999999999996E-2</c:v>
                </c:pt>
                <c:pt idx="12">
                  <c:v>4.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68330000000000002</c:v>
                </c:pt>
                <c:pt idx="1">
                  <c:v>0.4899</c:v>
                </c:pt>
                <c:pt idx="2">
                  <c:v>0.45479999999999998</c:v>
                </c:pt>
                <c:pt idx="3">
                  <c:v>0.48670000000000002</c:v>
                </c:pt>
                <c:pt idx="4">
                  <c:v>0.30009999999999998</c:v>
                </c:pt>
                <c:pt idx="5">
                  <c:v>0.31850000000000001</c:v>
                </c:pt>
                <c:pt idx="6">
                  <c:v>0.193</c:v>
                </c:pt>
                <c:pt idx="7">
                  <c:v>0.18410000000000001</c:v>
                </c:pt>
                <c:pt idx="8">
                  <c:v>0.16259999999999999</c:v>
                </c:pt>
                <c:pt idx="9">
                  <c:v>0.17180000000000001</c:v>
                </c:pt>
                <c:pt idx="10">
                  <c:v>0.11559999999999999</c:v>
                </c:pt>
                <c:pt idx="11">
                  <c:v>0.14729999999999999</c:v>
                </c:pt>
                <c:pt idx="12">
                  <c:v>3.5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9</c:f>
              <c:strCache>
                <c:ptCount val="8"/>
                <c:pt idx="0">
                  <c:v>місто Вінниця</c:v>
                </c:pt>
                <c:pt idx="1">
                  <c:v>село Вінницькі Хутори</c:v>
                </c:pt>
                <c:pt idx="2">
                  <c:v>село Щітки</c:v>
                </c:pt>
                <c:pt idx="3">
                  <c:v>селище Десна</c:v>
                </c:pt>
                <c:pt idx="4">
                  <c:v>село Писарівка</c:v>
                </c:pt>
                <c:pt idx="5">
                  <c:v>село Малі Крушлинці</c:v>
                </c:pt>
                <c:pt idx="6">
                  <c:v>село Гавришівка</c:v>
                </c:pt>
                <c:pt idx="7">
                  <c:v>село Великі Крушлинці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0.96030000000000004</c:v>
                </c:pt>
                <c:pt idx="1">
                  <c:v>2.93E-2</c:v>
                </c:pt>
                <c:pt idx="2">
                  <c:v>0</c:v>
                </c:pt>
                <c:pt idx="3">
                  <c:v>1.04E-2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E9-4C57-BDB5-EF792BA2AF2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E9-4C57-BDB5-EF792BA2AF2F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еодружений / незаміжня</c:v>
                </c:pt>
                <c:pt idx="1">
                  <c:v>В офіційно зареєстрованому шлюбі</c:v>
                </c:pt>
                <c:pt idx="2">
                  <c:v>Живемо разом, але без реєстрації</c:v>
                </c:pt>
                <c:pt idx="3">
                  <c:v>Розлучений /на, не живемо разом</c:v>
                </c:pt>
                <c:pt idx="4">
                  <c:v>Інш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19850000000000001</c:v>
                </c:pt>
                <c:pt idx="1">
                  <c:v>0.66930000000000001</c:v>
                </c:pt>
                <c:pt idx="2">
                  <c:v>8.0399999999999999E-2</c:v>
                </c:pt>
                <c:pt idx="3">
                  <c:v>5.1799999999999999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E9-4C57-BDB5-EF792BA2A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82599999999999996</c:v>
                </c:pt>
                <c:pt idx="1">
                  <c:v>0.54769999999999996</c:v>
                </c:pt>
                <c:pt idx="2">
                  <c:v>0.54920000000000002</c:v>
                </c:pt>
                <c:pt idx="3">
                  <c:v>0.45440000000000003</c:v>
                </c:pt>
                <c:pt idx="4">
                  <c:v>0.43070000000000003</c:v>
                </c:pt>
                <c:pt idx="5">
                  <c:v>0.16739999999999999</c:v>
                </c:pt>
                <c:pt idx="6">
                  <c:v>0.24160000000000001</c:v>
                </c:pt>
                <c:pt idx="7">
                  <c:v>0.22850000000000001</c:v>
                </c:pt>
                <c:pt idx="8">
                  <c:v>0.16009999999999999</c:v>
                </c:pt>
                <c:pt idx="9">
                  <c:v>0.1027</c:v>
                </c:pt>
                <c:pt idx="10">
                  <c:v>7.6300000000000007E-2</c:v>
                </c:pt>
                <c:pt idx="11">
                  <c:v>6.3200000000000006E-2</c:v>
                </c:pt>
                <c:pt idx="12">
                  <c:v>2.65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78620000000000001</c:v>
                </c:pt>
                <c:pt idx="1">
                  <c:v>0.52180000000000004</c:v>
                </c:pt>
                <c:pt idx="2">
                  <c:v>0.51629999999999998</c:v>
                </c:pt>
                <c:pt idx="3">
                  <c:v>0.44740000000000002</c:v>
                </c:pt>
                <c:pt idx="4">
                  <c:v>0.38600000000000001</c:v>
                </c:pt>
                <c:pt idx="5">
                  <c:v>0.23089999999999999</c:v>
                </c:pt>
                <c:pt idx="6">
                  <c:v>0.22969999999999999</c:v>
                </c:pt>
                <c:pt idx="7">
                  <c:v>0.21079999999999999</c:v>
                </c:pt>
                <c:pt idx="8">
                  <c:v>0.15959999999999999</c:v>
                </c:pt>
                <c:pt idx="9">
                  <c:v>0.13569999999999999</c:v>
                </c:pt>
                <c:pt idx="10">
                  <c:v>0.10249999999999999</c:v>
                </c:pt>
                <c:pt idx="11">
                  <c:v>9.0300000000000005E-2</c:v>
                </c:pt>
                <c:pt idx="12">
                  <c:v>3.13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7903</c:v>
                </c:pt>
                <c:pt idx="1">
                  <c:v>0.34770000000000001</c:v>
                </c:pt>
                <c:pt idx="2">
                  <c:v>0.54690000000000005</c:v>
                </c:pt>
                <c:pt idx="3">
                  <c:v>0.32740000000000002</c:v>
                </c:pt>
                <c:pt idx="4">
                  <c:v>0.4148</c:v>
                </c:pt>
                <c:pt idx="5">
                  <c:v>0.2762</c:v>
                </c:pt>
                <c:pt idx="6">
                  <c:v>0.2414</c:v>
                </c:pt>
                <c:pt idx="7">
                  <c:v>0.18</c:v>
                </c:pt>
                <c:pt idx="8">
                  <c:v>0.1188</c:v>
                </c:pt>
                <c:pt idx="9">
                  <c:v>0.17530000000000001</c:v>
                </c:pt>
                <c:pt idx="10">
                  <c:v>0.125</c:v>
                </c:pt>
                <c:pt idx="11">
                  <c:v>2.3699999999999999E-2</c:v>
                </c:pt>
                <c:pt idx="12">
                  <c:v>7.3499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6925</c:v>
                </c:pt>
                <c:pt idx="1">
                  <c:v>0.50960000000000005</c:v>
                </c:pt>
                <c:pt idx="2">
                  <c:v>0.43959999999999999</c:v>
                </c:pt>
                <c:pt idx="3">
                  <c:v>0.49590000000000001</c:v>
                </c:pt>
                <c:pt idx="4">
                  <c:v>0.28839999999999999</c:v>
                </c:pt>
                <c:pt idx="5">
                  <c:v>0.34739999999999999</c:v>
                </c:pt>
                <c:pt idx="6">
                  <c:v>0.17510000000000001</c:v>
                </c:pt>
                <c:pt idx="7">
                  <c:v>0.1711</c:v>
                </c:pt>
                <c:pt idx="8">
                  <c:v>0.15939999999999999</c:v>
                </c:pt>
                <c:pt idx="9">
                  <c:v>0.18809999999999999</c:v>
                </c:pt>
                <c:pt idx="10">
                  <c:v>0.127</c:v>
                </c:pt>
                <c:pt idx="11">
                  <c:v>0.15359999999999999</c:v>
                </c:pt>
                <c:pt idx="12">
                  <c:v>3.16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83279999999999998</c:v>
                </c:pt>
                <c:pt idx="1">
                  <c:v>0.56540000000000001</c:v>
                </c:pt>
                <c:pt idx="2">
                  <c:v>0.54859999999999998</c:v>
                </c:pt>
                <c:pt idx="3">
                  <c:v>0.4486</c:v>
                </c:pt>
                <c:pt idx="4">
                  <c:v>0.4294</c:v>
                </c:pt>
                <c:pt idx="5">
                  <c:v>0.16209999999999999</c:v>
                </c:pt>
                <c:pt idx="6">
                  <c:v>0.25480000000000003</c:v>
                </c:pt>
                <c:pt idx="7">
                  <c:v>0.23760000000000001</c:v>
                </c:pt>
                <c:pt idx="8">
                  <c:v>0.16839999999999999</c:v>
                </c:pt>
                <c:pt idx="9">
                  <c:v>0.10059999999999999</c:v>
                </c:pt>
                <c:pt idx="10">
                  <c:v>8.5300000000000001E-2</c:v>
                </c:pt>
                <c:pt idx="11">
                  <c:v>7.2599999999999998E-2</c:v>
                </c:pt>
                <c:pt idx="12">
                  <c:v>2.1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1720000000000002</c:v>
                </c:pt>
                <c:pt idx="1">
                  <c:v>0.90939999999999999</c:v>
                </c:pt>
                <c:pt idx="2">
                  <c:v>0.84040000000000004</c:v>
                </c:pt>
                <c:pt idx="3">
                  <c:v>0.7994</c:v>
                </c:pt>
                <c:pt idx="4">
                  <c:v>0.7883</c:v>
                </c:pt>
                <c:pt idx="5">
                  <c:v>0.75509999999999999</c:v>
                </c:pt>
                <c:pt idx="6">
                  <c:v>0.7258</c:v>
                </c:pt>
                <c:pt idx="7">
                  <c:v>0.71960000000000002</c:v>
                </c:pt>
                <c:pt idx="8">
                  <c:v>0.69850000000000001</c:v>
                </c:pt>
                <c:pt idx="9">
                  <c:v>0.69389999999999996</c:v>
                </c:pt>
                <c:pt idx="10">
                  <c:v>0.63859999999999995</c:v>
                </c:pt>
                <c:pt idx="11">
                  <c:v>0.62360000000000004</c:v>
                </c:pt>
                <c:pt idx="12">
                  <c:v>0.58909999999999996</c:v>
                </c:pt>
                <c:pt idx="13">
                  <c:v>0.5766</c:v>
                </c:pt>
                <c:pt idx="14">
                  <c:v>0.57110000000000005</c:v>
                </c:pt>
                <c:pt idx="15">
                  <c:v>0.53959999999999997</c:v>
                </c:pt>
                <c:pt idx="16">
                  <c:v>0.5292</c:v>
                </c:pt>
                <c:pt idx="17">
                  <c:v>0.50539999999999996</c:v>
                </c:pt>
                <c:pt idx="18">
                  <c:v>0.29980000000000001</c:v>
                </c:pt>
                <c:pt idx="19">
                  <c:v>0.22720000000000001</c:v>
                </c:pt>
                <c:pt idx="20">
                  <c:v>0.182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7.3495370370370364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8.81944444444444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dLbl>
              <c:idx val="3"/>
              <c:layout>
                <c:manualLayout>
                  <c:x val="-5.144675925925939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A7-46BC-B805-32D8209EE2E0}"/>
                </c:ext>
              </c:extLst>
            </c:dLbl>
            <c:dLbl>
              <c:idx val="4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A7-46BC-B805-32D8209EE2E0}"/>
                </c:ext>
              </c:extLst>
            </c:dLbl>
            <c:dLbl>
              <c:idx val="5"/>
              <c:layout>
                <c:manualLayout>
                  <c:x val="-3.674768518518532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7.4300000000000005E-2</c:v>
                </c:pt>
                <c:pt idx="1">
                  <c:v>8.3099999999999993E-2</c:v>
                </c:pt>
                <c:pt idx="2">
                  <c:v>0.12759999999999999</c:v>
                </c:pt>
                <c:pt idx="3">
                  <c:v>0.1948</c:v>
                </c:pt>
                <c:pt idx="4">
                  <c:v>0.15509999999999999</c:v>
                </c:pt>
                <c:pt idx="5">
                  <c:v>0.22459999999999999</c:v>
                </c:pt>
                <c:pt idx="6">
                  <c:v>0.20499999999999999</c:v>
                </c:pt>
                <c:pt idx="7">
                  <c:v>0.1804</c:v>
                </c:pt>
                <c:pt idx="8">
                  <c:v>0.2646</c:v>
                </c:pt>
                <c:pt idx="9">
                  <c:v>0.29509999999999997</c:v>
                </c:pt>
                <c:pt idx="10">
                  <c:v>0.32819999999999999</c:v>
                </c:pt>
                <c:pt idx="11">
                  <c:v>0.2369</c:v>
                </c:pt>
                <c:pt idx="12">
                  <c:v>0.25159999999999999</c:v>
                </c:pt>
                <c:pt idx="13">
                  <c:v>0.29530000000000001</c:v>
                </c:pt>
                <c:pt idx="14">
                  <c:v>0.40379999999999999</c:v>
                </c:pt>
                <c:pt idx="15">
                  <c:v>0.37559999999999999</c:v>
                </c:pt>
                <c:pt idx="16">
                  <c:v>0.4345</c:v>
                </c:pt>
                <c:pt idx="17">
                  <c:v>0.25409999999999999</c:v>
                </c:pt>
                <c:pt idx="18">
                  <c:v>0.55830000000000002</c:v>
                </c:pt>
                <c:pt idx="19">
                  <c:v>0.53779999999999994</c:v>
                </c:pt>
                <c:pt idx="20">
                  <c:v>0.444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6.8999999999999999E-3</c:v>
                </c:pt>
                <c:pt idx="1">
                  <c:v>5.8999999999999999E-3</c:v>
                </c:pt>
                <c:pt idx="2">
                  <c:v>3.0300000000000001E-2</c:v>
                </c:pt>
                <c:pt idx="3">
                  <c:v>5.7999999999999996E-3</c:v>
                </c:pt>
                <c:pt idx="4">
                  <c:v>5.3699999999999998E-2</c:v>
                </c:pt>
                <c:pt idx="5">
                  <c:v>1.55E-2</c:v>
                </c:pt>
                <c:pt idx="6">
                  <c:v>6.4100000000000004E-2</c:v>
                </c:pt>
                <c:pt idx="7">
                  <c:v>7.9000000000000001E-2</c:v>
                </c:pt>
                <c:pt idx="8">
                  <c:v>3.1099999999999999E-2</c:v>
                </c:pt>
                <c:pt idx="9">
                  <c:v>9.2999999999999992E-3</c:v>
                </c:pt>
                <c:pt idx="10">
                  <c:v>2.9700000000000001E-2</c:v>
                </c:pt>
                <c:pt idx="11">
                  <c:v>0.1275</c:v>
                </c:pt>
                <c:pt idx="12">
                  <c:v>0.13719999999999999</c:v>
                </c:pt>
                <c:pt idx="13">
                  <c:v>0.11600000000000001</c:v>
                </c:pt>
                <c:pt idx="14">
                  <c:v>2.3E-2</c:v>
                </c:pt>
                <c:pt idx="15">
                  <c:v>8.1900000000000001E-2</c:v>
                </c:pt>
                <c:pt idx="16">
                  <c:v>3.4599999999999999E-2</c:v>
                </c:pt>
                <c:pt idx="17">
                  <c:v>0.2233</c:v>
                </c:pt>
                <c:pt idx="18">
                  <c:v>0.14199999999999999</c:v>
                </c:pt>
                <c:pt idx="19">
                  <c:v>0.2258</c:v>
                </c:pt>
                <c:pt idx="20">
                  <c:v>0.3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0.0%</c:formatCode>
                <c:ptCount val="21"/>
                <c:pt idx="0">
                  <c:v>1.6999999999999999E-3</c:v>
                </c:pt>
                <c:pt idx="1">
                  <c:v>1.6999999999999999E-3</c:v>
                </c:pt>
                <c:pt idx="2">
                  <c:v>1.6999999999999999E-3</c:v>
                </c:pt>
                <c:pt idx="4">
                  <c:v>3.0000000000000001E-3</c:v>
                </c:pt>
                <c:pt idx="5">
                  <c:v>4.7000000000000002E-3</c:v>
                </c:pt>
                <c:pt idx="6" formatCode="0%">
                  <c:v>5.0000000000000001E-3</c:v>
                </c:pt>
                <c:pt idx="7" formatCode="0%">
                  <c:v>2.0899999999999998E-2</c:v>
                </c:pt>
                <c:pt idx="8" formatCode="0%">
                  <c:v>5.7999999999999996E-3</c:v>
                </c:pt>
                <c:pt idx="9">
                  <c:v>1.6999999999999999E-3</c:v>
                </c:pt>
                <c:pt idx="10">
                  <c:v>3.5000000000000001E-3</c:v>
                </c:pt>
                <c:pt idx="11" formatCode="0%">
                  <c:v>1.2E-2</c:v>
                </c:pt>
                <c:pt idx="12" formatCode="0%">
                  <c:v>2.2100000000000002E-2</c:v>
                </c:pt>
                <c:pt idx="13" formatCode="0%">
                  <c:v>1.2E-2</c:v>
                </c:pt>
                <c:pt idx="14">
                  <c:v>2E-3</c:v>
                </c:pt>
                <c:pt idx="15">
                  <c:v>3.0000000000000001E-3</c:v>
                </c:pt>
                <c:pt idx="16">
                  <c:v>1.6999999999999999E-3</c:v>
                </c:pt>
                <c:pt idx="17" formatCode="0%">
                  <c:v>1.72E-2</c:v>
                </c:pt>
                <c:pt idx="19" formatCode="0%">
                  <c:v>9.1999999999999998E-3</c:v>
                </c:pt>
                <c:pt idx="20" formatCode="0%">
                  <c:v>5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E7E-469B-B8BA-C3228EA724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1479999999999995</c:v>
                </c:pt>
                <c:pt idx="1">
                  <c:v>0.94879999999999998</c:v>
                </c:pt>
                <c:pt idx="2">
                  <c:v>0.88170000000000004</c:v>
                </c:pt>
                <c:pt idx="3">
                  <c:v>0.83679999999999999</c:v>
                </c:pt>
                <c:pt idx="4">
                  <c:v>0.79510000000000003</c:v>
                </c:pt>
                <c:pt idx="5">
                  <c:v>0.63870000000000005</c:v>
                </c:pt>
                <c:pt idx="6">
                  <c:v>0.69450000000000001</c:v>
                </c:pt>
                <c:pt idx="7">
                  <c:v>0.73870000000000002</c:v>
                </c:pt>
                <c:pt idx="8">
                  <c:v>0.59279999999999999</c:v>
                </c:pt>
                <c:pt idx="9">
                  <c:v>0.73360000000000003</c:v>
                </c:pt>
                <c:pt idx="10">
                  <c:v>0.76939999999999997</c:v>
                </c:pt>
                <c:pt idx="11">
                  <c:v>0.43669999999999998</c:v>
                </c:pt>
                <c:pt idx="12">
                  <c:v>0.49230000000000002</c:v>
                </c:pt>
                <c:pt idx="13">
                  <c:v>0.57089999999999996</c:v>
                </c:pt>
                <c:pt idx="14">
                  <c:v>0.4662</c:v>
                </c:pt>
                <c:pt idx="15">
                  <c:v>0.60509999999999997</c:v>
                </c:pt>
                <c:pt idx="16">
                  <c:v>0.622</c:v>
                </c:pt>
                <c:pt idx="17">
                  <c:v>0.44769999999999999</c:v>
                </c:pt>
                <c:pt idx="18">
                  <c:v>0.25009999999999999</c:v>
                </c:pt>
                <c:pt idx="19">
                  <c:v>0.22939999999999999</c:v>
                </c:pt>
                <c:pt idx="20">
                  <c:v>0.191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7E-469B-B8BA-C3228EA7244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2"/>
              <c:layout>
                <c:manualLayout>
                  <c:x val="-4.84971839651889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7E-469B-B8BA-C3228EA7244A}"/>
                </c:ext>
              </c:extLst>
            </c:dLbl>
            <c:dLbl>
              <c:idx val="4"/>
              <c:layout>
                <c:manualLayout>
                  <c:x val="-3.031073997824309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E7E-469B-B8BA-C3228EA7244A}"/>
                </c:ext>
              </c:extLst>
            </c:dLbl>
            <c:dLbl>
              <c:idx val="5"/>
              <c:layout>
                <c:manualLayout>
                  <c:x val="-4.84971839651889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E7E-469B-B8BA-C3228EA7244A}"/>
                </c:ext>
              </c:extLst>
            </c:dLbl>
            <c:dLbl>
              <c:idx val="8"/>
              <c:layout>
                <c:manualLayout>
                  <c:x val="-4.243503596954044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FA-4D74-A93D-1FF7BABEC8A9}"/>
                </c:ext>
              </c:extLst>
            </c:dLbl>
            <c:dLbl>
              <c:idx val="10"/>
              <c:layout>
                <c:manualLayout>
                  <c:x val="-2.4248591982594585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E7E-469B-B8BA-C3228EA724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8.5199999999999998E-2</c:v>
                </c:pt>
                <c:pt idx="1">
                  <c:v>5.1200000000000002E-2</c:v>
                </c:pt>
                <c:pt idx="2">
                  <c:v>9.1600000000000001E-2</c:v>
                </c:pt>
                <c:pt idx="3">
                  <c:v>0.16320000000000001</c:v>
                </c:pt>
                <c:pt idx="4">
                  <c:v>0.17230000000000001</c:v>
                </c:pt>
                <c:pt idx="5">
                  <c:v>0.33350000000000002</c:v>
                </c:pt>
                <c:pt idx="6">
                  <c:v>0.24779999999999999</c:v>
                </c:pt>
                <c:pt idx="7">
                  <c:v>0.22320000000000001</c:v>
                </c:pt>
                <c:pt idx="8">
                  <c:v>0.37940000000000002</c:v>
                </c:pt>
                <c:pt idx="9">
                  <c:v>0.25559999999999999</c:v>
                </c:pt>
                <c:pt idx="10">
                  <c:v>0.21840000000000001</c:v>
                </c:pt>
                <c:pt idx="11">
                  <c:v>0.33879999999999999</c:v>
                </c:pt>
                <c:pt idx="12">
                  <c:v>0.34410000000000002</c:v>
                </c:pt>
                <c:pt idx="13">
                  <c:v>0.32950000000000002</c:v>
                </c:pt>
                <c:pt idx="14">
                  <c:v>0.52070000000000005</c:v>
                </c:pt>
                <c:pt idx="15">
                  <c:v>0.35399999999999998</c:v>
                </c:pt>
                <c:pt idx="16">
                  <c:v>0.35099999999999998</c:v>
                </c:pt>
                <c:pt idx="17">
                  <c:v>0.29659999999999997</c:v>
                </c:pt>
                <c:pt idx="18">
                  <c:v>0.59309999999999996</c:v>
                </c:pt>
                <c:pt idx="19">
                  <c:v>0.57620000000000005</c:v>
                </c:pt>
                <c:pt idx="20">
                  <c:v>0.525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7E-469B-B8BA-C3228EA7244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1"/>
              <c:layout>
                <c:manualLayout>
                  <c:x val="-5.455933196083768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E7E-469B-B8BA-C3228EA7244A}"/>
                </c:ext>
              </c:extLst>
            </c:dLbl>
            <c:dLbl>
              <c:idx val="12"/>
              <c:layout>
                <c:manualLayout>
                  <c:x val="-7.274577594778353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9FA-4D74-A93D-1FF7BABEC8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  <c:pt idx="2" formatCode="0%">
                  <c:v>2.6700000000000002E-2</c:v>
                </c:pt>
                <c:pt idx="4" formatCode="0%">
                  <c:v>3.2599999999999997E-2</c:v>
                </c:pt>
                <c:pt idx="5" formatCode="0%">
                  <c:v>2.7799999999999998E-2</c:v>
                </c:pt>
                <c:pt idx="6" formatCode="0%">
                  <c:v>5.7799999999999997E-2</c:v>
                </c:pt>
                <c:pt idx="7" formatCode="0%">
                  <c:v>3.8100000000000002E-2</c:v>
                </c:pt>
                <c:pt idx="8" formatCode="0%">
                  <c:v>2.7799999999999998E-2</c:v>
                </c:pt>
                <c:pt idx="9" formatCode="0%">
                  <c:v>1.0800000000000001E-2</c:v>
                </c:pt>
                <c:pt idx="10" formatCode="0%">
                  <c:v>1.2200000000000001E-2</c:v>
                </c:pt>
                <c:pt idx="11" formatCode="0%">
                  <c:v>0.22459999999999999</c:v>
                </c:pt>
                <c:pt idx="12" formatCode="0%">
                  <c:v>0.1636</c:v>
                </c:pt>
                <c:pt idx="13" formatCode="0%">
                  <c:v>9.9599999999999994E-2</c:v>
                </c:pt>
                <c:pt idx="14" formatCode="0%">
                  <c:v>1.3100000000000001E-2</c:v>
                </c:pt>
                <c:pt idx="15" formatCode="0%">
                  <c:v>4.0899999999999999E-2</c:v>
                </c:pt>
                <c:pt idx="16" formatCode="0%">
                  <c:v>2.7E-2</c:v>
                </c:pt>
                <c:pt idx="17" formatCode="0%">
                  <c:v>0.23619999999999999</c:v>
                </c:pt>
                <c:pt idx="18" formatCode="0%">
                  <c:v>0.15679999999999999</c:v>
                </c:pt>
                <c:pt idx="19" formatCode="0%">
                  <c:v>0.19439999999999999</c:v>
                </c:pt>
                <c:pt idx="20" formatCode="0%">
                  <c:v>0.2838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E7E-469B-B8BA-C3228EA7244A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  <c:pt idx="17" formatCode="0%">
                  <c:v>1.95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E7E-469B-B8BA-C3228EA72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67-4997-A13E-4373B10B45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85799999999999998</c:v>
                </c:pt>
                <c:pt idx="1">
                  <c:v>0.88129999999999997</c:v>
                </c:pt>
                <c:pt idx="2">
                  <c:v>0.83520000000000005</c:v>
                </c:pt>
                <c:pt idx="3">
                  <c:v>0.78339999999999999</c:v>
                </c:pt>
                <c:pt idx="4">
                  <c:v>0.79900000000000004</c:v>
                </c:pt>
                <c:pt idx="5">
                  <c:v>0.76929999999999998</c:v>
                </c:pt>
                <c:pt idx="6">
                  <c:v>0.72809999999999997</c:v>
                </c:pt>
                <c:pt idx="7">
                  <c:v>0.72550000000000003</c:v>
                </c:pt>
                <c:pt idx="8">
                  <c:v>0.75049999999999994</c:v>
                </c:pt>
                <c:pt idx="9">
                  <c:v>0.74909999999999999</c:v>
                </c:pt>
                <c:pt idx="10">
                  <c:v>0.71240000000000003</c:v>
                </c:pt>
                <c:pt idx="11">
                  <c:v>0.62539999999999996</c:v>
                </c:pt>
                <c:pt idx="12">
                  <c:v>0.60409999999999997</c:v>
                </c:pt>
                <c:pt idx="13">
                  <c:v>0.61770000000000003</c:v>
                </c:pt>
                <c:pt idx="14">
                  <c:v>0.61399999999999999</c:v>
                </c:pt>
                <c:pt idx="15">
                  <c:v>0.65749999999999997</c:v>
                </c:pt>
                <c:pt idx="16">
                  <c:v>0.59489999999999998</c:v>
                </c:pt>
                <c:pt idx="17">
                  <c:v>0.60429999999999995</c:v>
                </c:pt>
                <c:pt idx="18">
                  <c:v>0.45200000000000001</c:v>
                </c:pt>
                <c:pt idx="19">
                  <c:v>0.38919999999999999</c:v>
                </c:pt>
                <c:pt idx="20">
                  <c:v>0.3313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7-4997-A13E-4373B10B452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4.849718396518906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B67-4997-A13E-4373B10B4523}"/>
                </c:ext>
              </c:extLst>
            </c:dLbl>
            <c:dLbl>
              <c:idx val="1"/>
              <c:layout>
                <c:manualLayout>
                  <c:x val="-4.84971839651890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B5D-4758-A124-87E7C6076FFC}"/>
                </c:ext>
              </c:extLst>
            </c:dLbl>
            <c:dLbl>
              <c:idx val="2"/>
              <c:layout>
                <c:manualLayout>
                  <c:x val="-3.637288797389171E-2"/>
                  <c:y val="2.426006792960231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67-4997-A13E-4373B10B4523}"/>
                </c:ext>
              </c:extLst>
            </c:dLbl>
            <c:dLbl>
              <c:idx val="3"/>
              <c:layout>
                <c:manualLayout>
                  <c:x val="-3.031073997824320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B5D-4758-A124-87E7C6076FFC}"/>
                </c:ext>
              </c:extLst>
            </c:dLbl>
            <c:dLbl>
              <c:idx val="4"/>
              <c:layout>
                <c:manualLayout>
                  <c:x val="-3.031073997824309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B67-4997-A13E-4373B10B4523}"/>
                </c:ext>
              </c:extLst>
            </c:dLbl>
            <c:dLbl>
              <c:idx val="5"/>
              <c:layout>
                <c:manualLayout>
                  <c:x val="-1.818644398694596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B67-4997-A13E-4373B10B45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242</c:v>
                </c:pt>
                <c:pt idx="1">
                  <c:v>0.1018</c:v>
                </c:pt>
                <c:pt idx="2">
                  <c:v>0.13159999999999999</c:v>
                </c:pt>
                <c:pt idx="3">
                  <c:v>0.20979999999999999</c:v>
                </c:pt>
                <c:pt idx="4">
                  <c:v>0.17280000000000001</c:v>
                </c:pt>
                <c:pt idx="5">
                  <c:v>0.20830000000000001</c:v>
                </c:pt>
                <c:pt idx="6">
                  <c:v>0.2172</c:v>
                </c:pt>
                <c:pt idx="7">
                  <c:v>0.1777</c:v>
                </c:pt>
                <c:pt idx="8">
                  <c:v>0.193</c:v>
                </c:pt>
                <c:pt idx="9">
                  <c:v>0.23499999999999999</c:v>
                </c:pt>
                <c:pt idx="10">
                  <c:v>0.27079999999999999</c:v>
                </c:pt>
                <c:pt idx="11">
                  <c:v>0.24890000000000001</c:v>
                </c:pt>
                <c:pt idx="12">
                  <c:v>0.29010000000000002</c:v>
                </c:pt>
                <c:pt idx="13">
                  <c:v>0.29260000000000003</c:v>
                </c:pt>
                <c:pt idx="14">
                  <c:v>0.35770000000000002</c:v>
                </c:pt>
                <c:pt idx="15">
                  <c:v>0.29730000000000001</c:v>
                </c:pt>
                <c:pt idx="16">
                  <c:v>0.37790000000000001</c:v>
                </c:pt>
                <c:pt idx="17">
                  <c:v>0.24510000000000001</c:v>
                </c:pt>
                <c:pt idx="18">
                  <c:v>0.43790000000000001</c:v>
                </c:pt>
                <c:pt idx="19">
                  <c:v>0.46429999999999999</c:v>
                </c:pt>
                <c:pt idx="20">
                  <c:v>0.426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B67-4997-A13E-4373B10B452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1.21E-2</c:v>
                </c:pt>
                <c:pt idx="1">
                  <c:v>1.12E-2</c:v>
                </c:pt>
                <c:pt idx="2">
                  <c:v>2.75E-2</c:v>
                </c:pt>
                <c:pt idx="3">
                  <c:v>6.8999999999999999E-3</c:v>
                </c:pt>
                <c:pt idx="4">
                  <c:v>2.2499999999999999E-2</c:v>
                </c:pt>
                <c:pt idx="5">
                  <c:v>1.67E-2</c:v>
                </c:pt>
                <c:pt idx="6">
                  <c:v>3.7900000000000003E-2</c:v>
                </c:pt>
                <c:pt idx="7">
                  <c:v>6.7500000000000004E-2</c:v>
                </c:pt>
                <c:pt idx="8">
                  <c:v>4.5600000000000002E-2</c:v>
                </c:pt>
                <c:pt idx="9">
                  <c:v>1.0200000000000001E-2</c:v>
                </c:pt>
                <c:pt idx="10">
                  <c:v>1.12E-2</c:v>
                </c:pt>
                <c:pt idx="11">
                  <c:v>9.3700000000000006E-2</c:v>
                </c:pt>
                <c:pt idx="12">
                  <c:v>7.8E-2</c:v>
                </c:pt>
                <c:pt idx="13">
                  <c:v>7.5600000000000001E-2</c:v>
                </c:pt>
                <c:pt idx="14">
                  <c:v>2.1499999999999998E-2</c:v>
                </c:pt>
                <c:pt idx="15">
                  <c:v>3.95E-2</c:v>
                </c:pt>
                <c:pt idx="16">
                  <c:v>2.1399999999999999E-2</c:v>
                </c:pt>
                <c:pt idx="17">
                  <c:v>0.1323</c:v>
                </c:pt>
                <c:pt idx="18">
                  <c:v>0.1101</c:v>
                </c:pt>
                <c:pt idx="19">
                  <c:v>0.1203</c:v>
                </c:pt>
                <c:pt idx="20">
                  <c:v>0.2298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B67-4997-A13E-4373B10B452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5.7000000000000002E-3</c:v>
                </c:pt>
                <c:pt idx="1">
                  <c:v>5.7000000000000002E-3</c:v>
                </c:pt>
                <c:pt idx="2">
                  <c:v>5.7000000000000002E-3</c:v>
                </c:pt>
                <c:pt idx="4">
                  <c:v>5.7000000000000002E-3</c:v>
                </c:pt>
                <c:pt idx="5">
                  <c:v>5.7000000000000002E-3</c:v>
                </c:pt>
                <c:pt idx="6">
                  <c:v>1.6799999999999999E-2</c:v>
                </c:pt>
                <c:pt idx="7">
                  <c:v>2.9399999999999999E-2</c:v>
                </c:pt>
                <c:pt idx="8">
                  <c:v>1.09E-2</c:v>
                </c:pt>
                <c:pt idx="9">
                  <c:v>5.7000000000000002E-3</c:v>
                </c:pt>
                <c:pt idx="10">
                  <c:v>5.7000000000000002E-3</c:v>
                </c:pt>
                <c:pt idx="11">
                  <c:v>3.2099999999999997E-2</c:v>
                </c:pt>
                <c:pt idx="12">
                  <c:v>2.7799999999999998E-2</c:v>
                </c:pt>
                <c:pt idx="13">
                  <c:v>1.41E-2</c:v>
                </c:pt>
                <c:pt idx="14">
                  <c:v>6.8999999999999999E-3</c:v>
                </c:pt>
                <c:pt idx="15">
                  <c:v>5.7000000000000002E-3</c:v>
                </c:pt>
                <c:pt idx="16">
                  <c:v>5.7999999999999996E-3</c:v>
                </c:pt>
                <c:pt idx="17">
                  <c:v>1.83E-2</c:v>
                </c:pt>
                <c:pt idx="19">
                  <c:v>2.6200000000000001E-2</c:v>
                </c:pt>
                <c:pt idx="20">
                  <c:v>1.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B67-4997-A13E-4373B10B45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12-4740-BB38-AC849DDED44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4820000000000004</c:v>
                </c:pt>
                <c:pt idx="1">
                  <c:v>0.91500000000000004</c:v>
                </c:pt>
                <c:pt idx="2">
                  <c:v>0.83379999999999999</c:v>
                </c:pt>
                <c:pt idx="3">
                  <c:v>0.79930000000000001</c:v>
                </c:pt>
                <c:pt idx="4">
                  <c:v>0.78120000000000001</c:v>
                </c:pt>
                <c:pt idx="5">
                  <c:v>0.77380000000000004</c:v>
                </c:pt>
                <c:pt idx="6">
                  <c:v>0.73170000000000002</c:v>
                </c:pt>
                <c:pt idx="7">
                  <c:v>0.71240000000000003</c:v>
                </c:pt>
                <c:pt idx="8">
                  <c:v>0.69530000000000003</c:v>
                </c:pt>
                <c:pt idx="9">
                  <c:v>0.65649999999999997</c:v>
                </c:pt>
                <c:pt idx="10">
                  <c:v>0.57130000000000003</c:v>
                </c:pt>
                <c:pt idx="11">
                  <c:v>0.66449999999999998</c:v>
                </c:pt>
                <c:pt idx="12">
                  <c:v>0.60289999999999999</c:v>
                </c:pt>
                <c:pt idx="13">
                  <c:v>0.55659999999999998</c:v>
                </c:pt>
                <c:pt idx="14">
                  <c:v>0.57240000000000002</c:v>
                </c:pt>
                <c:pt idx="15">
                  <c:v>0.46400000000000002</c:v>
                </c:pt>
                <c:pt idx="16">
                  <c:v>0.47449999999999998</c:v>
                </c:pt>
                <c:pt idx="17">
                  <c:v>0.4672</c:v>
                </c:pt>
                <c:pt idx="18">
                  <c:v>0.23219999999999999</c:v>
                </c:pt>
                <c:pt idx="19">
                  <c:v>0.14299999999999999</c:v>
                </c:pt>
                <c:pt idx="20">
                  <c:v>0.103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12-4740-BB38-AC849DDED44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8.487007193908066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6DE-4103-B360-DAAF7DD26526}"/>
                </c:ext>
              </c:extLst>
            </c:dLbl>
            <c:dLbl>
              <c:idx val="1"/>
              <c:layout>
                <c:manualLayout>
                  <c:x val="-8.487007193908066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6DE-4103-B360-DAAF7DD26526}"/>
                </c:ext>
              </c:extLst>
            </c:dLbl>
            <c:dLbl>
              <c:idx val="2"/>
              <c:layout>
                <c:manualLayout>
                  <c:x val="-3.637288797389182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712-4740-BB38-AC849DDED446}"/>
                </c:ext>
              </c:extLst>
            </c:dLbl>
            <c:dLbl>
              <c:idx val="3"/>
              <c:layout>
                <c:manualLayout>
                  <c:x val="-4.243503596954044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6DE-4103-B360-DAAF7DD26526}"/>
                </c:ext>
              </c:extLst>
            </c:dLbl>
            <c:dLbl>
              <c:idx val="5"/>
              <c:layout>
                <c:manualLayout>
                  <c:x val="-2.424859198259458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712-4740-BB38-AC849DDED446}"/>
                </c:ext>
              </c:extLst>
            </c:dLbl>
            <c:dLbl>
              <c:idx val="8"/>
              <c:layout>
                <c:manualLayout>
                  <c:x val="-4.84971839651889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DE-4103-B360-DAAF7DD26526}"/>
                </c:ext>
              </c:extLst>
            </c:dLbl>
            <c:dLbl>
              <c:idx val="9"/>
              <c:layout>
                <c:manualLayout>
                  <c:x val="-3.0310739978243094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712-4740-BB38-AC849DDED446}"/>
                </c:ext>
              </c:extLst>
            </c:dLbl>
            <c:dLbl>
              <c:idx val="10"/>
              <c:layout>
                <c:manualLayout>
                  <c:x val="-2.4248591982594474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6DE-4103-B360-DAAF7DD265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4.5999999999999999E-2</c:v>
                </c:pt>
                <c:pt idx="1">
                  <c:v>8.0500000000000002E-2</c:v>
                </c:pt>
                <c:pt idx="2">
                  <c:v>0.13350000000000001</c:v>
                </c:pt>
                <c:pt idx="3">
                  <c:v>0.19409999999999999</c:v>
                </c:pt>
                <c:pt idx="4">
                  <c:v>0.1421</c:v>
                </c:pt>
                <c:pt idx="5">
                  <c:v>0.2087</c:v>
                </c:pt>
                <c:pt idx="6">
                  <c:v>0.18920000000000001</c:v>
                </c:pt>
                <c:pt idx="7">
                  <c:v>0.17219999999999999</c:v>
                </c:pt>
                <c:pt idx="8">
                  <c:v>0.27610000000000001</c:v>
                </c:pt>
                <c:pt idx="9">
                  <c:v>0.33500000000000002</c:v>
                </c:pt>
                <c:pt idx="10">
                  <c:v>0.38229999999999997</c:v>
                </c:pt>
                <c:pt idx="11">
                  <c:v>0.2079</c:v>
                </c:pt>
                <c:pt idx="12">
                  <c:v>0.21099999999999999</c:v>
                </c:pt>
                <c:pt idx="13">
                  <c:v>0.28910000000000002</c:v>
                </c:pt>
                <c:pt idx="14">
                  <c:v>0.40150000000000002</c:v>
                </c:pt>
                <c:pt idx="15">
                  <c:v>0.42080000000000001</c:v>
                </c:pt>
                <c:pt idx="16">
                  <c:v>0.48230000000000001</c:v>
                </c:pt>
                <c:pt idx="17">
                  <c:v>0.24929999999999999</c:v>
                </c:pt>
                <c:pt idx="18">
                  <c:v>0.61270000000000002</c:v>
                </c:pt>
                <c:pt idx="19">
                  <c:v>0.56730000000000003</c:v>
                </c:pt>
                <c:pt idx="20">
                  <c:v>0.436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712-4740-BB38-AC849DDED44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2"/>
              <c:layout>
                <c:manualLayout>
                  <c:x val="-1.818644398694585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DE-4103-B360-DAAF7DD26526}"/>
                </c:ext>
              </c:extLst>
            </c:dLbl>
            <c:dLbl>
              <c:idx val="13"/>
              <c:layout>
                <c:manualLayout>
                  <c:x val="-1.818644398694596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DE-4103-B360-DAAF7DD265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0.0%</c:formatCode>
                <c:ptCount val="21"/>
                <c:pt idx="0" formatCode="0%">
                  <c:v>5.7000000000000002E-3</c:v>
                </c:pt>
                <c:pt idx="1">
                  <c:v>4.4999999999999997E-3</c:v>
                </c:pt>
                <c:pt idx="2" formatCode="0%">
                  <c:v>3.2599999999999997E-2</c:v>
                </c:pt>
                <c:pt idx="3" formatCode="0%">
                  <c:v>6.6E-3</c:v>
                </c:pt>
                <c:pt idx="4" formatCode="0%">
                  <c:v>7.4399999999999994E-2</c:v>
                </c:pt>
                <c:pt idx="5" formatCode="0%">
                  <c:v>1.2200000000000001E-2</c:v>
                </c:pt>
                <c:pt idx="6" formatCode="0%">
                  <c:v>7.9100000000000004E-2</c:v>
                </c:pt>
                <c:pt idx="7" formatCode="0%">
                  <c:v>9.4100000000000003E-2</c:v>
                </c:pt>
                <c:pt idx="8" formatCode="0%">
                  <c:v>2.4299999999999999E-2</c:v>
                </c:pt>
                <c:pt idx="9" formatCode="0%">
                  <c:v>8.5000000000000006E-3</c:v>
                </c:pt>
                <c:pt idx="10" formatCode="0%">
                  <c:v>4.3200000000000002E-2</c:v>
                </c:pt>
                <c:pt idx="11" formatCode="0%">
                  <c:v>0.1232</c:v>
                </c:pt>
                <c:pt idx="12" formatCode="0%">
                  <c:v>0.16200000000000001</c:v>
                </c:pt>
                <c:pt idx="13" formatCode="0%">
                  <c:v>0.1406</c:v>
                </c:pt>
                <c:pt idx="14" formatCode="0%">
                  <c:v>2.5999999999999999E-2</c:v>
                </c:pt>
                <c:pt idx="15" formatCode="0%">
                  <c:v>0.113</c:v>
                </c:pt>
                <c:pt idx="16" formatCode="0%">
                  <c:v>4.3200000000000002E-2</c:v>
                </c:pt>
                <c:pt idx="17" formatCode="0%">
                  <c:v>0.26750000000000002</c:v>
                </c:pt>
                <c:pt idx="18" formatCode="0%">
                  <c:v>0.15509999999999999</c:v>
                </c:pt>
                <c:pt idx="19" formatCode="0%">
                  <c:v>0.2873</c:v>
                </c:pt>
                <c:pt idx="20" formatCode="0%">
                  <c:v>0.4578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712-4740-BB38-AC849DDED446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  <c:pt idx="4" formatCode="0.0%">
                  <c:v>2.2000000000000001E-3</c:v>
                </c:pt>
                <c:pt idx="5" formatCode="0%">
                  <c:v>5.3E-3</c:v>
                </c:pt>
                <c:pt idx="7" formatCode="0%">
                  <c:v>2.12E-2</c:v>
                </c:pt>
                <c:pt idx="8" formatCode="0.0%">
                  <c:v>4.4000000000000003E-3</c:v>
                </c:pt>
                <c:pt idx="10" formatCode="0.0%">
                  <c:v>3.2000000000000002E-3</c:v>
                </c:pt>
                <c:pt idx="11" formatCode="0.0%">
                  <c:v>4.4000000000000003E-3</c:v>
                </c:pt>
                <c:pt idx="12" formatCode="0%">
                  <c:v>2.41E-2</c:v>
                </c:pt>
                <c:pt idx="13" formatCode="0%">
                  <c:v>1.37E-2</c:v>
                </c:pt>
                <c:pt idx="15" formatCode="0.0%">
                  <c:v>2.2000000000000001E-3</c:v>
                </c:pt>
                <c:pt idx="17" formatCode="0%">
                  <c:v>1.6E-2</c:v>
                </c:pt>
                <c:pt idx="19" formatCode="0.0%">
                  <c:v>2.3999999999999998E-3</c:v>
                </c:pt>
                <c:pt idx="20" formatCode="0.0%">
                  <c:v>2.39999999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712-4740-BB38-AC849DDED4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41909999999999997</c:v>
                </c:pt>
                <c:pt idx="1">
                  <c:v>0.14369999999999999</c:v>
                </c:pt>
                <c:pt idx="2">
                  <c:v>0.1019</c:v>
                </c:pt>
                <c:pt idx="3">
                  <c:v>9.7600000000000006E-2</c:v>
                </c:pt>
                <c:pt idx="4">
                  <c:v>8.3799999999999999E-2</c:v>
                </c:pt>
                <c:pt idx="5">
                  <c:v>7.5200000000000003E-2</c:v>
                </c:pt>
                <c:pt idx="6">
                  <c:v>4.7899999999999998E-2</c:v>
                </c:pt>
                <c:pt idx="7">
                  <c:v>2.1700000000000001E-2</c:v>
                </c:pt>
                <c:pt idx="8">
                  <c:v>9.1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1720000000000002</c:v>
                </c:pt>
                <c:pt idx="1">
                  <c:v>0.90939999999999999</c:v>
                </c:pt>
                <c:pt idx="2">
                  <c:v>0.84040000000000004</c:v>
                </c:pt>
                <c:pt idx="3">
                  <c:v>0.7994</c:v>
                </c:pt>
                <c:pt idx="4">
                  <c:v>0.7883</c:v>
                </c:pt>
                <c:pt idx="5">
                  <c:v>0.75509999999999999</c:v>
                </c:pt>
                <c:pt idx="6">
                  <c:v>0.7258</c:v>
                </c:pt>
                <c:pt idx="7">
                  <c:v>0.71960000000000002</c:v>
                </c:pt>
                <c:pt idx="8">
                  <c:v>0.69850000000000001</c:v>
                </c:pt>
                <c:pt idx="9">
                  <c:v>0.69389999999999996</c:v>
                </c:pt>
                <c:pt idx="10">
                  <c:v>0.63859999999999995</c:v>
                </c:pt>
                <c:pt idx="11">
                  <c:v>0.62360000000000004</c:v>
                </c:pt>
                <c:pt idx="12">
                  <c:v>0.58909999999999996</c:v>
                </c:pt>
                <c:pt idx="13">
                  <c:v>0.5766</c:v>
                </c:pt>
                <c:pt idx="14">
                  <c:v>0.57110000000000005</c:v>
                </c:pt>
                <c:pt idx="15">
                  <c:v>0.53959999999999997</c:v>
                </c:pt>
                <c:pt idx="16">
                  <c:v>0.5292</c:v>
                </c:pt>
                <c:pt idx="17">
                  <c:v>0.50539999999999996</c:v>
                </c:pt>
                <c:pt idx="18">
                  <c:v>0.29980000000000001</c:v>
                </c:pt>
                <c:pt idx="19">
                  <c:v>0.22720000000000001</c:v>
                </c:pt>
                <c:pt idx="20">
                  <c:v>0.182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7.3495370370370364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8.81944444444444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dLbl>
              <c:idx val="3"/>
              <c:layout>
                <c:manualLayout>
                  <c:x val="-5.144675925925939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A7-46BC-B805-32D8209EE2E0}"/>
                </c:ext>
              </c:extLst>
            </c:dLbl>
            <c:dLbl>
              <c:idx val="4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A7-46BC-B805-32D8209EE2E0}"/>
                </c:ext>
              </c:extLst>
            </c:dLbl>
            <c:dLbl>
              <c:idx val="5"/>
              <c:layout>
                <c:manualLayout>
                  <c:x val="-3.674768518518532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7.4300000000000005E-2</c:v>
                </c:pt>
                <c:pt idx="1">
                  <c:v>8.3099999999999993E-2</c:v>
                </c:pt>
                <c:pt idx="2">
                  <c:v>0.12759999999999999</c:v>
                </c:pt>
                <c:pt idx="3">
                  <c:v>0.1948</c:v>
                </c:pt>
                <c:pt idx="4">
                  <c:v>0.15509999999999999</c:v>
                </c:pt>
                <c:pt idx="5">
                  <c:v>0.22459999999999999</c:v>
                </c:pt>
                <c:pt idx="6">
                  <c:v>0.20499999999999999</c:v>
                </c:pt>
                <c:pt idx="7">
                  <c:v>0.1804</c:v>
                </c:pt>
                <c:pt idx="8">
                  <c:v>0.2646</c:v>
                </c:pt>
                <c:pt idx="9">
                  <c:v>0.29509999999999997</c:v>
                </c:pt>
                <c:pt idx="10">
                  <c:v>0.32819999999999999</c:v>
                </c:pt>
                <c:pt idx="11">
                  <c:v>0.2369</c:v>
                </c:pt>
                <c:pt idx="12">
                  <c:v>0.25159999999999999</c:v>
                </c:pt>
                <c:pt idx="13">
                  <c:v>0.29530000000000001</c:v>
                </c:pt>
                <c:pt idx="14">
                  <c:v>0.40379999999999999</c:v>
                </c:pt>
                <c:pt idx="15">
                  <c:v>0.37559999999999999</c:v>
                </c:pt>
                <c:pt idx="16">
                  <c:v>0.4345</c:v>
                </c:pt>
                <c:pt idx="17">
                  <c:v>0.25409999999999999</c:v>
                </c:pt>
                <c:pt idx="18">
                  <c:v>0.55830000000000002</c:v>
                </c:pt>
                <c:pt idx="19">
                  <c:v>0.53779999999999994</c:v>
                </c:pt>
                <c:pt idx="20">
                  <c:v>0.444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6.8999999999999999E-3</c:v>
                </c:pt>
                <c:pt idx="1">
                  <c:v>5.8999999999999999E-3</c:v>
                </c:pt>
                <c:pt idx="2">
                  <c:v>3.0300000000000001E-2</c:v>
                </c:pt>
                <c:pt idx="3">
                  <c:v>5.7999999999999996E-3</c:v>
                </c:pt>
                <c:pt idx="4">
                  <c:v>5.3699999999999998E-2</c:v>
                </c:pt>
                <c:pt idx="5">
                  <c:v>1.55E-2</c:v>
                </c:pt>
                <c:pt idx="6">
                  <c:v>6.4100000000000004E-2</c:v>
                </c:pt>
                <c:pt idx="7">
                  <c:v>7.9000000000000001E-2</c:v>
                </c:pt>
                <c:pt idx="8">
                  <c:v>3.1099999999999999E-2</c:v>
                </c:pt>
                <c:pt idx="9">
                  <c:v>9.2999999999999992E-3</c:v>
                </c:pt>
                <c:pt idx="10">
                  <c:v>2.9700000000000001E-2</c:v>
                </c:pt>
                <c:pt idx="11">
                  <c:v>0.1275</c:v>
                </c:pt>
                <c:pt idx="12">
                  <c:v>0.13719999999999999</c:v>
                </c:pt>
                <c:pt idx="13">
                  <c:v>0.11600000000000001</c:v>
                </c:pt>
                <c:pt idx="14">
                  <c:v>2.3E-2</c:v>
                </c:pt>
                <c:pt idx="15">
                  <c:v>8.1900000000000001E-2</c:v>
                </c:pt>
                <c:pt idx="16">
                  <c:v>3.4599999999999999E-2</c:v>
                </c:pt>
                <c:pt idx="17">
                  <c:v>0.2233</c:v>
                </c:pt>
                <c:pt idx="18">
                  <c:v>0.14199999999999999</c:v>
                </c:pt>
                <c:pt idx="19">
                  <c:v>0.2258</c:v>
                </c:pt>
                <c:pt idx="20">
                  <c:v>0.3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0.0%</c:formatCode>
                <c:ptCount val="21"/>
                <c:pt idx="0">
                  <c:v>1.6999999999999999E-3</c:v>
                </c:pt>
                <c:pt idx="1">
                  <c:v>1.6999999999999999E-3</c:v>
                </c:pt>
                <c:pt idx="2">
                  <c:v>1.6999999999999999E-3</c:v>
                </c:pt>
                <c:pt idx="4">
                  <c:v>3.0000000000000001E-3</c:v>
                </c:pt>
                <c:pt idx="5">
                  <c:v>4.7000000000000002E-3</c:v>
                </c:pt>
                <c:pt idx="6" formatCode="0%">
                  <c:v>5.0000000000000001E-3</c:v>
                </c:pt>
                <c:pt idx="7" formatCode="0%">
                  <c:v>2.0899999999999998E-2</c:v>
                </c:pt>
                <c:pt idx="8" formatCode="0%">
                  <c:v>5.7999999999999996E-3</c:v>
                </c:pt>
                <c:pt idx="9">
                  <c:v>1.6999999999999999E-3</c:v>
                </c:pt>
                <c:pt idx="10">
                  <c:v>3.5000000000000001E-3</c:v>
                </c:pt>
                <c:pt idx="11" formatCode="0%">
                  <c:v>1.2E-2</c:v>
                </c:pt>
                <c:pt idx="12" formatCode="0%">
                  <c:v>2.2100000000000002E-2</c:v>
                </c:pt>
                <c:pt idx="13" formatCode="0%">
                  <c:v>1.2E-2</c:v>
                </c:pt>
                <c:pt idx="14">
                  <c:v>2E-3</c:v>
                </c:pt>
                <c:pt idx="15">
                  <c:v>3.0000000000000001E-3</c:v>
                </c:pt>
                <c:pt idx="16">
                  <c:v>1.6999999999999999E-3</c:v>
                </c:pt>
                <c:pt idx="17" formatCode="0%">
                  <c:v>1.72E-2</c:v>
                </c:pt>
                <c:pt idx="19" formatCode="0%">
                  <c:v>9.1999999999999998E-3</c:v>
                </c:pt>
                <c:pt idx="20" formatCode="0%">
                  <c:v>5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E7E-469B-B8BA-C3228EA724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0249999999999997</c:v>
                </c:pt>
                <c:pt idx="1">
                  <c:v>0.95430000000000004</c:v>
                </c:pt>
                <c:pt idx="2">
                  <c:v>0.85809999999999997</c:v>
                </c:pt>
                <c:pt idx="3">
                  <c:v>0.82889999999999997</c:v>
                </c:pt>
                <c:pt idx="4">
                  <c:v>0.73680000000000001</c:v>
                </c:pt>
                <c:pt idx="5">
                  <c:v>0.75280000000000002</c:v>
                </c:pt>
                <c:pt idx="6">
                  <c:v>0.66459999999999997</c:v>
                </c:pt>
                <c:pt idx="7">
                  <c:v>0.6149</c:v>
                </c:pt>
                <c:pt idx="8">
                  <c:v>0.6794</c:v>
                </c:pt>
                <c:pt idx="9">
                  <c:v>0.74490000000000001</c:v>
                </c:pt>
                <c:pt idx="10">
                  <c:v>0.69879999999999998</c:v>
                </c:pt>
                <c:pt idx="11">
                  <c:v>0.39739999999999998</c:v>
                </c:pt>
                <c:pt idx="12">
                  <c:v>0.49020000000000002</c:v>
                </c:pt>
                <c:pt idx="13">
                  <c:v>0.51819999999999999</c:v>
                </c:pt>
                <c:pt idx="14">
                  <c:v>0.52339999999999998</c:v>
                </c:pt>
                <c:pt idx="15">
                  <c:v>0.62919999999999998</c:v>
                </c:pt>
                <c:pt idx="16">
                  <c:v>0.62580000000000002</c:v>
                </c:pt>
                <c:pt idx="17">
                  <c:v>0.38969999999999999</c:v>
                </c:pt>
                <c:pt idx="18">
                  <c:v>0.20369999999999999</c:v>
                </c:pt>
                <c:pt idx="19">
                  <c:v>0.2248</c:v>
                </c:pt>
                <c:pt idx="20">
                  <c:v>0.16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7E-469B-B8BA-C3228EA7244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2"/>
              <c:layout>
                <c:manualLayout>
                  <c:x val="-6.0621479956486186E-3"/>
                  <c:y val="2.426006792960231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7E-469B-B8BA-C3228EA7244A}"/>
                </c:ext>
              </c:extLst>
            </c:dLbl>
            <c:dLbl>
              <c:idx val="4"/>
              <c:layout>
                <c:manualLayout>
                  <c:x val="-2.4248591982594585E-2"/>
                  <c:y val="2.4260067931014444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E7E-469B-B8BA-C3228EA7244A}"/>
                </c:ext>
              </c:extLst>
            </c:dLbl>
            <c:dLbl>
              <c:idx val="7"/>
              <c:layout>
                <c:manualLayout>
                  <c:x val="-3.63728879738917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63-4735-8A93-A292B23C2B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9.7500000000000003E-2</c:v>
                </c:pt>
                <c:pt idx="1">
                  <c:v>4.5699999999999998E-2</c:v>
                </c:pt>
                <c:pt idx="2">
                  <c:v>8.3099999999999993E-2</c:v>
                </c:pt>
                <c:pt idx="3">
                  <c:v>0.1711</c:v>
                </c:pt>
                <c:pt idx="4">
                  <c:v>0.16220000000000001</c:v>
                </c:pt>
                <c:pt idx="5">
                  <c:v>0.2472</c:v>
                </c:pt>
                <c:pt idx="6">
                  <c:v>0.24740000000000001</c:v>
                </c:pt>
                <c:pt idx="7">
                  <c:v>0.26340000000000002</c:v>
                </c:pt>
                <c:pt idx="8">
                  <c:v>0.27850000000000003</c:v>
                </c:pt>
                <c:pt idx="9">
                  <c:v>0.2412</c:v>
                </c:pt>
                <c:pt idx="10">
                  <c:v>0.24360000000000001</c:v>
                </c:pt>
                <c:pt idx="11">
                  <c:v>0.35460000000000003</c:v>
                </c:pt>
                <c:pt idx="12">
                  <c:v>0.27429999999999999</c:v>
                </c:pt>
                <c:pt idx="13">
                  <c:v>0.32990000000000003</c:v>
                </c:pt>
                <c:pt idx="14">
                  <c:v>0.4516</c:v>
                </c:pt>
                <c:pt idx="15">
                  <c:v>0.32879999999999998</c:v>
                </c:pt>
                <c:pt idx="16">
                  <c:v>0.35949999999999999</c:v>
                </c:pt>
                <c:pt idx="17">
                  <c:v>0.31740000000000002</c:v>
                </c:pt>
                <c:pt idx="18">
                  <c:v>0.5423</c:v>
                </c:pt>
                <c:pt idx="19">
                  <c:v>0.56110000000000004</c:v>
                </c:pt>
                <c:pt idx="20">
                  <c:v>0.466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7E-469B-B8BA-C3228EA7244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4"/>
              <c:layout>
                <c:manualLayout>
                  <c:x val="-3.6372887973891821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163-4735-8A93-A292B23C2BAE}"/>
                </c:ext>
              </c:extLst>
            </c:dLbl>
            <c:dLbl>
              <c:idx val="7"/>
              <c:layout>
                <c:manualLayout>
                  <c:x val="-3.637288797389171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163-4735-8A93-A292B23C2BAE}"/>
                </c:ext>
              </c:extLst>
            </c:dLbl>
            <c:dLbl>
              <c:idx val="11"/>
              <c:layout>
                <c:manualLayout>
                  <c:x val="-3.0310739978243205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E7E-469B-B8BA-C3228EA7244A}"/>
                </c:ext>
              </c:extLst>
            </c:dLbl>
            <c:dLbl>
              <c:idx val="12"/>
              <c:layout>
                <c:manualLayout>
                  <c:x val="-6.062147995648618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9FA-4D74-A93D-1FF7BABEC8A9}"/>
                </c:ext>
              </c:extLst>
            </c:dLbl>
            <c:dLbl>
              <c:idx val="13"/>
              <c:layout>
                <c:manualLayout>
                  <c:x val="-3.63728879738917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163-4735-8A93-A292B23C2BAE}"/>
                </c:ext>
              </c:extLst>
            </c:dLbl>
            <c:dLbl>
              <c:idx val="18"/>
              <c:layout>
                <c:manualLayout>
                  <c:x val="-5.4559331960837572E-2"/>
                  <c:y val="2.426006793948717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163-4735-8A93-A292B23C2B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  <c:pt idx="2" formatCode="0%">
                  <c:v>5.8799999999999998E-2</c:v>
                </c:pt>
                <c:pt idx="4" formatCode="0%">
                  <c:v>0.10100000000000001</c:v>
                </c:pt>
                <c:pt idx="6" formatCode="0%">
                  <c:v>8.7900000000000006E-2</c:v>
                </c:pt>
                <c:pt idx="7" formatCode="0%">
                  <c:v>0.1217</c:v>
                </c:pt>
                <c:pt idx="8" formatCode="0%">
                  <c:v>4.2000000000000003E-2</c:v>
                </c:pt>
                <c:pt idx="9" formatCode="0%">
                  <c:v>1.3899999999999999E-2</c:v>
                </c:pt>
                <c:pt idx="10" formatCode="0%">
                  <c:v>4.2799999999999998E-2</c:v>
                </c:pt>
                <c:pt idx="11" formatCode="0%">
                  <c:v>0.2369</c:v>
                </c:pt>
                <c:pt idx="12" formatCode="0%">
                  <c:v>0.23549999999999999</c:v>
                </c:pt>
                <c:pt idx="13" formatCode="0%">
                  <c:v>0.15190000000000001</c:v>
                </c:pt>
                <c:pt idx="14" formatCode="0%">
                  <c:v>2.5000000000000001E-2</c:v>
                </c:pt>
                <c:pt idx="15" formatCode="0%">
                  <c:v>4.2000000000000003E-2</c:v>
                </c:pt>
                <c:pt idx="16" formatCode="0%">
                  <c:v>1.47E-2</c:v>
                </c:pt>
                <c:pt idx="17" formatCode="0%">
                  <c:v>0.29289999999999999</c:v>
                </c:pt>
                <c:pt idx="18" formatCode="0%">
                  <c:v>0.254</c:v>
                </c:pt>
                <c:pt idx="19" formatCode="0%">
                  <c:v>0.21410000000000001</c:v>
                </c:pt>
                <c:pt idx="20" formatCode="0%">
                  <c:v>0.3700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E7E-469B-B8BA-C3228EA7244A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  <c:pt idx="10" formatCode="0%">
                  <c:v>1.47E-2</c:v>
                </c:pt>
                <c:pt idx="11" formatCode="0%">
                  <c:v>1.1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E7E-469B-B8BA-C3228EA72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67-4997-A13E-4373B10B45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1390000000000005</c:v>
                </c:pt>
                <c:pt idx="1">
                  <c:v>0.89049999999999996</c:v>
                </c:pt>
                <c:pt idx="2">
                  <c:v>0.84230000000000005</c:v>
                </c:pt>
                <c:pt idx="3">
                  <c:v>0.77449999999999997</c:v>
                </c:pt>
                <c:pt idx="4">
                  <c:v>0.81630000000000003</c:v>
                </c:pt>
                <c:pt idx="5">
                  <c:v>0.7661</c:v>
                </c:pt>
                <c:pt idx="6">
                  <c:v>0.74380000000000002</c:v>
                </c:pt>
                <c:pt idx="7">
                  <c:v>0.73380000000000001</c:v>
                </c:pt>
                <c:pt idx="8">
                  <c:v>0.72499999999999998</c:v>
                </c:pt>
                <c:pt idx="9">
                  <c:v>0.76580000000000004</c:v>
                </c:pt>
                <c:pt idx="10">
                  <c:v>0.7137</c:v>
                </c:pt>
                <c:pt idx="11">
                  <c:v>0.61829999999999996</c:v>
                </c:pt>
                <c:pt idx="12">
                  <c:v>0.63149999999999995</c:v>
                </c:pt>
                <c:pt idx="13">
                  <c:v>0.68169999999999997</c:v>
                </c:pt>
                <c:pt idx="14">
                  <c:v>0.59309999999999996</c:v>
                </c:pt>
                <c:pt idx="15">
                  <c:v>0.68610000000000004</c:v>
                </c:pt>
                <c:pt idx="16">
                  <c:v>0.60360000000000003</c:v>
                </c:pt>
                <c:pt idx="17">
                  <c:v>0.56510000000000005</c:v>
                </c:pt>
                <c:pt idx="18">
                  <c:v>0.4088</c:v>
                </c:pt>
                <c:pt idx="19">
                  <c:v>0.35270000000000001</c:v>
                </c:pt>
                <c:pt idx="20">
                  <c:v>0.3109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7-4997-A13E-4373B10B452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4.84971839651890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B67-4997-A13E-4373B10B4523}"/>
                </c:ext>
              </c:extLst>
            </c:dLbl>
            <c:dLbl>
              <c:idx val="1"/>
              <c:layout>
                <c:manualLayout>
                  <c:x val="-7.27457759477834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B5D-4758-A124-87E7C6076FFC}"/>
                </c:ext>
              </c:extLst>
            </c:dLbl>
            <c:dLbl>
              <c:idx val="2"/>
              <c:layout>
                <c:manualLayout>
                  <c:x val="-2.424859198259447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67-4997-A13E-4373B10B4523}"/>
                </c:ext>
              </c:extLst>
            </c:dLbl>
            <c:dLbl>
              <c:idx val="3"/>
              <c:layout>
                <c:manualLayout>
                  <c:x val="-2.424859198259458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B5D-4758-A124-87E7C6076FFC}"/>
                </c:ext>
              </c:extLst>
            </c:dLbl>
            <c:dLbl>
              <c:idx val="4"/>
              <c:layout>
                <c:manualLayout>
                  <c:x val="-3.637288797389182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B67-4997-A13E-4373B10B4523}"/>
                </c:ext>
              </c:extLst>
            </c:dLbl>
            <c:dLbl>
              <c:idx val="5"/>
              <c:layout>
                <c:manualLayout>
                  <c:x val="-1.818644398694585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B67-4997-A13E-4373B10B45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7.3899999999999993E-2</c:v>
                </c:pt>
                <c:pt idx="1">
                  <c:v>9.8199999999999996E-2</c:v>
                </c:pt>
                <c:pt idx="2">
                  <c:v>0.13109999999999999</c:v>
                </c:pt>
                <c:pt idx="3">
                  <c:v>0.21010000000000001</c:v>
                </c:pt>
                <c:pt idx="4">
                  <c:v>0.15840000000000001</c:v>
                </c:pt>
                <c:pt idx="5">
                  <c:v>0.21590000000000001</c:v>
                </c:pt>
                <c:pt idx="6">
                  <c:v>0.19359999999999999</c:v>
                </c:pt>
                <c:pt idx="7">
                  <c:v>0.1918</c:v>
                </c:pt>
                <c:pt idx="8">
                  <c:v>0.25290000000000001</c:v>
                </c:pt>
                <c:pt idx="9">
                  <c:v>0.22070000000000001</c:v>
                </c:pt>
                <c:pt idx="10">
                  <c:v>0.26219999999999999</c:v>
                </c:pt>
                <c:pt idx="11">
                  <c:v>0.24560000000000001</c:v>
                </c:pt>
                <c:pt idx="12">
                  <c:v>0.26769999999999999</c:v>
                </c:pt>
                <c:pt idx="13">
                  <c:v>0.24149999999999999</c:v>
                </c:pt>
                <c:pt idx="14">
                  <c:v>0.39529999999999998</c:v>
                </c:pt>
                <c:pt idx="15">
                  <c:v>0.27410000000000001</c:v>
                </c:pt>
                <c:pt idx="16">
                  <c:v>0.35730000000000001</c:v>
                </c:pt>
                <c:pt idx="17">
                  <c:v>0.2732</c:v>
                </c:pt>
                <c:pt idx="18">
                  <c:v>0.45810000000000001</c:v>
                </c:pt>
                <c:pt idx="19">
                  <c:v>0.48370000000000002</c:v>
                </c:pt>
                <c:pt idx="20">
                  <c:v>0.45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B67-4997-A13E-4373B10B452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1.2200000000000001E-2</c:v>
                </c:pt>
                <c:pt idx="1">
                  <c:v>1.1299999999999999E-2</c:v>
                </c:pt>
                <c:pt idx="2">
                  <c:v>2.6599999999999999E-2</c:v>
                </c:pt>
                <c:pt idx="3">
                  <c:v>1.54E-2</c:v>
                </c:pt>
                <c:pt idx="4">
                  <c:v>2.5399999999999999E-2</c:v>
                </c:pt>
                <c:pt idx="5">
                  <c:v>1.7999999999999999E-2</c:v>
                </c:pt>
                <c:pt idx="6">
                  <c:v>5.57E-2</c:v>
                </c:pt>
                <c:pt idx="7">
                  <c:v>5.04E-2</c:v>
                </c:pt>
                <c:pt idx="8">
                  <c:v>1.6799999999999999E-2</c:v>
                </c:pt>
                <c:pt idx="9">
                  <c:v>1.34E-2</c:v>
                </c:pt>
                <c:pt idx="10">
                  <c:v>2.4199999999999999E-2</c:v>
                </c:pt>
                <c:pt idx="11">
                  <c:v>0.1207</c:v>
                </c:pt>
                <c:pt idx="12">
                  <c:v>0.08</c:v>
                </c:pt>
                <c:pt idx="13">
                  <c:v>6.8199999999999997E-2</c:v>
                </c:pt>
                <c:pt idx="14">
                  <c:v>1.1599999999999999E-2</c:v>
                </c:pt>
                <c:pt idx="15">
                  <c:v>3.9800000000000002E-2</c:v>
                </c:pt>
                <c:pt idx="16">
                  <c:v>3.3300000000000003E-2</c:v>
                </c:pt>
                <c:pt idx="17">
                  <c:v>0.13600000000000001</c:v>
                </c:pt>
                <c:pt idx="18">
                  <c:v>0.1331</c:v>
                </c:pt>
                <c:pt idx="19">
                  <c:v>0.14280000000000001</c:v>
                </c:pt>
                <c:pt idx="20">
                  <c:v>0.2238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B67-4997-A13E-4373B10B452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  <c:pt idx="6" formatCode="0%">
                  <c:v>6.8999999999999999E-3</c:v>
                </c:pt>
                <c:pt idx="7" formatCode="0%">
                  <c:v>2.3900000000000001E-2</c:v>
                </c:pt>
                <c:pt idx="8" formatCode="0%">
                  <c:v>5.3E-3</c:v>
                </c:pt>
                <c:pt idx="11" formatCode="0%">
                  <c:v>1.54E-2</c:v>
                </c:pt>
                <c:pt idx="12" formatCode="0%">
                  <c:v>2.07E-2</c:v>
                </c:pt>
                <c:pt idx="13" formatCode="0%">
                  <c:v>8.5000000000000006E-3</c:v>
                </c:pt>
                <c:pt idx="16" formatCode="0%">
                  <c:v>5.8999999999999999E-3</c:v>
                </c:pt>
                <c:pt idx="17" formatCode="0%">
                  <c:v>2.5700000000000001E-2</c:v>
                </c:pt>
                <c:pt idx="19" formatCode="0%">
                  <c:v>2.07E-2</c:v>
                </c:pt>
                <c:pt idx="20" formatCode="0%">
                  <c:v>1.22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B67-4997-A13E-4373B10B45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12-4740-BB38-AC849DDED44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2200000000000004</c:v>
                </c:pt>
                <c:pt idx="1">
                  <c:v>0.90920000000000001</c:v>
                </c:pt>
                <c:pt idx="2">
                  <c:v>0.83560000000000001</c:v>
                </c:pt>
                <c:pt idx="3">
                  <c:v>0.80569999999999997</c:v>
                </c:pt>
                <c:pt idx="4">
                  <c:v>0.78520000000000001</c:v>
                </c:pt>
                <c:pt idx="5">
                  <c:v>0.75009999999999999</c:v>
                </c:pt>
                <c:pt idx="6">
                  <c:v>0.72989999999999999</c:v>
                </c:pt>
                <c:pt idx="7">
                  <c:v>0.73499999999999999</c:v>
                </c:pt>
                <c:pt idx="8">
                  <c:v>0.68920000000000003</c:v>
                </c:pt>
                <c:pt idx="9">
                  <c:v>0.64639999999999997</c:v>
                </c:pt>
                <c:pt idx="10">
                  <c:v>0.58760000000000001</c:v>
                </c:pt>
                <c:pt idx="11">
                  <c:v>0.67500000000000004</c:v>
                </c:pt>
                <c:pt idx="12">
                  <c:v>0.58879999999999999</c:v>
                </c:pt>
                <c:pt idx="13">
                  <c:v>0.53569999999999995</c:v>
                </c:pt>
                <c:pt idx="14">
                  <c:v>0.57030000000000003</c:v>
                </c:pt>
                <c:pt idx="15">
                  <c:v>0.44590000000000002</c:v>
                </c:pt>
                <c:pt idx="16">
                  <c:v>0.47060000000000002</c:v>
                </c:pt>
                <c:pt idx="17">
                  <c:v>0.5</c:v>
                </c:pt>
                <c:pt idx="18">
                  <c:v>0.2651</c:v>
                </c:pt>
                <c:pt idx="19">
                  <c:v>0.16400000000000001</c:v>
                </c:pt>
                <c:pt idx="20">
                  <c:v>0.1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12-4740-BB38-AC849DDED44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7.27457759477834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6DE-4103-B360-DAAF7DD26526}"/>
                </c:ext>
              </c:extLst>
            </c:dLbl>
            <c:dLbl>
              <c:idx val="1"/>
              <c:layout>
                <c:manualLayout>
                  <c:x val="-9.6994367930378009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6DE-4103-B360-DAAF7DD26526}"/>
                </c:ext>
              </c:extLst>
            </c:dLbl>
            <c:dLbl>
              <c:idx val="2"/>
              <c:layout>
                <c:manualLayout>
                  <c:x val="-4.243503596954033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712-4740-BB38-AC849DDED446}"/>
                </c:ext>
              </c:extLst>
            </c:dLbl>
            <c:dLbl>
              <c:idx val="3"/>
              <c:layout>
                <c:manualLayout>
                  <c:x val="-6.6683627952134811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6DE-4103-B360-DAAF7DD26526}"/>
                </c:ext>
              </c:extLst>
            </c:dLbl>
            <c:dLbl>
              <c:idx val="9"/>
              <c:layout>
                <c:manualLayout>
                  <c:x val="-6.6683627952134811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712-4740-BB38-AC849DDED446}"/>
                </c:ext>
              </c:extLst>
            </c:dLbl>
            <c:dLbl>
              <c:idx val="10"/>
              <c:layout>
                <c:manualLayout>
                  <c:x val="-5.4559331960837572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6DE-4103-B360-DAAF7DD265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6.9400000000000003E-2</c:v>
                </c:pt>
                <c:pt idx="1">
                  <c:v>8.3400000000000002E-2</c:v>
                </c:pt>
                <c:pt idx="2">
                  <c:v>0.13539999999999999</c:v>
                </c:pt>
                <c:pt idx="3">
                  <c:v>0.19209999999999999</c:v>
                </c:pt>
                <c:pt idx="4">
                  <c:v>0.15190000000000001</c:v>
                </c:pt>
                <c:pt idx="5">
                  <c:v>0.22420000000000001</c:v>
                </c:pt>
                <c:pt idx="6">
                  <c:v>0.20169999999999999</c:v>
                </c:pt>
                <c:pt idx="7">
                  <c:v>0.15670000000000001</c:v>
                </c:pt>
                <c:pt idx="8">
                  <c:v>0.2676</c:v>
                </c:pt>
                <c:pt idx="9">
                  <c:v>0.34449999999999997</c:v>
                </c:pt>
                <c:pt idx="10">
                  <c:v>0.37980000000000003</c:v>
                </c:pt>
                <c:pt idx="11">
                  <c:v>0.20710000000000001</c:v>
                </c:pt>
                <c:pt idx="12">
                  <c:v>0.23849999999999999</c:v>
                </c:pt>
                <c:pt idx="13">
                  <c:v>0.31519999999999998</c:v>
                </c:pt>
                <c:pt idx="14">
                  <c:v>0.39779999999999999</c:v>
                </c:pt>
                <c:pt idx="15">
                  <c:v>0.43719999999999998</c:v>
                </c:pt>
                <c:pt idx="16">
                  <c:v>0.48980000000000001</c:v>
                </c:pt>
                <c:pt idx="17">
                  <c:v>0.23080000000000001</c:v>
                </c:pt>
                <c:pt idx="18">
                  <c:v>0.61250000000000004</c:v>
                </c:pt>
                <c:pt idx="19">
                  <c:v>0.56030000000000002</c:v>
                </c:pt>
                <c:pt idx="20">
                  <c:v>0.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712-4740-BB38-AC849DDED44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2"/>
              <c:layout>
                <c:manualLayout>
                  <c:x val="-3.0310739978243094E-2"/>
                  <c:y val="4.8520135867677369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DE-4103-B360-DAAF7DD26526}"/>
                </c:ext>
              </c:extLst>
            </c:dLbl>
            <c:dLbl>
              <c:idx val="13"/>
              <c:layout>
                <c:manualLayout>
                  <c:x val="-3.637288797389159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DE-4103-B360-DAAF7DD265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0.0%</c:formatCode>
                <c:ptCount val="21"/>
                <c:pt idx="0" formatCode="0%">
                  <c:v>5.7000000000000002E-3</c:v>
                </c:pt>
                <c:pt idx="1">
                  <c:v>4.4000000000000003E-3</c:v>
                </c:pt>
                <c:pt idx="2" formatCode="0%">
                  <c:v>2.6100000000000002E-2</c:v>
                </c:pt>
                <c:pt idx="3">
                  <c:v>2.2000000000000001E-3</c:v>
                </c:pt>
                <c:pt idx="4" formatCode="0%">
                  <c:v>5.79E-2</c:v>
                </c:pt>
                <c:pt idx="5" formatCode="0%">
                  <c:v>1.7600000000000001E-2</c:v>
                </c:pt>
                <c:pt idx="6" formatCode="0%">
                  <c:v>6.3299999999999995E-2</c:v>
                </c:pt>
                <c:pt idx="7" formatCode="0%">
                  <c:v>8.4400000000000003E-2</c:v>
                </c:pt>
                <c:pt idx="8" formatCode="0%">
                  <c:v>3.5900000000000001E-2</c:v>
                </c:pt>
                <c:pt idx="9" formatCode="0%">
                  <c:v>6.1999999999999998E-3</c:v>
                </c:pt>
                <c:pt idx="10" formatCode="0%">
                  <c:v>2.9700000000000001E-2</c:v>
                </c:pt>
                <c:pt idx="11" formatCode="0%">
                  <c:v>0.10730000000000001</c:v>
                </c:pt>
                <c:pt idx="12" formatCode="0%">
                  <c:v>0.14510000000000001</c:v>
                </c:pt>
                <c:pt idx="13" formatCode="0%">
                  <c:v>0.1326</c:v>
                </c:pt>
                <c:pt idx="14" formatCode="0%">
                  <c:v>2.8400000000000002E-2</c:v>
                </c:pt>
                <c:pt idx="15" formatCode="0%">
                  <c:v>0.1119</c:v>
                </c:pt>
                <c:pt idx="16" formatCode="0%">
                  <c:v>3.9600000000000003E-2</c:v>
                </c:pt>
                <c:pt idx="17" formatCode="0%">
                  <c:v>0.25259999999999999</c:v>
                </c:pt>
                <c:pt idx="18" formatCode="0%">
                  <c:v>0.12239999999999999</c:v>
                </c:pt>
                <c:pt idx="19" formatCode="0%">
                  <c:v>0.27039999999999997</c:v>
                </c:pt>
                <c:pt idx="20" formatCode="0%">
                  <c:v>0.440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712-4740-BB38-AC849DDED446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0.0%</c:formatCode>
                <c:ptCount val="21"/>
                <c:pt idx="0">
                  <c:v>2.8999999999999998E-3</c:v>
                </c:pt>
                <c:pt idx="1">
                  <c:v>2.8999999999999998E-3</c:v>
                </c:pt>
                <c:pt idx="2">
                  <c:v>2.8999999999999998E-3</c:v>
                </c:pt>
                <c:pt idx="4" formatCode="0%">
                  <c:v>5.1000000000000004E-3</c:v>
                </c:pt>
                <c:pt idx="5" formatCode="0%">
                  <c:v>8.2000000000000007E-3</c:v>
                </c:pt>
                <c:pt idx="6" formatCode="0%">
                  <c:v>5.1000000000000004E-3</c:v>
                </c:pt>
                <c:pt idx="7" formatCode="0%">
                  <c:v>2.3900000000000001E-2</c:v>
                </c:pt>
                <c:pt idx="8" formatCode="0%">
                  <c:v>7.1999999999999998E-3</c:v>
                </c:pt>
                <c:pt idx="9">
                  <c:v>2.8999999999999998E-3</c:v>
                </c:pt>
                <c:pt idx="10">
                  <c:v>2.8999999999999998E-3</c:v>
                </c:pt>
                <c:pt idx="11" formatCode="0%">
                  <c:v>1.0500000000000001E-2</c:v>
                </c:pt>
                <c:pt idx="12" formatCode="0%">
                  <c:v>2.75E-2</c:v>
                </c:pt>
                <c:pt idx="13" formatCode="0%">
                  <c:v>1.6400000000000001E-2</c:v>
                </c:pt>
                <c:pt idx="14">
                  <c:v>3.5000000000000001E-3</c:v>
                </c:pt>
                <c:pt idx="15" formatCode="0%">
                  <c:v>5.1000000000000004E-3</c:v>
                </c:pt>
                <c:pt idx="17" formatCode="0%">
                  <c:v>1.6500000000000001E-2</c:v>
                </c:pt>
                <c:pt idx="19" formatCode="0%">
                  <c:v>5.3E-3</c:v>
                </c:pt>
                <c:pt idx="20">
                  <c:v>2.39999999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712-4740-BB38-AC849DDED4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78169999999999995</c:v>
                </c:pt>
                <c:pt idx="1">
                  <c:v>0.76</c:v>
                </c:pt>
                <c:pt idx="2">
                  <c:v>0.753</c:v>
                </c:pt>
                <c:pt idx="3">
                  <c:v>0.74439999999999995</c:v>
                </c:pt>
                <c:pt idx="4">
                  <c:v>0.69820000000000004</c:v>
                </c:pt>
                <c:pt idx="5">
                  <c:v>0.68130000000000002</c:v>
                </c:pt>
                <c:pt idx="6">
                  <c:v>0.68010000000000004</c:v>
                </c:pt>
                <c:pt idx="7">
                  <c:v>0.64600000000000002</c:v>
                </c:pt>
                <c:pt idx="8">
                  <c:v>0.61829999999999996</c:v>
                </c:pt>
                <c:pt idx="9">
                  <c:v>0.60350000000000004</c:v>
                </c:pt>
                <c:pt idx="10">
                  <c:v>0.59930000000000005</c:v>
                </c:pt>
                <c:pt idx="11">
                  <c:v>0.58740000000000003</c:v>
                </c:pt>
                <c:pt idx="12">
                  <c:v>0.58720000000000006</c:v>
                </c:pt>
                <c:pt idx="13">
                  <c:v>0.54449999999999998</c:v>
                </c:pt>
                <c:pt idx="14">
                  <c:v>0.53410000000000002</c:v>
                </c:pt>
                <c:pt idx="15">
                  <c:v>0.51390000000000002</c:v>
                </c:pt>
                <c:pt idx="16">
                  <c:v>0.46510000000000001</c:v>
                </c:pt>
                <c:pt idx="17">
                  <c:v>0.45900000000000002</c:v>
                </c:pt>
                <c:pt idx="18">
                  <c:v>0.41460000000000002</c:v>
                </c:pt>
                <c:pt idx="19">
                  <c:v>0.33689999999999998</c:v>
                </c:pt>
                <c:pt idx="20">
                  <c:v>0.274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674768518518518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7399999999999999</c:v>
                </c:pt>
                <c:pt idx="1">
                  <c:v>0.1792</c:v>
                </c:pt>
                <c:pt idx="2">
                  <c:v>0.23300000000000001</c:v>
                </c:pt>
                <c:pt idx="3">
                  <c:v>0.20180000000000001</c:v>
                </c:pt>
                <c:pt idx="4">
                  <c:v>0.28129999999999999</c:v>
                </c:pt>
                <c:pt idx="5">
                  <c:v>0.25629999999999997</c:v>
                </c:pt>
                <c:pt idx="6">
                  <c:v>0.30099999999999999</c:v>
                </c:pt>
                <c:pt idx="7">
                  <c:v>0.33739999999999998</c:v>
                </c:pt>
                <c:pt idx="8">
                  <c:v>0.3644</c:v>
                </c:pt>
                <c:pt idx="9">
                  <c:v>0.35730000000000001</c:v>
                </c:pt>
                <c:pt idx="10">
                  <c:v>0.38300000000000001</c:v>
                </c:pt>
                <c:pt idx="11">
                  <c:v>0.38</c:v>
                </c:pt>
                <c:pt idx="12">
                  <c:v>0.35539999999999999</c:v>
                </c:pt>
                <c:pt idx="13">
                  <c:v>0.35959999999999998</c:v>
                </c:pt>
                <c:pt idx="14">
                  <c:v>0.43930000000000002</c:v>
                </c:pt>
                <c:pt idx="15">
                  <c:v>0.42309999999999998</c:v>
                </c:pt>
                <c:pt idx="16">
                  <c:v>0.49540000000000001</c:v>
                </c:pt>
                <c:pt idx="17">
                  <c:v>0.49280000000000002</c:v>
                </c:pt>
                <c:pt idx="18">
                  <c:v>0.5323</c:v>
                </c:pt>
                <c:pt idx="19">
                  <c:v>0.51870000000000005</c:v>
                </c:pt>
                <c:pt idx="20">
                  <c:v>0.5598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3.1199999999999999E-2</c:v>
                </c:pt>
                <c:pt idx="1">
                  <c:v>4.48E-2</c:v>
                </c:pt>
                <c:pt idx="2">
                  <c:v>9.9000000000000008E-3</c:v>
                </c:pt>
                <c:pt idx="3">
                  <c:v>4.2099999999999999E-2</c:v>
                </c:pt>
                <c:pt idx="4">
                  <c:v>1.67E-2</c:v>
                </c:pt>
                <c:pt idx="5">
                  <c:v>4.9700000000000001E-2</c:v>
                </c:pt>
                <c:pt idx="6">
                  <c:v>1.72E-2</c:v>
                </c:pt>
                <c:pt idx="7">
                  <c:v>1.41E-2</c:v>
                </c:pt>
                <c:pt idx="8">
                  <c:v>1.35E-2</c:v>
                </c:pt>
                <c:pt idx="9">
                  <c:v>2.86E-2</c:v>
                </c:pt>
                <c:pt idx="10">
                  <c:v>1.6E-2</c:v>
                </c:pt>
                <c:pt idx="11">
                  <c:v>2.3900000000000001E-2</c:v>
                </c:pt>
                <c:pt idx="12">
                  <c:v>4.5499999999999999E-2</c:v>
                </c:pt>
                <c:pt idx="13">
                  <c:v>9.0899999999999995E-2</c:v>
                </c:pt>
                <c:pt idx="14">
                  <c:v>2.4899999999999999E-2</c:v>
                </c:pt>
                <c:pt idx="15">
                  <c:v>5.96E-2</c:v>
                </c:pt>
                <c:pt idx="16">
                  <c:v>3.6999999999999998E-2</c:v>
                </c:pt>
                <c:pt idx="17">
                  <c:v>4.48E-2</c:v>
                </c:pt>
                <c:pt idx="18">
                  <c:v>4.7199999999999999E-2</c:v>
                </c:pt>
                <c:pt idx="19">
                  <c:v>0.1419</c:v>
                </c:pt>
                <c:pt idx="20">
                  <c:v>0.156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1.3100000000000001E-2</c:v>
                </c:pt>
                <c:pt idx="1">
                  <c:v>1.6E-2</c:v>
                </c:pt>
                <c:pt idx="2" formatCode="0.0%">
                  <c:v>4.1999999999999997E-3</c:v>
                </c:pt>
                <c:pt idx="3">
                  <c:v>1.17E-2</c:v>
                </c:pt>
                <c:pt idx="4" formatCode="0.0%">
                  <c:v>3.8E-3</c:v>
                </c:pt>
                <c:pt idx="5">
                  <c:v>1.2699999999999999E-2</c:v>
                </c:pt>
                <c:pt idx="6" formatCode="0.0%">
                  <c:v>1.6999999999999999E-3</c:v>
                </c:pt>
                <c:pt idx="7" formatCode="0.0%">
                  <c:v>2.5000000000000001E-3</c:v>
                </c:pt>
                <c:pt idx="8" formatCode="0.0%">
                  <c:v>3.7000000000000002E-3</c:v>
                </c:pt>
                <c:pt idx="9">
                  <c:v>1.06E-2</c:v>
                </c:pt>
                <c:pt idx="10" formatCode="0.0%">
                  <c:v>1.6999999999999999E-3</c:v>
                </c:pt>
                <c:pt idx="11">
                  <c:v>8.6999999999999994E-3</c:v>
                </c:pt>
                <c:pt idx="12">
                  <c:v>1.1900000000000001E-2</c:v>
                </c:pt>
                <c:pt idx="13">
                  <c:v>5.0000000000000001E-3</c:v>
                </c:pt>
                <c:pt idx="14" formatCode="0.0%">
                  <c:v>1.6999999999999999E-3</c:v>
                </c:pt>
                <c:pt idx="15" formatCode="0.0%">
                  <c:v>3.3999999999999998E-3</c:v>
                </c:pt>
                <c:pt idx="16" formatCode="0.0%">
                  <c:v>2.5000000000000001E-3</c:v>
                </c:pt>
                <c:pt idx="17" formatCode="0.0%">
                  <c:v>3.3999999999999998E-3</c:v>
                </c:pt>
                <c:pt idx="18">
                  <c:v>5.7999999999999996E-3</c:v>
                </c:pt>
                <c:pt idx="19" formatCode="0.0%">
                  <c:v>2.5000000000000001E-3</c:v>
                </c:pt>
                <c:pt idx="20">
                  <c:v>8.699999999999999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E7E-469B-B8BA-C3228EA724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63959999999999995</c:v>
                </c:pt>
                <c:pt idx="1">
                  <c:v>0.61029999999999995</c:v>
                </c:pt>
                <c:pt idx="2">
                  <c:v>0.5796</c:v>
                </c:pt>
                <c:pt idx="3">
                  <c:v>0.59630000000000005</c:v>
                </c:pt>
                <c:pt idx="4">
                  <c:v>0.51570000000000005</c:v>
                </c:pt>
                <c:pt idx="5">
                  <c:v>0.55769999999999997</c:v>
                </c:pt>
                <c:pt idx="6">
                  <c:v>0.61450000000000005</c:v>
                </c:pt>
                <c:pt idx="7">
                  <c:v>0.495</c:v>
                </c:pt>
                <c:pt idx="8">
                  <c:v>0.4652</c:v>
                </c:pt>
                <c:pt idx="9">
                  <c:v>0.56779999999999997</c:v>
                </c:pt>
                <c:pt idx="10">
                  <c:v>0.40860000000000002</c:v>
                </c:pt>
                <c:pt idx="11">
                  <c:v>0.30919999999999997</c:v>
                </c:pt>
                <c:pt idx="12">
                  <c:v>0.26229999999999998</c:v>
                </c:pt>
                <c:pt idx="13">
                  <c:v>0.39679999999999999</c:v>
                </c:pt>
                <c:pt idx="14">
                  <c:v>0.34379999999999999</c:v>
                </c:pt>
                <c:pt idx="15">
                  <c:v>0.39829999999999999</c:v>
                </c:pt>
                <c:pt idx="16">
                  <c:v>0.28360000000000002</c:v>
                </c:pt>
                <c:pt idx="17">
                  <c:v>0.28320000000000001</c:v>
                </c:pt>
                <c:pt idx="18">
                  <c:v>0.31359999999999999</c:v>
                </c:pt>
                <c:pt idx="19">
                  <c:v>0.25009999999999999</c:v>
                </c:pt>
                <c:pt idx="20">
                  <c:v>9.45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7E-469B-B8BA-C3228EA7244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5.44741221707294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CC6-4B5B-AA50-99A08DAA38E1}"/>
                </c:ext>
              </c:extLst>
            </c:dLbl>
            <c:dLbl>
              <c:idx val="1"/>
              <c:layout>
                <c:manualLayout>
                  <c:x val="-3.631608144715295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CC6-4B5B-AA50-99A08DAA38E1}"/>
                </c:ext>
              </c:extLst>
            </c:dLbl>
            <c:dLbl>
              <c:idx val="3"/>
              <c:layout>
                <c:manualLayout>
                  <c:x val="-2.421072096476874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CC6-4B5B-AA50-99A08DAA38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32500000000000001</c:v>
                </c:pt>
                <c:pt idx="1">
                  <c:v>0.2329</c:v>
                </c:pt>
                <c:pt idx="2">
                  <c:v>0.4204</c:v>
                </c:pt>
                <c:pt idx="3">
                  <c:v>0.32369999999999999</c:v>
                </c:pt>
                <c:pt idx="4">
                  <c:v>0.44690000000000002</c:v>
                </c:pt>
                <c:pt idx="5">
                  <c:v>0.3569</c:v>
                </c:pt>
                <c:pt idx="6">
                  <c:v>0.36959999999999998</c:v>
                </c:pt>
                <c:pt idx="7">
                  <c:v>0.46539999999999998</c:v>
                </c:pt>
                <c:pt idx="8">
                  <c:v>0.4703</c:v>
                </c:pt>
                <c:pt idx="9">
                  <c:v>0.37769999999999998</c:v>
                </c:pt>
                <c:pt idx="10">
                  <c:v>0.5524</c:v>
                </c:pt>
                <c:pt idx="11">
                  <c:v>0.60409999999999997</c:v>
                </c:pt>
                <c:pt idx="12">
                  <c:v>0.63180000000000003</c:v>
                </c:pt>
                <c:pt idx="13">
                  <c:v>0.50560000000000005</c:v>
                </c:pt>
                <c:pt idx="14">
                  <c:v>0.60170000000000001</c:v>
                </c:pt>
                <c:pt idx="15">
                  <c:v>0.44</c:v>
                </c:pt>
                <c:pt idx="16">
                  <c:v>0.64159999999999995</c:v>
                </c:pt>
                <c:pt idx="17">
                  <c:v>0.62019999999999997</c:v>
                </c:pt>
                <c:pt idx="18">
                  <c:v>0.63180000000000003</c:v>
                </c:pt>
                <c:pt idx="19">
                  <c:v>0.57950000000000002</c:v>
                </c:pt>
                <c:pt idx="20">
                  <c:v>0.7264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7E-469B-B8BA-C3228EA7244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"/>
              <c:layout>
                <c:manualLayout>
                  <c:x val="-7.2632162894305907E-2"/>
                  <c:y val="1.412121807701780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CC6-4B5B-AA50-99A08DAA38E1}"/>
                </c:ext>
              </c:extLst>
            </c:dLbl>
            <c:dLbl>
              <c:idx val="19"/>
              <c:layout>
                <c:manualLayout>
                  <c:x val="-2.4210720964768635E-2"/>
                  <c:y val="1.129697446161424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CC6-4B5B-AA50-99A08DAA38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3.5400000000000001E-2</c:v>
                </c:pt>
                <c:pt idx="1">
                  <c:v>0.15679999999999999</c:v>
                </c:pt>
                <c:pt idx="3">
                  <c:v>7.9899999999999999E-2</c:v>
                </c:pt>
                <c:pt idx="4">
                  <c:v>3.7400000000000003E-2</c:v>
                </c:pt>
                <c:pt idx="5">
                  <c:v>5.3699999999999998E-2</c:v>
                </c:pt>
                <c:pt idx="6">
                  <c:v>1.5900000000000001E-2</c:v>
                </c:pt>
                <c:pt idx="7">
                  <c:v>3.9600000000000003E-2</c:v>
                </c:pt>
                <c:pt idx="8">
                  <c:v>4.87E-2</c:v>
                </c:pt>
                <c:pt idx="9">
                  <c:v>5.45E-2</c:v>
                </c:pt>
                <c:pt idx="10">
                  <c:v>3.9E-2</c:v>
                </c:pt>
                <c:pt idx="11">
                  <c:v>6.7199999999999996E-2</c:v>
                </c:pt>
                <c:pt idx="12">
                  <c:v>0.10580000000000001</c:v>
                </c:pt>
                <c:pt idx="13">
                  <c:v>8.1799999999999998E-2</c:v>
                </c:pt>
                <c:pt idx="14">
                  <c:v>5.45E-2</c:v>
                </c:pt>
                <c:pt idx="15">
                  <c:v>0.1459</c:v>
                </c:pt>
                <c:pt idx="16">
                  <c:v>7.4800000000000005E-2</c:v>
                </c:pt>
                <c:pt idx="17">
                  <c:v>9.6699999999999994E-2</c:v>
                </c:pt>
                <c:pt idx="18">
                  <c:v>3.8699999999999998E-2</c:v>
                </c:pt>
                <c:pt idx="19">
                  <c:v>0.1704</c:v>
                </c:pt>
                <c:pt idx="20">
                  <c:v>0.17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E7E-469B-B8BA-C3228EA7244A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  <c:pt idx="5" formatCode="0%">
                  <c:v>3.1699999999999999E-2</c:v>
                </c:pt>
                <c:pt idx="8" formatCode="0%">
                  <c:v>1.5900000000000001E-2</c:v>
                </c:pt>
                <c:pt idx="11" formatCode="0%">
                  <c:v>1.9599999999999999E-2</c:v>
                </c:pt>
                <c:pt idx="13" formatCode="0%">
                  <c:v>1.5900000000000001E-2</c:v>
                </c:pt>
                <c:pt idx="15" formatCode="0%">
                  <c:v>1.5900000000000001E-2</c:v>
                </c:pt>
                <c:pt idx="18" formatCode="0%">
                  <c:v>1.59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E7E-469B-B8BA-C3228EA72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67-4997-A13E-4373B10B45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76</c:v>
                </c:pt>
                <c:pt idx="1">
                  <c:v>0.74860000000000004</c:v>
                </c:pt>
                <c:pt idx="2">
                  <c:v>0.76029999999999998</c:v>
                </c:pt>
                <c:pt idx="3">
                  <c:v>0.73560000000000003</c:v>
                </c:pt>
                <c:pt idx="4">
                  <c:v>0.75090000000000001</c:v>
                </c:pt>
                <c:pt idx="5">
                  <c:v>0.6925</c:v>
                </c:pt>
                <c:pt idx="6">
                  <c:v>0.71279999999999999</c:v>
                </c:pt>
                <c:pt idx="7">
                  <c:v>0.68310000000000004</c:v>
                </c:pt>
                <c:pt idx="8">
                  <c:v>0.65510000000000002</c:v>
                </c:pt>
                <c:pt idx="9">
                  <c:v>0.67179999999999995</c:v>
                </c:pt>
                <c:pt idx="10">
                  <c:v>0.61109999999999998</c:v>
                </c:pt>
                <c:pt idx="11">
                  <c:v>0.6552</c:v>
                </c:pt>
                <c:pt idx="12">
                  <c:v>0.65310000000000001</c:v>
                </c:pt>
                <c:pt idx="13">
                  <c:v>0.63439999999999996</c:v>
                </c:pt>
                <c:pt idx="14">
                  <c:v>0.57520000000000004</c:v>
                </c:pt>
                <c:pt idx="15">
                  <c:v>0.55879999999999996</c:v>
                </c:pt>
                <c:pt idx="16">
                  <c:v>0.52759999999999996</c:v>
                </c:pt>
                <c:pt idx="17">
                  <c:v>0.55500000000000005</c:v>
                </c:pt>
                <c:pt idx="18">
                  <c:v>0.51890000000000003</c:v>
                </c:pt>
                <c:pt idx="19">
                  <c:v>0.44640000000000002</c:v>
                </c:pt>
                <c:pt idx="20">
                  <c:v>0.404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7-4997-A13E-4373B10B452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4.2368761688345219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D2D-4391-8B77-A385D8E72A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9670000000000001</c:v>
                </c:pt>
                <c:pt idx="1">
                  <c:v>0.19500000000000001</c:v>
                </c:pt>
                <c:pt idx="2">
                  <c:v>0.21560000000000001</c:v>
                </c:pt>
                <c:pt idx="3">
                  <c:v>0.2097</c:v>
                </c:pt>
                <c:pt idx="4">
                  <c:v>0.22639999999999999</c:v>
                </c:pt>
                <c:pt idx="5">
                  <c:v>0.25790000000000002</c:v>
                </c:pt>
                <c:pt idx="6">
                  <c:v>0.26600000000000001</c:v>
                </c:pt>
                <c:pt idx="7">
                  <c:v>0.29849999999999999</c:v>
                </c:pt>
                <c:pt idx="8">
                  <c:v>0.3392</c:v>
                </c:pt>
                <c:pt idx="9">
                  <c:v>0.27939999999999998</c:v>
                </c:pt>
                <c:pt idx="10">
                  <c:v>0.36130000000000001</c:v>
                </c:pt>
                <c:pt idx="11">
                  <c:v>0.312</c:v>
                </c:pt>
                <c:pt idx="12">
                  <c:v>0.30599999999999999</c:v>
                </c:pt>
                <c:pt idx="13">
                  <c:v>0.29970000000000002</c:v>
                </c:pt>
                <c:pt idx="14">
                  <c:v>0.3982</c:v>
                </c:pt>
                <c:pt idx="15">
                  <c:v>0.39950000000000002</c:v>
                </c:pt>
                <c:pt idx="16">
                  <c:v>0.44779999999999998</c:v>
                </c:pt>
                <c:pt idx="17">
                  <c:v>0.40029999999999999</c:v>
                </c:pt>
                <c:pt idx="18">
                  <c:v>0.42780000000000001</c:v>
                </c:pt>
                <c:pt idx="19">
                  <c:v>0.4546</c:v>
                </c:pt>
                <c:pt idx="20">
                  <c:v>0.464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B67-4997-A13E-4373B10B452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1.7999999999999999E-2</c:v>
                </c:pt>
                <c:pt idx="1">
                  <c:v>2.58E-2</c:v>
                </c:pt>
                <c:pt idx="2">
                  <c:v>0.01</c:v>
                </c:pt>
                <c:pt idx="3">
                  <c:v>2.86E-2</c:v>
                </c:pt>
                <c:pt idx="4">
                  <c:v>0.01</c:v>
                </c:pt>
                <c:pt idx="5">
                  <c:v>3.5400000000000001E-2</c:v>
                </c:pt>
                <c:pt idx="6">
                  <c:v>1.55E-2</c:v>
                </c:pt>
                <c:pt idx="7">
                  <c:v>0.01</c:v>
                </c:pt>
                <c:pt idx="9">
                  <c:v>1.9300000000000001E-2</c:v>
                </c:pt>
                <c:pt idx="10">
                  <c:v>2.1999999999999999E-2</c:v>
                </c:pt>
                <c:pt idx="11">
                  <c:v>1.18E-2</c:v>
                </c:pt>
                <c:pt idx="12">
                  <c:v>1.5599999999999999E-2</c:v>
                </c:pt>
                <c:pt idx="13">
                  <c:v>6.0299999999999999E-2</c:v>
                </c:pt>
                <c:pt idx="14">
                  <c:v>2.0899999999999998E-2</c:v>
                </c:pt>
                <c:pt idx="15">
                  <c:v>4.1700000000000001E-2</c:v>
                </c:pt>
                <c:pt idx="16">
                  <c:v>1.6199999999999999E-2</c:v>
                </c:pt>
                <c:pt idx="17">
                  <c:v>3.32E-2</c:v>
                </c:pt>
                <c:pt idx="18">
                  <c:v>4.0599999999999997E-2</c:v>
                </c:pt>
                <c:pt idx="19">
                  <c:v>9.0499999999999997E-2</c:v>
                </c:pt>
                <c:pt idx="20">
                  <c:v>0.11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B67-4997-A13E-4373B10B452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2.52E-2</c:v>
                </c:pt>
                <c:pt idx="1">
                  <c:v>3.0599999999999999E-2</c:v>
                </c:pt>
                <c:pt idx="2">
                  <c:v>1.41E-2</c:v>
                </c:pt>
                <c:pt idx="3">
                  <c:v>2.6100000000000002E-2</c:v>
                </c:pt>
                <c:pt idx="4">
                  <c:v>1.2699999999999999E-2</c:v>
                </c:pt>
                <c:pt idx="5">
                  <c:v>1.41E-2</c:v>
                </c:pt>
                <c:pt idx="6">
                  <c:v>5.7000000000000002E-3</c:v>
                </c:pt>
                <c:pt idx="7">
                  <c:v>8.3999999999999995E-3</c:v>
                </c:pt>
                <c:pt idx="8">
                  <c:v>5.7000000000000002E-3</c:v>
                </c:pt>
                <c:pt idx="9">
                  <c:v>2.9399999999999999E-2</c:v>
                </c:pt>
                <c:pt idx="10">
                  <c:v>5.7000000000000002E-3</c:v>
                </c:pt>
                <c:pt idx="11">
                  <c:v>2.1000000000000001E-2</c:v>
                </c:pt>
                <c:pt idx="12">
                  <c:v>2.52E-2</c:v>
                </c:pt>
                <c:pt idx="13">
                  <c:v>5.7000000000000002E-3</c:v>
                </c:pt>
                <c:pt idx="14">
                  <c:v>5.7000000000000002E-3</c:v>
                </c:pt>
                <c:pt idx="16">
                  <c:v>8.3999999999999995E-3</c:v>
                </c:pt>
                <c:pt idx="17">
                  <c:v>1.15E-2</c:v>
                </c:pt>
                <c:pt idx="18">
                  <c:v>1.2699999999999999E-2</c:v>
                </c:pt>
                <c:pt idx="19">
                  <c:v>8.3999999999999995E-3</c:v>
                </c:pt>
                <c:pt idx="20">
                  <c:v>1.3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B67-4997-A13E-4373B10B45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12-4740-BB38-AC849DDED44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82450000000000001</c:v>
                </c:pt>
                <c:pt idx="1">
                  <c:v>0.7994</c:v>
                </c:pt>
                <c:pt idx="2">
                  <c:v>0.78790000000000004</c:v>
                </c:pt>
                <c:pt idx="3">
                  <c:v>0.78190000000000004</c:v>
                </c:pt>
                <c:pt idx="4">
                  <c:v>0.7117</c:v>
                </c:pt>
                <c:pt idx="5">
                  <c:v>0.70320000000000005</c:v>
                </c:pt>
                <c:pt idx="6">
                  <c:v>0.67779999999999996</c:v>
                </c:pt>
                <c:pt idx="7">
                  <c:v>0.66049999999999998</c:v>
                </c:pt>
                <c:pt idx="8">
                  <c:v>0.63349999999999995</c:v>
                </c:pt>
                <c:pt idx="9">
                  <c:v>0.57620000000000005</c:v>
                </c:pt>
                <c:pt idx="10">
                  <c:v>0.63570000000000004</c:v>
                </c:pt>
                <c:pt idx="11">
                  <c:v>0.61439999999999995</c:v>
                </c:pt>
                <c:pt idx="12">
                  <c:v>0.62570000000000003</c:v>
                </c:pt>
                <c:pt idx="13">
                  <c:v>0.53110000000000002</c:v>
                </c:pt>
                <c:pt idx="14">
                  <c:v>0.55530000000000002</c:v>
                </c:pt>
                <c:pt idx="15">
                  <c:v>0.51649999999999996</c:v>
                </c:pt>
                <c:pt idx="16">
                  <c:v>0.4733</c:v>
                </c:pt>
                <c:pt idx="17">
                  <c:v>0.44869999999999999</c:v>
                </c:pt>
                <c:pt idx="18">
                  <c:v>0.38329999999999997</c:v>
                </c:pt>
                <c:pt idx="19">
                  <c:v>0.29970000000000002</c:v>
                </c:pt>
                <c:pt idx="20">
                  <c:v>0.2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12-4740-BB38-AC849DDED44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2859999999999999</c:v>
                </c:pt>
                <c:pt idx="1">
                  <c:v>0.159</c:v>
                </c:pt>
                <c:pt idx="2">
                  <c:v>0.2001</c:v>
                </c:pt>
                <c:pt idx="3">
                  <c:v>0.17050000000000001</c:v>
                </c:pt>
                <c:pt idx="4">
                  <c:v>0.2727</c:v>
                </c:pt>
                <c:pt idx="5">
                  <c:v>0.2331</c:v>
                </c:pt>
                <c:pt idx="6">
                  <c:v>0.30380000000000001</c:v>
                </c:pt>
                <c:pt idx="7">
                  <c:v>0.32890000000000003</c:v>
                </c:pt>
                <c:pt idx="8">
                  <c:v>0.3538</c:v>
                </c:pt>
                <c:pt idx="9">
                  <c:v>0.3931</c:v>
                </c:pt>
                <c:pt idx="10">
                  <c:v>0.35639999999999999</c:v>
                </c:pt>
                <c:pt idx="11">
                  <c:v>0.36509999999999998</c:v>
                </c:pt>
                <c:pt idx="12">
                  <c:v>0.31919999999999998</c:v>
                </c:pt>
                <c:pt idx="13">
                  <c:v>0.35799999999999998</c:v>
                </c:pt>
                <c:pt idx="14">
                  <c:v>0.42430000000000001</c:v>
                </c:pt>
                <c:pt idx="15">
                  <c:v>0.43149999999999999</c:v>
                </c:pt>
                <c:pt idx="16">
                  <c:v>0.4874</c:v>
                </c:pt>
                <c:pt idx="17">
                  <c:v>0.5121</c:v>
                </c:pt>
                <c:pt idx="18">
                  <c:v>0.56410000000000005</c:v>
                </c:pt>
                <c:pt idx="19">
                  <c:v>0.53810000000000002</c:v>
                </c:pt>
                <c:pt idx="20">
                  <c:v>0.5722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712-4740-BB38-AC849DDED44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3"/>
              <c:layout>
                <c:manualLayout>
                  <c:x val="-4.84214419295373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C87-4A78-B053-1DC154250F19}"/>
                </c:ext>
              </c:extLst>
            </c:dLbl>
            <c:dLbl>
              <c:idx val="19"/>
              <c:layout>
                <c:manualLayout>
                  <c:x val="-2.4210720964768635E-2"/>
                  <c:y val="1.129697446161424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87-4A78-B053-1DC154250F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3.7100000000000001E-2</c:v>
                </c:pt>
                <c:pt idx="1">
                  <c:v>2.9700000000000001E-2</c:v>
                </c:pt>
                <c:pt idx="2">
                  <c:v>1.2E-2</c:v>
                </c:pt>
                <c:pt idx="3">
                  <c:v>4.07E-2</c:v>
                </c:pt>
                <c:pt idx="4">
                  <c:v>1.55E-2</c:v>
                </c:pt>
                <c:pt idx="5">
                  <c:v>5.6099999999999997E-2</c:v>
                </c:pt>
                <c:pt idx="6">
                  <c:v>1.83E-2</c:v>
                </c:pt>
                <c:pt idx="7">
                  <c:v>1.06E-2</c:v>
                </c:pt>
                <c:pt idx="8">
                  <c:v>1.2699999999999999E-2</c:v>
                </c:pt>
                <c:pt idx="9">
                  <c:v>2.75E-2</c:v>
                </c:pt>
                <c:pt idx="10">
                  <c:v>7.7999999999999996E-3</c:v>
                </c:pt>
                <c:pt idx="11">
                  <c:v>2.0500000000000001E-2</c:v>
                </c:pt>
                <c:pt idx="12">
                  <c:v>4.7399999999999998E-2</c:v>
                </c:pt>
                <c:pt idx="13">
                  <c:v>0.1087</c:v>
                </c:pt>
                <c:pt idx="14">
                  <c:v>2.0400000000000001E-2</c:v>
                </c:pt>
                <c:pt idx="15">
                  <c:v>4.9599999999999998E-2</c:v>
                </c:pt>
                <c:pt idx="16">
                  <c:v>3.9300000000000002E-2</c:v>
                </c:pt>
                <c:pt idx="17">
                  <c:v>3.9199999999999999E-2</c:v>
                </c:pt>
                <c:pt idx="18">
                  <c:v>5.2600000000000001E-2</c:v>
                </c:pt>
                <c:pt idx="19">
                  <c:v>0.16209999999999999</c:v>
                </c:pt>
                <c:pt idx="20">
                  <c:v>0.17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712-4740-BB38-AC849DDED446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9.7999999999999997E-3</c:v>
                </c:pt>
                <c:pt idx="1">
                  <c:v>1.1900000000000001E-2</c:v>
                </c:pt>
                <c:pt idx="3">
                  <c:v>6.8999999999999999E-3</c:v>
                </c:pt>
                <c:pt idx="5">
                  <c:v>7.7000000000000002E-3</c:v>
                </c:pt>
                <c:pt idx="9" formatCode="0.0%">
                  <c:v>3.2000000000000002E-3</c:v>
                </c:pt>
                <c:pt idx="12">
                  <c:v>7.7000000000000002E-3</c:v>
                </c:pt>
                <c:pt idx="13" formatCode="0.0%">
                  <c:v>2.2000000000000001E-3</c:v>
                </c:pt>
                <c:pt idx="15" formatCode="0.0%">
                  <c:v>2.3999999999999998E-3</c:v>
                </c:pt>
                <c:pt idx="20">
                  <c:v>8.000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712-4740-BB38-AC849DDED4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2.9499999999999998E-2</c:v>
                </c:pt>
                <c:pt idx="1">
                  <c:v>1.9E-2</c:v>
                </c:pt>
                <c:pt idx="2">
                  <c:v>0.18390000000000001</c:v>
                </c:pt>
                <c:pt idx="3">
                  <c:v>0.40060000000000001</c:v>
                </c:pt>
                <c:pt idx="4">
                  <c:v>2.5499999999999998E-2</c:v>
                </c:pt>
                <c:pt idx="5">
                  <c:v>0.31419999999999998</c:v>
                </c:pt>
                <c:pt idx="6">
                  <c:v>1.9E-2</c:v>
                </c:pt>
                <c:pt idx="7">
                  <c:v>0</c:v>
                </c:pt>
                <c:pt idx="8">
                  <c:v>8.500000000000000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78169999999999995</c:v>
                </c:pt>
                <c:pt idx="1">
                  <c:v>0.76</c:v>
                </c:pt>
                <c:pt idx="2">
                  <c:v>0.753</c:v>
                </c:pt>
                <c:pt idx="3">
                  <c:v>0.74439999999999995</c:v>
                </c:pt>
                <c:pt idx="4">
                  <c:v>0.69820000000000004</c:v>
                </c:pt>
                <c:pt idx="5">
                  <c:v>0.68130000000000002</c:v>
                </c:pt>
                <c:pt idx="6">
                  <c:v>0.68010000000000004</c:v>
                </c:pt>
                <c:pt idx="7">
                  <c:v>0.64600000000000002</c:v>
                </c:pt>
                <c:pt idx="8">
                  <c:v>0.61829999999999996</c:v>
                </c:pt>
                <c:pt idx="9">
                  <c:v>0.60350000000000004</c:v>
                </c:pt>
                <c:pt idx="10">
                  <c:v>0.59930000000000005</c:v>
                </c:pt>
                <c:pt idx="11">
                  <c:v>0.58740000000000003</c:v>
                </c:pt>
                <c:pt idx="12">
                  <c:v>0.58720000000000006</c:v>
                </c:pt>
                <c:pt idx="13">
                  <c:v>0.54449999999999998</c:v>
                </c:pt>
                <c:pt idx="14">
                  <c:v>0.53410000000000002</c:v>
                </c:pt>
                <c:pt idx="15">
                  <c:v>0.51390000000000002</c:v>
                </c:pt>
                <c:pt idx="16">
                  <c:v>0.46510000000000001</c:v>
                </c:pt>
                <c:pt idx="17">
                  <c:v>0.45900000000000002</c:v>
                </c:pt>
                <c:pt idx="18">
                  <c:v>0.41460000000000002</c:v>
                </c:pt>
                <c:pt idx="19">
                  <c:v>0.33689999999999998</c:v>
                </c:pt>
                <c:pt idx="20">
                  <c:v>0.274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674768518518518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7399999999999999</c:v>
                </c:pt>
                <c:pt idx="1">
                  <c:v>0.1792</c:v>
                </c:pt>
                <c:pt idx="2">
                  <c:v>0.23300000000000001</c:v>
                </c:pt>
                <c:pt idx="3">
                  <c:v>0.20180000000000001</c:v>
                </c:pt>
                <c:pt idx="4">
                  <c:v>0.28129999999999999</c:v>
                </c:pt>
                <c:pt idx="5">
                  <c:v>0.25629999999999997</c:v>
                </c:pt>
                <c:pt idx="6">
                  <c:v>0.30099999999999999</c:v>
                </c:pt>
                <c:pt idx="7">
                  <c:v>0.33739999999999998</c:v>
                </c:pt>
                <c:pt idx="8">
                  <c:v>0.3644</c:v>
                </c:pt>
                <c:pt idx="9">
                  <c:v>0.35730000000000001</c:v>
                </c:pt>
                <c:pt idx="10">
                  <c:v>0.38300000000000001</c:v>
                </c:pt>
                <c:pt idx="11">
                  <c:v>0.38</c:v>
                </c:pt>
                <c:pt idx="12">
                  <c:v>0.35539999999999999</c:v>
                </c:pt>
                <c:pt idx="13">
                  <c:v>0.35959999999999998</c:v>
                </c:pt>
                <c:pt idx="14">
                  <c:v>0.43930000000000002</c:v>
                </c:pt>
                <c:pt idx="15">
                  <c:v>0.42309999999999998</c:v>
                </c:pt>
                <c:pt idx="16">
                  <c:v>0.49540000000000001</c:v>
                </c:pt>
                <c:pt idx="17">
                  <c:v>0.49280000000000002</c:v>
                </c:pt>
                <c:pt idx="18">
                  <c:v>0.5323</c:v>
                </c:pt>
                <c:pt idx="19">
                  <c:v>0.51870000000000005</c:v>
                </c:pt>
                <c:pt idx="20">
                  <c:v>0.5598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3.1199999999999999E-2</c:v>
                </c:pt>
                <c:pt idx="1">
                  <c:v>4.48E-2</c:v>
                </c:pt>
                <c:pt idx="2">
                  <c:v>9.9000000000000008E-3</c:v>
                </c:pt>
                <c:pt idx="3">
                  <c:v>4.2099999999999999E-2</c:v>
                </c:pt>
                <c:pt idx="4">
                  <c:v>1.67E-2</c:v>
                </c:pt>
                <c:pt idx="5">
                  <c:v>4.9700000000000001E-2</c:v>
                </c:pt>
                <c:pt idx="6">
                  <c:v>1.72E-2</c:v>
                </c:pt>
                <c:pt idx="7">
                  <c:v>1.41E-2</c:v>
                </c:pt>
                <c:pt idx="8">
                  <c:v>1.35E-2</c:v>
                </c:pt>
                <c:pt idx="9">
                  <c:v>2.86E-2</c:v>
                </c:pt>
                <c:pt idx="10">
                  <c:v>1.6E-2</c:v>
                </c:pt>
                <c:pt idx="11">
                  <c:v>2.3900000000000001E-2</c:v>
                </c:pt>
                <c:pt idx="12">
                  <c:v>4.5499999999999999E-2</c:v>
                </c:pt>
                <c:pt idx="13">
                  <c:v>9.0899999999999995E-2</c:v>
                </c:pt>
                <c:pt idx="14">
                  <c:v>2.4899999999999999E-2</c:v>
                </c:pt>
                <c:pt idx="15">
                  <c:v>5.96E-2</c:v>
                </c:pt>
                <c:pt idx="16">
                  <c:v>3.6999999999999998E-2</c:v>
                </c:pt>
                <c:pt idx="17">
                  <c:v>4.48E-2</c:v>
                </c:pt>
                <c:pt idx="18">
                  <c:v>4.7199999999999999E-2</c:v>
                </c:pt>
                <c:pt idx="19">
                  <c:v>0.1419</c:v>
                </c:pt>
                <c:pt idx="20">
                  <c:v>0.156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1.3100000000000001E-2</c:v>
                </c:pt>
                <c:pt idx="1">
                  <c:v>1.6E-2</c:v>
                </c:pt>
                <c:pt idx="2" formatCode="0.0%">
                  <c:v>4.1999999999999997E-3</c:v>
                </c:pt>
                <c:pt idx="3">
                  <c:v>1.17E-2</c:v>
                </c:pt>
                <c:pt idx="4" formatCode="0.0%">
                  <c:v>3.8E-3</c:v>
                </c:pt>
                <c:pt idx="5">
                  <c:v>1.2699999999999999E-2</c:v>
                </c:pt>
                <c:pt idx="6" formatCode="0.0%">
                  <c:v>1.6999999999999999E-3</c:v>
                </c:pt>
                <c:pt idx="7" formatCode="0.0%">
                  <c:v>2.5000000000000001E-3</c:v>
                </c:pt>
                <c:pt idx="8" formatCode="0.0%">
                  <c:v>3.7000000000000002E-3</c:v>
                </c:pt>
                <c:pt idx="9">
                  <c:v>1.06E-2</c:v>
                </c:pt>
                <c:pt idx="10" formatCode="0.0%">
                  <c:v>1.6999999999999999E-3</c:v>
                </c:pt>
                <c:pt idx="11">
                  <c:v>8.6999999999999994E-3</c:v>
                </c:pt>
                <c:pt idx="12">
                  <c:v>1.1900000000000001E-2</c:v>
                </c:pt>
                <c:pt idx="13">
                  <c:v>5.0000000000000001E-3</c:v>
                </c:pt>
                <c:pt idx="14" formatCode="0.0%">
                  <c:v>1.6999999999999999E-3</c:v>
                </c:pt>
                <c:pt idx="15" formatCode="0.0%">
                  <c:v>3.3999999999999998E-3</c:v>
                </c:pt>
                <c:pt idx="16" formatCode="0.0%">
                  <c:v>2.5000000000000001E-3</c:v>
                </c:pt>
                <c:pt idx="17" formatCode="0.0%">
                  <c:v>3.3999999999999998E-3</c:v>
                </c:pt>
                <c:pt idx="18">
                  <c:v>5.7999999999999996E-3</c:v>
                </c:pt>
                <c:pt idx="19" formatCode="0.0%">
                  <c:v>2.5000000000000001E-3</c:v>
                </c:pt>
                <c:pt idx="20">
                  <c:v>8.699999999999999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E7E-469B-B8BA-C3228EA724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72309999999999997</c:v>
                </c:pt>
                <c:pt idx="1">
                  <c:v>0.52410000000000001</c:v>
                </c:pt>
                <c:pt idx="2">
                  <c:v>0.51919999999999999</c:v>
                </c:pt>
                <c:pt idx="3">
                  <c:v>0.63400000000000001</c:v>
                </c:pt>
                <c:pt idx="4">
                  <c:v>0.59389999999999998</c:v>
                </c:pt>
                <c:pt idx="5">
                  <c:v>0.48680000000000001</c:v>
                </c:pt>
                <c:pt idx="6">
                  <c:v>0.55449999999999999</c:v>
                </c:pt>
                <c:pt idx="7">
                  <c:v>0.52249999999999996</c:v>
                </c:pt>
                <c:pt idx="8">
                  <c:v>0.33379999999999999</c:v>
                </c:pt>
                <c:pt idx="9">
                  <c:v>0.42699999999999999</c:v>
                </c:pt>
                <c:pt idx="10">
                  <c:v>0.39789999999999998</c:v>
                </c:pt>
                <c:pt idx="11">
                  <c:v>0.36820000000000003</c:v>
                </c:pt>
                <c:pt idx="12">
                  <c:v>0.34460000000000002</c:v>
                </c:pt>
                <c:pt idx="13">
                  <c:v>0.34889999999999999</c:v>
                </c:pt>
                <c:pt idx="14">
                  <c:v>0.33310000000000001</c:v>
                </c:pt>
                <c:pt idx="15">
                  <c:v>0.36990000000000001</c:v>
                </c:pt>
                <c:pt idx="16">
                  <c:v>0.27400000000000002</c:v>
                </c:pt>
                <c:pt idx="17">
                  <c:v>0.19400000000000001</c:v>
                </c:pt>
                <c:pt idx="18">
                  <c:v>0.23130000000000001</c:v>
                </c:pt>
                <c:pt idx="19">
                  <c:v>0.21529999999999999</c:v>
                </c:pt>
                <c:pt idx="20">
                  <c:v>0.1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7E-469B-B8BA-C3228EA7244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210536048238431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CC6-4B5B-AA50-99A08DAA38E1}"/>
                </c:ext>
              </c:extLst>
            </c:dLbl>
            <c:dLbl>
              <c:idx val="1"/>
              <c:layout>
                <c:manualLayout>
                  <c:x val="-2.421072096476863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CC6-4B5B-AA50-99A08DAA38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22450000000000001</c:v>
                </c:pt>
                <c:pt idx="1">
                  <c:v>0.31979999999999997</c:v>
                </c:pt>
                <c:pt idx="2">
                  <c:v>0.45500000000000002</c:v>
                </c:pt>
                <c:pt idx="3">
                  <c:v>0.29380000000000001</c:v>
                </c:pt>
                <c:pt idx="4">
                  <c:v>0.3664</c:v>
                </c:pt>
                <c:pt idx="5">
                  <c:v>0.3775</c:v>
                </c:pt>
                <c:pt idx="6">
                  <c:v>0.38950000000000001</c:v>
                </c:pt>
                <c:pt idx="7">
                  <c:v>0.45250000000000001</c:v>
                </c:pt>
                <c:pt idx="8">
                  <c:v>0.63519999999999999</c:v>
                </c:pt>
                <c:pt idx="9">
                  <c:v>0.50149999999999995</c:v>
                </c:pt>
                <c:pt idx="10">
                  <c:v>0.58579999999999999</c:v>
                </c:pt>
                <c:pt idx="11">
                  <c:v>0.54849999999999999</c:v>
                </c:pt>
                <c:pt idx="12">
                  <c:v>0.51659999999999995</c:v>
                </c:pt>
                <c:pt idx="13">
                  <c:v>0.48609999999999998</c:v>
                </c:pt>
                <c:pt idx="14">
                  <c:v>0.61370000000000002</c:v>
                </c:pt>
                <c:pt idx="15">
                  <c:v>0.47349999999999998</c:v>
                </c:pt>
                <c:pt idx="16">
                  <c:v>0.626</c:v>
                </c:pt>
                <c:pt idx="17">
                  <c:v>0.65359999999999996</c:v>
                </c:pt>
                <c:pt idx="18">
                  <c:v>0.63270000000000004</c:v>
                </c:pt>
                <c:pt idx="19">
                  <c:v>0.52600000000000002</c:v>
                </c:pt>
                <c:pt idx="20">
                  <c:v>0.6498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7E-469B-B8BA-C3228EA7244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9"/>
              <c:layout>
                <c:manualLayout>
                  <c:x val="-3.6316081447153065E-2"/>
                  <c:y val="1.129697446161424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CC6-4B5B-AA50-99A08DAA38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5.2400000000000002E-2</c:v>
                </c:pt>
                <c:pt idx="1">
                  <c:v>0.1164</c:v>
                </c:pt>
                <c:pt idx="2">
                  <c:v>2.58E-2</c:v>
                </c:pt>
                <c:pt idx="3">
                  <c:v>7.2300000000000003E-2</c:v>
                </c:pt>
                <c:pt idx="4">
                  <c:v>3.9699999999999999E-2</c:v>
                </c:pt>
                <c:pt idx="5">
                  <c:v>0.11940000000000001</c:v>
                </c:pt>
                <c:pt idx="6">
                  <c:v>5.6000000000000001E-2</c:v>
                </c:pt>
                <c:pt idx="7">
                  <c:v>2.5000000000000001E-2</c:v>
                </c:pt>
                <c:pt idx="8">
                  <c:v>1.47E-2</c:v>
                </c:pt>
                <c:pt idx="9">
                  <c:v>7.1499999999999994E-2</c:v>
                </c:pt>
                <c:pt idx="10">
                  <c:v>1.6299999999999999E-2</c:v>
                </c:pt>
                <c:pt idx="11">
                  <c:v>8.3299999999999999E-2</c:v>
                </c:pt>
                <c:pt idx="12">
                  <c:v>0.1249</c:v>
                </c:pt>
                <c:pt idx="13">
                  <c:v>0.1487</c:v>
                </c:pt>
                <c:pt idx="14">
                  <c:v>5.3100000000000001E-2</c:v>
                </c:pt>
                <c:pt idx="15">
                  <c:v>0.14030000000000001</c:v>
                </c:pt>
                <c:pt idx="16">
                  <c:v>0.1</c:v>
                </c:pt>
                <c:pt idx="17">
                  <c:v>0.13850000000000001</c:v>
                </c:pt>
                <c:pt idx="18">
                  <c:v>0.10580000000000001</c:v>
                </c:pt>
                <c:pt idx="19">
                  <c:v>0.25869999999999999</c:v>
                </c:pt>
                <c:pt idx="20">
                  <c:v>0.234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E7E-469B-B8BA-C3228EA7244A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1">
                  <c:v>3.9699999999999999E-2</c:v>
                </c:pt>
                <c:pt idx="5">
                  <c:v>1.6299999999999999E-2</c:v>
                </c:pt>
                <c:pt idx="8">
                  <c:v>1.6299999999999999E-2</c:v>
                </c:pt>
                <c:pt idx="12">
                  <c:v>1.3899999999999999E-2</c:v>
                </c:pt>
                <c:pt idx="13">
                  <c:v>1.6299999999999999E-2</c:v>
                </c:pt>
                <c:pt idx="15">
                  <c:v>1.6299999999999999E-2</c:v>
                </c:pt>
                <c:pt idx="17">
                  <c:v>1.3899999999999999E-2</c:v>
                </c:pt>
                <c:pt idx="18">
                  <c:v>3.02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E7E-469B-B8BA-C3228EA72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67-4997-A13E-4373B10B45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73180000000000001</c:v>
                </c:pt>
                <c:pt idx="1">
                  <c:v>0.77270000000000005</c:v>
                </c:pt>
                <c:pt idx="2">
                  <c:v>0.77139999999999997</c:v>
                </c:pt>
                <c:pt idx="3">
                  <c:v>0.7127</c:v>
                </c:pt>
                <c:pt idx="4">
                  <c:v>0.72829999999999995</c:v>
                </c:pt>
                <c:pt idx="5">
                  <c:v>0.73099999999999998</c:v>
                </c:pt>
                <c:pt idx="6">
                  <c:v>0.76849999999999996</c:v>
                </c:pt>
                <c:pt idx="7">
                  <c:v>0.68079999999999996</c:v>
                </c:pt>
                <c:pt idx="8">
                  <c:v>0.72799999999999998</c:v>
                </c:pt>
                <c:pt idx="9">
                  <c:v>0.63570000000000004</c:v>
                </c:pt>
                <c:pt idx="10">
                  <c:v>0.65510000000000002</c:v>
                </c:pt>
                <c:pt idx="11">
                  <c:v>0.62360000000000004</c:v>
                </c:pt>
                <c:pt idx="12">
                  <c:v>0.64680000000000004</c:v>
                </c:pt>
                <c:pt idx="13">
                  <c:v>0.63770000000000004</c:v>
                </c:pt>
                <c:pt idx="14">
                  <c:v>0.59540000000000004</c:v>
                </c:pt>
                <c:pt idx="15">
                  <c:v>0.5504</c:v>
                </c:pt>
                <c:pt idx="16">
                  <c:v>0.54220000000000002</c:v>
                </c:pt>
                <c:pt idx="17">
                  <c:v>0.55389999999999995</c:v>
                </c:pt>
                <c:pt idx="18">
                  <c:v>0.56579999999999997</c:v>
                </c:pt>
                <c:pt idx="19">
                  <c:v>0.45350000000000001</c:v>
                </c:pt>
                <c:pt idx="20">
                  <c:v>0.372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7-4997-A13E-4373B10B452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026340120596079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D2D-4391-8B77-A385D8E72ADE}"/>
                </c:ext>
              </c:extLst>
            </c:dLbl>
            <c:dLbl>
              <c:idx val="2"/>
              <c:layout>
                <c:manualLayout>
                  <c:x val="-4.236876168834511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58E-4457-B8F7-0892A177D468}"/>
                </c:ext>
              </c:extLst>
            </c:dLbl>
            <c:dLbl>
              <c:idx val="3"/>
              <c:layout>
                <c:manualLayout>
                  <c:x val="-1.815804072357647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58E-4457-B8F7-0892A177D468}"/>
                </c:ext>
              </c:extLst>
            </c:dLbl>
            <c:dLbl>
              <c:idx val="6"/>
              <c:layout>
                <c:manualLayout>
                  <c:x val="-3.026340120596079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58E-4457-B8F7-0892A177D4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2208</c:v>
                </c:pt>
                <c:pt idx="1">
                  <c:v>0.13519999999999999</c:v>
                </c:pt>
                <c:pt idx="2">
                  <c:v>0.21540000000000001</c:v>
                </c:pt>
                <c:pt idx="3">
                  <c:v>0.23830000000000001</c:v>
                </c:pt>
                <c:pt idx="4">
                  <c:v>0.2571</c:v>
                </c:pt>
                <c:pt idx="5">
                  <c:v>0.20319999999999999</c:v>
                </c:pt>
                <c:pt idx="6">
                  <c:v>0.21249999999999999</c:v>
                </c:pt>
                <c:pt idx="7">
                  <c:v>0.29360000000000003</c:v>
                </c:pt>
                <c:pt idx="8">
                  <c:v>0.25380000000000003</c:v>
                </c:pt>
                <c:pt idx="9">
                  <c:v>0.31030000000000002</c:v>
                </c:pt>
                <c:pt idx="10">
                  <c:v>0.3301</c:v>
                </c:pt>
                <c:pt idx="11">
                  <c:v>0.32529999999999998</c:v>
                </c:pt>
                <c:pt idx="12">
                  <c:v>0.30449999999999999</c:v>
                </c:pt>
                <c:pt idx="13">
                  <c:v>0.29549999999999998</c:v>
                </c:pt>
                <c:pt idx="14">
                  <c:v>0.38179999999999997</c:v>
                </c:pt>
                <c:pt idx="15">
                  <c:v>0.39219999999999999</c:v>
                </c:pt>
                <c:pt idx="16">
                  <c:v>0.40889999999999999</c:v>
                </c:pt>
                <c:pt idx="17">
                  <c:v>0.41299999999999998</c:v>
                </c:pt>
                <c:pt idx="18">
                  <c:v>0.39750000000000002</c:v>
                </c:pt>
                <c:pt idx="19">
                  <c:v>0.44159999999999999</c:v>
                </c:pt>
                <c:pt idx="20">
                  <c:v>0.520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B67-4997-A13E-4373B10B452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2.23E-2</c:v>
                </c:pt>
                <c:pt idx="1">
                  <c:v>7.1800000000000003E-2</c:v>
                </c:pt>
                <c:pt idx="2" formatCode="0.0%">
                  <c:v>4.7000000000000002E-3</c:v>
                </c:pt>
                <c:pt idx="3">
                  <c:v>3.4599999999999999E-2</c:v>
                </c:pt>
                <c:pt idx="4">
                  <c:v>8.6999999999999994E-3</c:v>
                </c:pt>
                <c:pt idx="5">
                  <c:v>4.5999999999999999E-2</c:v>
                </c:pt>
                <c:pt idx="6">
                  <c:v>1.89E-2</c:v>
                </c:pt>
                <c:pt idx="7">
                  <c:v>1.7100000000000001E-2</c:v>
                </c:pt>
                <c:pt idx="8">
                  <c:v>1.8200000000000001E-2</c:v>
                </c:pt>
                <c:pt idx="9">
                  <c:v>3.0099999999999998E-2</c:v>
                </c:pt>
                <c:pt idx="10">
                  <c:v>1.4800000000000001E-2</c:v>
                </c:pt>
                <c:pt idx="11">
                  <c:v>2.7099999999999999E-2</c:v>
                </c:pt>
                <c:pt idx="12">
                  <c:v>3.0499999999999999E-2</c:v>
                </c:pt>
                <c:pt idx="13">
                  <c:v>6.6699999999999995E-2</c:v>
                </c:pt>
                <c:pt idx="14">
                  <c:v>2.2800000000000001E-2</c:v>
                </c:pt>
                <c:pt idx="15">
                  <c:v>5.7500000000000002E-2</c:v>
                </c:pt>
                <c:pt idx="16">
                  <c:v>4.0399999999999998E-2</c:v>
                </c:pt>
                <c:pt idx="17">
                  <c:v>3.32E-2</c:v>
                </c:pt>
                <c:pt idx="18">
                  <c:v>3.6700000000000003E-2</c:v>
                </c:pt>
                <c:pt idx="19">
                  <c:v>9.6299999999999997E-2</c:v>
                </c:pt>
                <c:pt idx="20">
                  <c:v>9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B67-4997-A13E-4373B10B452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2.5000000000000001E-2</c:v>
                </c:pt>
                <c:pt idx="1">
                  <c:v>2.0299999999999999E-2</c:v>
                </c:pt>
                <c:pt idx="2">
                  <c:v>8.5000000000000006E-3</c:v>
                </c:pt>
                <c:pt idx="3">
                  <c:v>1.44E-2</c:v>
                </c:pt>
                <c:pt idx="4">
                  <c:v>5.8999999999999999E-3</c:v>
                </c:pt>
                <c:pt idx="5">
                  <c:v>1.9800000000000002E-2</c:v>
                </c:pt>
                <c:pt idx="7">
                  <c:v>8.5000000000000006E-3</c:v>
                </c:pt>
                <c:pt idx="9">
                  <c:v>2.3900000000000001E-2</c:v>
                </c:pt>
                <c:pt idx="11">
                  <c:v>2.3900000000000001E-2</c:v>
                </c:pt>
                <c:pt idx="12">
                  <c:v>1.8200000000000001E-2</c:v>
                </c:pt>
                <c:pt idx="16">
                  <c:v>8.5000000000000006E-3</c:v>
                </c:pt>
                <c:pt idx="19">
                  <c:v>8.5000000000000006E-3</c:v>
                </c:pt>
                <c:pt idx="20">
                  <c:v>1.6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B67-4997-A13E-4373B10B45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12-4740-BB38-AC849DDED44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81950000000000001</c:v>
                </c:pt>
                <c:pt idx="1">
                  <c:v>0.8044</c:v>
                </c:pt>
                <c:pt idx="2">
                  <c:v>0.79390000000000005</c:v>
                </c:pt>
                <c:pt idx="3">
                  <c:v>0.78420000000000001</c:v>
                </c:pt>
                <c:pt idx="4">
                  <c:v>0.70540000000000003</c:v>
                </c:pt>
                <c:pt idx="5">
                  <c:v>0.69799999999999995</c:v>
                </c:pt>
                <c:pt idx="6">
                  <c:v>0.6623</c:v>
                </c:pt>
                <c:pt idx="7">
                  <c:v>0.65490000000000004</c:v>
                </c:pt>
                <c:pt idx="8">
                  <c:v>0.624</c:v>
                </c:pt>
                <c:pt idx="9">
                  <c:v>0.62519999999999998</c:v>
                </c:pt>
                <c:pt idx="10">
                  <c:v>0.61429999999999996</c:v>
                </c:pt>
                <c:pt idx="11">
                  <c:v>0.61619999999999997</c:v>
                </c:pt>
                <c:pt idx="12">
                  <c:v>0.60929999999999995</c:v>
                </c:pt>
                <c:pt idx="13">
                  <c:v>0.5393</c:v>
                </c:pt>
                <c:pt idx="14">
                  <c:v>0.54620000000000002</c:v>
                </c:pt>
                <c:pt idx="15">
                  <c:v>0.52639999999999998</c:v>
                </c:pt>
                <c:pt idx="16">
                  <c:v>0.46710000000000002</c:v>
                </c:pt>
                <c:pt idx="17">
                  <c:v>0.46789999999999998</c:v>
                </c:pt>
                <c:pt idx="18">
                  <c:v>0.37740000000000001</c:v>
                </c:pt>
                <c:pt idx="19">
                  <c:v>0.3039</c:v>
                </c:pt>
                <c:pt idx="20">
                  <c:v>0.2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12-4740-BB38-AC849DDED44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2.421072096476863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215-466C-940C-0AF4511D73FD}"/>
                </c:ext>
              </c:extLst>
            </c:dLbl>
            <c:dLbl>
              <c:idx val="1"/>
              <c:layout>
                <c:manualLayout>
                  <c:x val="-3.026340120596079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215-466C-940C-0AF4511D73FD}"/>
                </c:ext>
              </c:extLst>
            </c:dLbl>
            <c:dLbl>
              <c:idx val="2"/>
              <c:layout>
                <c:manualLayout>
                  <c:x val="-3.631608144715306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215-466C-940C-0AF4511D73FD}"/>
                </c:ext>
              </c:extLst>
            </c:dLbl>
            <c:dLbl>
              <c:idx val="3"/>
              <c:layout>
                <c:manualLayout>
                  <c:x val="-1.815804072357658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215-466C-940C-0AF4511D73FD}"/>
                </c:ext>
              </c:extLst>
            </c:dLbl>
            <c:dLbl>
              <c:idx val="4"/>
              <c:layout>
                <c:manualLayout>
                  <c:x val="-1.815804072357647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215-466C-940C-0AF4511D73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394</c:v>
                </c:pt>
                <c:pt idx="1">
                  <c:v>0.17119999999999999</c:v>
                </c:pt>
                <c:pt idx="2">
                  <c:v>0.19409999999999999</c:v>
                </c:pt>
                <c:pt idx="3">
                  <c:v>0.16350000000000001</c:v>
                </c:pt>
                <c:pt idx="4">
                  <c:v>0.27529999999999999</c:v>
                </c:pt>
                <c:pt idx="5">
                  <c:v>0.25719999999999998</c:v>
                </c:pt>
                <c:pt idx="6">
                  <c:v>0.32690000000000002</c:v>
                </c:pt>
                <c:pt idx="7">
                  <c:v>0.33479999999999999</c:v>
                </c:pt>
                <c:pt idx="8">
                  <c:v>0.36220000000000002</c:v>
                </c:pt>
                <c:pt idx="9">
                  <c:v>0.35020000000000001</c:v>
                </c:pt>
                <c:pt idx="10">
                  <c:v>0.36620000000000003</c:v>
                </c:pt>
                <c:pt idx="11">
                  <c:v>0.37140000000000001</c:v>
                </c:pt>
                <c:pt idx="12">
                  <c:v>0.34649999999999997</c:v>
                </c:pt>
                <c:pt idx="13">
                  <c:v>0.3649</c:v>
                </c:pt>
                <c:pt idx="14">
                  <c:v>0.43099999999999999</c:v>
                </c:pt>
                <c:pt idx="15">
                  <c:v>0.4279</c:v>
                </c:pt>
                <c:pt idx="16">
                  <c:v>0.51119999999999999</c:v>
                </c:pt>
                <c:pt idx="17">
                  <c:v>0.49869999999999998</c:v>
                </c:pt>
                <c:pt idx="18">
                  <c:v>0.57920000000000005</c:v>
                </c:pt>
                <c:pt idx="19">
                  <c:v>0.55620000000000003</c:v>
                </c:pt>
                <c:pt idx="20">
                  <c:v>0.5607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712-4740-BB38-AC849DDED44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3.1099999999999999E-2</c:v>
                </c:pt>
                <c:pt idx="1">
                  <c:v>1.5699999999999999E-2</c:v>
                </c:pt>
                <c:pt idx="2">
                  <c:v>8.9999999999999993E-3</c:v>
                </c:pt>
                <c:pt idx="3">
                  <c:v>3.9399999999999998E-2</c:v>
                </c:pt>
                <c:pt idx="4">
                  <c:v>1.5800000000000002E-2</c:v>
                </c:pt>
                <c:pt idx="5">
                  <c:v>3.6499999999999998E-2</c:v>
                </c:pt>
                <c:pt idx="6">
                  <c:v>7.9000000000000008E-3</c:v>
                </c:pt>
                <c:pt idx="7">
                  <c:v>1.03E-2</c:v>
                </c:pt>
                <c:pt idx="8">
                  <c:v>1.09E-2</c:v>
                </c:pt>
                <c:pt idx="9">
                  <c:v>1.8499999999999999E-2</c:v>
                </c:pt>
                <c:pt idx="10">
                  <c:v>1.66E-2</c:v>
                </c:pt>
                <c:pt idx="11">
                  <c:v>9.4999999999999998E-3</c:v>
                </c:pt>
                <c:pt idx="12">
                  <c:v>3.5900000000000001E-2</c:v>
                </c:pt>
                <c:pt idx="13">
                  <c:v>9.06E-2</c:v>
                </c:pt>
                <c:pt idx="14">
                  <c:v>0.02</c:v>
                </c:pt>
                <c:pt idx="15">
                  <c:v>4.3299999999999998E-2</c:v>
                </c:pt>
                <c:pt idx="16">
                  <c:v>2.1700000000000001E-2</c:v>
                </c:pt>
                <c:pt idx="17">
                  <c:v>3.0499999999999999E-2</c:v>
                </c:pt>
                <c:pt idx="18">
                  <c:v>3.9899999999999998E-2</c:v>
                </c:pt>
                <c:pt idx="19">
                  <c:v>0.1399</c:v>
                </c:pt>
                <c:pt idx="20">
                  <c:v>0.1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712-4740-BB38-AC849DDED446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9.9000000000000008E-3</c:v>
                </c:pt>
                <c:pt idx="1">
                  <c:v>8.6E-3</c:v>
                </c:pt>
                <c:pt idx="2" formatCode="0.0%">
                  <c:v>2.8999999999999998E-3</c:v>
                </c:pt>
                <c:pt idx="3">
                  <c:v>1.29E-2</c:v>
                </c:pt>
                <c:pt idx="4" formatCode="0.0%">
                  <c:v>3.5000000000000001E-3</c:v>
                </c:pt>
                <c:pt idx="5">
                  <c:v>8.3000000000000001E-3</c:v>
                </c:pt>
                <c:pt idx="6" formatCode="0.0%">
                  <c:v>2.8999999999999998E-3</c:v>
                </c:pt>
                <c:pt idx="8" formatCode="0.0%">
                  <c:v>2.8999999999999998E-3</c:v>
                </c:pt>
                <c:pt idx="9">
                  <c:v>6.1000000000000004E-3</c:v>
                </c:pt>
                <c:pt idx="10" formatCode="0.0%">
                  <c:v>2.8999999999999998E-3</c:v>
                </c:pt>
                <c:pt idx="11" formatCode="0.0%">
                  <c:v>2.8999999999999998E-3</c:v>
                </c:pt>
                <c:pt idx="12">
                  <c:v>8.3000000000000001E-3</c:v>
                </c:pt>
                <c:pt idx="13">
                  <c:v>5.1000000000000004E-3</c:v>
                </c:pt>
                <c:pt idx="14" formatCode="0.0%">
                  <c:v>2.8999999999999998E-3</c:v>
                </c:pt>
                <c:pt idx="15" formatCode="0.0%">
                  <c:v>2.3999999999999998E-3</c:v>
                </c:pt>
                <c:pt idx="17" formatCode="0.0%">
                  <c:v>2.8999999999999998E-3</c:v>
                </c:pt>
                <c:pt idx="18" formatCode="0.0%">
                  <c:v>3.5000000000000001E-3</c:v>
                </c:pt>
                <c:pt idx="20">
                  <c:v>6.4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712-4740-BB38-AC849DDED4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ажливість цілей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2">
                  <a:lumMod val="50000"/>
                </a:schemeClr>
              </a:solidFill>
              <a:ln w="9525">
                <a:solidFill>
                  <a:schemeClr val="accent2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4919352336511339E-3"/>
                  <c:y val="-3.1366241872253448E-3"/>
                </c:manualLayout>
              </c:layout>
              <c:tx>
                <c:rich>
                  <a:bodyPr/>
                  <a:lstStyle/>
                  <a:p>
                    <a:fld id="{F1A96913-1580-4D09-A62D-2BCD63B0F26D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8F9-4AD8-A914-EE8FCDCFA3EE}"/>
                </c:ext>
              </c:extLst>
            </c:dLbl>
            <c:dLbl>
              <c:idx val="1"/>
              <c:layout>
                <c:manualLayout>
                  <c:x val="-4.8054433294447549E-3"/>
                  <c:y val="3.1368711655078035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804D5E1-267D-421B-AC23-A4A08A850F38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806694798780575"/>
                      <c:h val="4.76924942559025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8F9-4AD8-A914-EE8FCDCFA3EE}"/>
                </c:ext>
              </c:extLst>
            </c:dLbl>
            <c:dLbl>
              <c:idx val="2"/>
              <c:layout>
                <c:manualLayout>
                  <c:x val="-6.9335628270363645E-2"/>
                  <c:y val="-5.645923537005621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CAF7CE2-4B76-45DE-92BB-CF6E3F2D915E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3115761886553253E-2"/>
                      <c:h val="9.160523287705742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8F9-4AD8-A914-EE8FCDCFA3EE}"/>
                </c:ext>
              </c:extLst>
            </c:dLbl>
            <c:dLbl>
              <c:idx val="3"/>
              <c:layout>
                <c:manualLayout>
                  <c:x val="-5.4919352336510333E-3"/>
                  <c:y val="-1.2546496748901379E-2"/>
                </c:manualLayout>
              </c:layout>
              <c:tx>
                <c:rich>
                  <a:bodyPr/>
                  <a:lstStyle/>
                  <a:p>
                    <a:fld id="{8E2D1718-208A-4A57-B511-368FB3F15D64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8F9-4AD8-A914-EE8FCDCFA3EE}"/>
                </c:ext>
              </c:extLst>
            </c:dLbl>
            <c:dLbl>
              <c:idx val="4"/>
              <c:layout>
                <c:manualLayout>
                  <c:x val="-8.2379028504765504E-3"/>
                  <c:y val="-9.4098725616760925E-3"/>
                </c:manualLayout>
              </c:layout>
              <c:tx>
                <c:rich>
                  <a:bodyPr/>
                  <a:lstStyle/>
                  <a:p>
                    <a:fld id="{34927D1A-291B-40F2-BC5A-C1C82C69A762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8F9-4AD8-A914-EE8FCDCFA3EE}"/>
                </c:ext>
              </c:extLst>
            </c:dLbl>
            <c:dLbl>
              <c:idx val="5"/>
              <c:layout>
                <c:manualLayout>
                  <c:x val="-1.9221773317778617E-2"/>
                  <c:y val="2.8229617685028102E-2"/>
                </c:manualLayout>
              </c:layout>
              <c:tx>
                <c:rich>
                  <a:bodyPr/>
                  <a:lstStyle/>
                  <a:p>
                    <a:fld id="{E51A40AD-6B5D-45CA-81F6-337DE8DE582D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8F9-4AD8-A914-EE8FCDCFA3EE}"/>
                </c:ext>
              </c:extLst>
            </c:dLbl>
            <c:dLbl>
              <c:idx val="6"/>
              <c:layout>
                <c:manualLayout>
                  <c:x val="-5.4919352336511339E-3"/>
                  <c:y val="9.4098725616759762E-3"/>
                </c:manualLayout>
              </c:layout>
              <c:tx>
                <c:rich>
                  <a:bodyPr/>
                  <a:lstStyle/>
                  <a:p>
                    <a:fld id="{31D38886-822B-47CF-821D-66E0B60ADF17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8F9-4AD8-A914-EE8FCDCFA3EE}"/>
                </c:ext>
              </c:extLst>
            </c:dLbl>
            <c:dLbl>
              <c:idx val="7"/>
              <c:layout>
                <c:manualLayout>
                  <c:x val="-0.24439111789747098"/>
                  <c:y val="-2.50929934978027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11D88C-2659-4632-8D4B-59E156976D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16440000012974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8F9-4AD8-A914-EE8FCDCFA3EE}"/>
                </c:ext>
              </c:extLst>
            </c:dLbl>
            <c:dLbl>
              <c:idx val="8"/>
              <c:layout>
                <c:manualLayout>
                  <c:x val="-0.27871084820453179"/>
                  <c:y val="-2.822961768502810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16EC6A6-604C-437E-A256-8C4B7CD8F4E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444299290145751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4EE-4BE8-9B38-F0E9AD0EDB72}"/>
                </c:ext>
              </c:extLst>
            </c:dLbl>
            <c:dLbl>
              <c:idx val="9"/>
              <c:layout>
                <c:manualLayout>
                  <c:x val="-0.20097120766466589"/>
                  <c:y val="-3.763949024670413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89E692D-5BFC-4DFB-84D7-DA48E459CE33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167372888456308"/>
                      <c:h val="9.22481173462973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DF-4C61-81FF-3713F78B1273}"/>
                </c:ext>
              </c:extLst>
            </c:dLbl>
            <c:dLbl>
              <c:idx val="10"/>
              <c:layout>
                <c:manualLayout>
                  <c:x val="-6.1784271378574174E-2"/>
                  <c:y val="3.1366241872253446E-2"/>
                </c:manualLayout>
              </c:layout>
              <c:tx>
                <c:rich>
                  <a:bodyPr/>
                  <a:lstStyle/>
                  <a:p>
                    <a:fld id="{DCD71485-CAAE-4FBE-9295-246BA901A17E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4EE-4BE8-9B38-F0E9AD0EDB72}"/>
                </c:ext>
              </c:extLst>
            </c:dLbl>
            <c:dLbl>
              <c:idx val="11"/>
              <c:layout>
                <c:manualLayout>
                  <c:x val="-5.9724849720435631E-2"/>
                  <c:y val="4.704936280838014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30966F4-71A5-4A78-AF27-D1351691183F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207412339578462"/>
                      <c:h val="9.160523287705742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DF-4C61-81FF-3713F78B1273}"/>
                </c:ext>
              </c:extLst>
            </c:dLbl>
            <c:dLbl>
              <c:idx val="12"/>
              <c:layout>
                <c:manualLayout>
                  <c:x val="-0.12562801846976737"/>
                  <c:y val="2.979792977864077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27BCDAC-EC21-4580-BC56-6A597C1104C5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245429288252763"/>
                      <c:h val="8.846860868983207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4EE-4BE8-9B38-F0E9AD0EDB72}"/>
                </c:ext>
              </c:extLst>
            </c:dLbl>
            <c:dLbl>
              <c:idx val="13"/>
              <c:layout>
                <c:manualLayout>
                  <c:x val="-0.23958556645906504"/>
                  <c:y val="2.979768280035831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13E3F19-70DF-4CDE-AE5B-EAAB9A607963}" type="CELLRANGE">
                      <a:rPr lang="ru-RU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47121874583444"/>
                      <c:h val="5.774525128681859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4EE-4BE8-9B38-F0E9AD0EDB72}"/>
                </c:ext>
              </c:extLst>
            </c:dLbl>
            <c:dLbl>
              <c:idx val="14"/>
              <c:layout>
                <c:manualLayout>
                  <c:x val="-0.23203415551279485"/>
                  <c:y val="2.822961768502810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DBAA7FE-1A49-484B-B907-FE0196F686B9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35994651633467"/>
                      <c:h val="4.206213035069187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DF-4C61-81FF-3713F78B1273}"/>
                </c:ext>
              </c:extLst>
            </c:dLbl>
            <c:dLbl>
              <c:idx val="15"/>
              <c:layout>
                <c:manualLayout>
                  <c:x val="-8.5124942067110368E-2"/>
                  <c:y val="7.05741677017114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A61EA70-890D-43A3-AE3A-B72AB851BF6E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23920891483791"/>
                      <c:h val="0.1330242317802268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4EE-4BE8-9B38-F0E9AD0EDB72}"/>
                </c:ext>
              </c:extLst>
            </c:dLbl>
            <c:dLbl>
              <c:idx val="16"/>
              <c:layout>
                <c:manualLayout>
                  <c:x val="-7.6887093271114468E-2"/>
                  <c:y val="3.1366241872253446E-2"/>
                </c:manualLayout>
              </c:layout>
              <c:tx>
                <c:rich>
                  <a:bodyPr/>
                  <a:lstStyle/>
                  <a:p>
                    <a:fld id="{1F9CE1B9-20B1-4A96-9D29-F0E8DE39D105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4EE-4BE8-9B38-F0E9AD0EDB72}"/>
                </c:ext>
              </c:extLst>
            </c:dLbl>
            <c:dLbl>
              <c:idx val="17"/>
              <c:layout>
                <c:manualLayout>
                  <c:x val="-8.4438504217384691E-2"/>
                  <c:y val="7.05741677017114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6EB87E-AEFC-4ECE-8658-0D647DD4C4FB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000570382879779"/>
                      <c:h val="0.1330242317802268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4EE-4BE8-9B38-F0E9AD0EDB72}"/>
                </c:ext>
              </c:extLst>
            </c:dLbl>
            <c:dLbl>
              <c:idx val="18"/>
              <c:layout>
                <c:manualLayout>
                  <c:x val="-3.2951665456386843E-2"/>
                  <c:y val="2.82296176850280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138B94E-EA45-401E-B649-2BD11FF9C70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879344669422794"/>
                      <c:h val="6.088187547404393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4EE-4BE8-9B38-F0E9AD0EDB72}"/>
                </c:ext>
              </c:extLst>
            </c:dLbl>
            <c:dLbl>
              <c:idx val="19"/>
              <c:layout>
                <c:manualLayout>
                  <c:x val="-8.2379028504765504E-3"/>
                  <c:y val="7.841560468063418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2FF3F8B-02BA-4A93-8EB7-E18D032138BD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0752945401623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DF-4C61-81FF-3713F78B1273}"/>
                </c:ext>
              </c:extLst>
            </c:dLbl>
            <c:dLbl>
              <c:idx val="20"/>
              <c:layout>
                <c:manualLayout>
                  <c:x val="-2.8146222126942191E-2"/>
                  <c:y val="7.371054491065431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060BB59-E044-4030-93CF-B8A454C8AC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4941830351742224E-2"/>
                      <c:h val="0.1330242317802268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4EE-4BE8-9B38-F0E9AD0ED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22</c:f>
              <c:numCache>
                <c:formatCode>0%</c:formatCode>
                <c:ptCount val="21"/>
                <c:pt idx="0">
                  <c:v>0.4652</c:v>
                </c:pt>
                <c:pt idx="1">
                  <c:v>0.55769999999999997</c:v>
                </c:pt>
                <c:pt idx="2">
                  <c:v>0.39679999999999999</c:v>
                </c:pt>
                <c:pt idx="3">
                  <c:v>0.63959999999999995</c:v>
                </c:pt>
                <c:pt idx="4">
                  <c:v>0.59630000000000005</c:v>
                </c:pt>
                <c:pt idx="5">
                  <c:v>0.61029999999999995</c:v>
                </c:pt>
                <c:pt idx="6">
                  <c:v>0.61450000000000005</c:v>
                </c:pt>
                <c:pt idx="7">
                  <c:v>0.31359999999999999</c:v>
                </c:pt>
                <c:pt idx="8">
                  <c:v>0.28360000000000002</c:v>
                </c:pt>
                <c:pt idx="9">
                  <c:v>0.30919999999999997</c:v>
                </c:pt>
                <c:pt idx="10">
                  <c:v>0.25009999999999999</c:v>
                </c:pt>
                <c:pt idx="11">
                  <c:v>0.495</c:v>
                </c:pt>
                <c:pt idx="12">
                  <c:v>0.26229999999999998</c:v>
                </c:pt>
                <c:pt idx="13">
                  <c:v>0.28320000000000001</c:v>
                </c:pt>
                <c:pt idx="14">
                  <c:v>0.40860000000000002</c:v>
                </c:pt>
                <c:pt idx="15">
                  <c:v>0.39829999999999999</c:v>
                </c:pt>
                <c:pt idx="16">
                  <c:v>9.4500000000000001E-2</c:v>
                </c:pt>
                <c:pt idx="17">
                  <c:v>0.51570000000000005</c:v>
                </c:pt>
                <c:pt idx="18">
                  <c:v>0.56779999999999997</c:v>
                </c:pt>
                <c:pt idx="19">
                  <c:v>0.5796</c:v>
                </c:pt>
                <c:pt idx="20">
                  <c:v>0.34379999999999999</c:v>
                </c:pt>
              </c:numCache>
            </c:numRef>
          </c:xVal>
          <c:yVal>
            <c:numRef>
              <c:f>Sheet1!$B$2:$B$22</c:f>
              <c:numCache>
                <c:formatCode>0%</c:formatCode>
                <c:ptCount val="21"/>
                <c:pt idx="0">
                  <c:v>0.94879999999999998</c:v>
                </c:pt>
                <c:pt idx="1">
                  <c:v>0.57089999999999996</c:v>
                </c:pt>
                <c:pt idx="2">
                  <c:v>0.79510000000000003</c:v>
                </c:pt>
                <c:pt idx="3">
                  <c:v>0.73870000000000002</c:v>
                </c:pt>
                <c:pt idx="4">
                  <c:v>0.49230000000000002</c:v>
                </c:pt>
                <c:pt idx="5">
                  <c:v>0.43669999999999998</c:v>
                </c:pt>
                <c:pt idx="6">
                  <c:v>0.69450000000000001</c:v>
                </c:pt>
                <c:pt idx="7">
                  <c:v>0.622</c:v>
                </c:pt>
                <c:pt idx="8">
                  <c:v>0.76939999999999997</c:v>
                </c:pt>
                <c:pt idx="9">
                  <c:v>0.88170000000000004</c:v>
                </c:pt>
                <c:pt idx="10">
                  <c:v>0.19109999999999999</c:v>
                </c:pt>
                <c:pt idx="11">
                  <c:v>0.83679999999999999</c:v>
                </c:pt>
                <c:pt idx="12">
                  <c:v>0.44769999999999999</c:v>
                </c:pt>
                <c:pt idx="13">
                  <c:v>0.60509999999999997</c:v>
                </c:pt>
                <c:pt idx="14">
                  <c:v>0.73360000000000003</c:v>
                </c:pt>
                <c:pt idx="15">
                  <c:v>0.25009999999999999</c:v>
                </c:pt>
                <c:pt idx="16">
                  <c:v>0.22939999999999999</c:v>
                </c:pt>
                <c:pt idx="17">
                  <c:v>0.4662</c:v>
                </c:pt>
                <c:pt idx="18">
                  <c:v>0.91479999999999995</c:v>
                </c:pt>
                <c:pt idx="19">
                  <c:v>0.63870000000000005</c:v>
                </c:pt>
                <c:pt idx="20">
                  <c:v>0.59279999999999999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22</c15:f>
                <c15:dlblRangeCache>
                  <c:ptCount val="21"/>
                  <c:pt idx="0">
                    <c:v>Бути фінансово незалежним</c:v>
                  </c:pt>
                  <c:pt idx="1">
                    <c:v>Мати власний автомобіль</c:v>
                  </c:pt>
                  <c:pt idx="2">
                    <c:v>Мати власне житло</c:v>
                  </c:pt>
                  <c:pt idx="3">
                    <c:v>Мати кохану людину</c:v>
                  </c:pt>
                  <c:pt idx="4">
                    <c:v>Створити сім'ю</c:v>
                  </c:pt>
                  <c:pt idx="5">
                    <c:v>Виростити і виховати дитину</c:v>
                  </c:pt>
                  <c:pt idx="6">
                    <c:v>Бути працевлаштованим</c:v>
                  </c:pt>
                  <c:pt idx="7">
                    <c:v>Бути багатим, заробляти багато грошей</c:v>
                  </c:pt>
                  <c:pt idx="8">
                    <c:v>Зробити успішну кар'єру, досягти високої посади </c:v>
                  </c:pt>
                  <c:pt idx="9">
                    <c:v>Мати цікаву роботу, що дає відчуття сенсу і надихає</c:v>
                  </c:pt>
                  <c:pt idx="10">
                    <c:v>Стати відомим</c:v>
                  </c:pt>
                  <c:pt idx="11">
                    <c:v>Розвивати професійні навички</c:v>
                  </c:pt>
                  <c:pt idx="12">
                    <c:v>Отримати якісну вищу освіту</c:v>
                  </c:pt>
                  <c:pt idx="13">
                    <c:v>Створити і розвивати власний бізнес</c:v>
                  </c:pt>
                  <c:pt idx="14">
                    <c:v>Мати різноманітне і цікаве дозвілля</c:v>
                  </c:pt>
                  <c:pt idx="15">
                    <c:v>Брати участь у громадських ініціативах</c:v>
                  </c:pt>
                  <c:pt idx="16">
                    <c:v>Мати владу і вплив</c:v>
                  </c:pt>
                  <c:pt idx="17">
                    <c:v>Допомагати іншим людям, які цього потребують</c:v>
                  </c:pt>
                  <c:pt idx="18">
                    <c:v>Бути у безпеці, не боятися за власне життя і життя родини</c:v>
                  </c:pt>
                  <c:pt idx="19">
                    <c:v>Жити у приємному, привабливому місті</c:v>
                  </c:pt>
                  <c:pt idx="20">
                    <c:v>Жити у місті, де є багато можливостей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88F9-4AD8-A914-EE8FCDCFA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647952"/>
        <c:axId val="299654432"/>
      </c:scatterChart>
      <c:valAx>
        <c:axId val="299647952"/>
        <c:scaling>
          <c:orientation val="minMax"/>
          <c:max val="1"/>
          <c:min val="0"/>
        </c:scaling>
        <c:delete val="0"/>
        <c:axPos val="b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54432"/>
        <c:crossesAt val="0.6100000000000001"/>
        <c:crossBetween val="midCat"/>
        <c:majorUnit val="0.2"/>
        <c:minorUnit val="0.1"/>
      </c:valAx>
      <c:valAx>
        <c:axId val="299654432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47952"/>
        <c:crossesAt val="0.43000000000000005"/>
        <c:crossBetween val="midCat"/>
        <c:majorUnit val="0.2"/>
        <c:min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2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ажливість цілей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2">
                  <a:lumMod val="50000"/>
                </a:schemeClr>
              </a:solidFill>
              <a:ln w="9525">
                <a:solidFill>
                  <a:schemeClr val="accent2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7459676168255166E-3"/>
                  <c:y val="-3.1366241872253448E-3"/>
                </c:manualLayout>
              </c:layout>
              <c:tx>
                <c:rich>
                  <a:bodyPr/>
                  <a:lstStyle/>
                  <a:p>
                    <a:fld id="{C0A3B38D-3849-4D27-90FB-B3BB1756517E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8F9-4AD8-A914-EE8FCDCFA3EE}"/>
                </c:ext>
              </c:extLst>
            </c:dLbl>
            <c:dLbl>
              <c:idx val="1"/>
              <c:layout>
                <c:manualLayout>
                  <c:x val="1.0297378563095587E-2"/>
                  <c:y val="0.1066454693439440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6A5BD51-3395-4E7C-A446-B10047CCA8A6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806694798780575"/>
                      <c:h val="4.76924942559025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8F9-4AD8-A914-EE8FCDCFA3EE}"/>
                </c:ext>
              </c:extLst>
            </c:dLbl>
            <c:dLbl>
              <c:idx val="2"/>
              <c:layout>
                <c:manualLayout>
                  <c:x val="-0.14347675392465259"/>
                  <c:y val="-2.8752056236691841E-1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FB1439-DB16-4C43-B112-43A0CDF69E3A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881334090528496"/>
                      <c:h val="6.023899100480398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8F9-4AD8-A914-EE8FCDCFA3EE}"/>
                </c:ext>
              </c:extLst>
            </c:dLbl>
            <c:dLbl>
              <c:idx val="3"/>
              <c:layout>
                <c:manualLayout>
                  <c:x val="-6.864919042063892E-3"/>
                  <c:y val="-1.8819745123352098E-2"/>
                </c:manualLayout>
              </c:layout>
              <c:tx>
                <c:rich>
                  <a:bodyPr/>
                  <a:lstStyle/>
                  <a:p>
                    <a:fld id="{43898713-147E-4F09-B6B5-AD578659080D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8F9-4AD8-A914-EE8FCDCFA3EE}"/>
                </c:ext>
              </c:extLst>
            </c:dLbl>
            <c:dLbl>
              <c:idx val="4"/>
              <c:layout>
                <c:manualLayout>
                  <c:x val="-8.2379028504765504E-3"/>
                  <c:y val="-1.5683120936126782E-2"/>
                </c:manualLayout>
              </c:layout>
              <c:tx>
                <c:rich>
                  <a:bodyPr/>
                  <a:lstStyle/>
                  <a:p>
                    <a:fld id="{53902BED-1612-4AEA-B0F5-72D66FF57992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8F9-4AD8-A914-EE8FCDCFA3EE}"/>
                </c:ext>
              </c:extLst>
            </c:dLbl>
            <c:dLbl>
              <c:idx val="5"/>
              <c:layout>
                <c:manualLayout>
                  <c:x val="-5.4919352336510333E-3"/>
                  <c:y val="-1.2546496748901379E-2"/>
                </c:manualLayout>
              </c:layout>
              <c:tx>
                <c:rich>
                  <a:bodyPr/>
                  <a:lstStyle/>
                  <a:p>
                    <a:fld id="{25FD47A4-B9E1-4EAA-A563-52DA8AA5F356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8F9-4AD8-A914-EE8FCDCFA3EE}"/>
                </c:ext>
              </c:extLst>
            </c:dLbl>
            <c:dLbl>
              <c:idx val="6"/>
              <c:layout>
                <c:manualLayout>
                  <c:x val="-7.9633060887939977E-2"/>
                  <c:y val="-2.8229617685028102E-2"/>
                </c:manualLayout>
              </c:layout>
              <c:tx>
                <c:rich>
                  <a:bodyPr/>
                  <a:lstStyle/>
                  <a:p>
                    <a:fld id="{DE7434DC-9BE6-4400-813D-A36E7D04D4CE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8F9-4AD8-A914-EE8FCDCFA3EE}"/>
                </c:ext>
              </c:extLst>
            </c:dLbl>
            <c:dLbl>
              <c:idx val="7"/>
              <c:layout>
                <c:manualLayout>
                  <c:x val="-0.26773184264048788"/>
                  <c:y val="-9.4098725616760335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11D88C-2659-4632-8D4B-59E156976D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16440000012974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8F9-4AD8-A914-EE8FCDCFA3EE}"/>
                </c:ext>
              </c:extLst>
            </c:dLbl>
            <c:dLbl>
              <c:idx val="8"/>
              <c:layout>
                <c:manualLayout>
                  <c:x val="-0.33637616815786764"/>
                  <c:y val="-3.136624187225344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16EC6A6-604C-437E-A256-8C4B7CD8F4E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444299290145751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4EE-4BE8-9B38-F0E9AD0EDB72}"/>
                </c:ext>
              </c:extLst>
            </c:dLbl>
            <c:dLbl>
              <c:idx val="9"/>
              <c:layout>
                <c:manualLayout>
                  <c:x val="-1.8885554448159429E-3"/>
                  <c:y val="-0.1333065279570771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89215E9-4820-4A88-88F4-3A3951AABB4E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72195348136263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DF-4C61-81FF-3713F78B1273}"/>
                </c:ext>
              </c:extLst>
            </c:dLbl>
            <c:dLbl>
              <c:idx val="10"/>
              <c:layout>
                <c:manualLayout>
                  <c:x val="-6.1784271378574174E-2"/>
                  <c:y val="3.1366241872253446E-2"/>
                </c:manualLayout>
              </c:layout>
              <c:tx>
                <c:rich>
                  <a:bodyPr/>
                  <a:lstStyle/>
                  <a:p>
                    <a:fld id="{7540213D-F45B-41B9-8D88-48EFAC48242D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4EE-4BE8-9B38-F0E9AD0EDB72}"/>
                </c:ext>
              </c:extLst>
            </c:dLbl>
            <c:dLbl>
              <c:idx val="11"/>
              <c:layout>
                <c:manualLayout>
                  <c:x val="-6.8654595868702527E-4"/>
                  <c:y val="-5.3322611182830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EDBDBC5-1893-4836-8F14-E5B423220D46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07233138164225"/>
                      <c:h val="4.76924942559025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DF-4C61-81FF-3713F78B1273}"/>
                </c:ext>
              </c:extLst>
            </c:dLbl>
            <c:dLbl>
              <c:idx val="12"/>
              <c:layout>
                <c:manualLayout>
                  <c:x val="-3.9816530443969989E-2"/>
                  <c:y val="7.371066839979548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6DDD17A-E7D7-4F74-B18F-6C9ED26C441D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3621632905859694E-2"/>
                      <c:h val="0.12610809893653621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4EE-4BE8-9B38-F0E9AD0EDB72}"/>
                </c:ext>
              </c:extLst>
            </c:dLbl>
            <c:dLbl>
              <c:idx val="13"/>
              <c:layout>
                <c:manualLayout>
                  <c:x val="-0.15034161891223574"/>
                  <c:y val="3.293430698758366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13E3F19-70DF-4CDE-AE5B-EAAB9A607963}" type="CELLRANGE">
                      <a:rPr lang="ru-RU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47121874583444"/>
                      <c:h val="5.774525128681859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4EE-4BE8-9B38-F0E9AD0EDB72}"/>
                </c:ext>
              </c:extLst>
            </c:dLbl>
            <c:dLbl>
              <c:idx val="14"/>
              <c:layout>
                <c:manualLayout>
                  <c:x val="-6.8648109331024987E-3"/>
                  <c:y val="6.2732483744506896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65AAFFE-6576-4724-B932-8CE2404078A6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650672810715155"/>
                      <c:h val="9.22481173462973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DF-4C61-81FF-3713F78B1273}"/>
                </c:ext>
              </c:extLst>
            </c:dLbl>
            <c:dLbl>
              <c:idx val="15"/>
              <c:layout>
                <c:manualLayout>
                  <c:x val="-6.7276152557744606E-2"/>
                  <c:y val="7.05741677017114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A61EA70-890D-43A3-AE3A-B72AB851BF6E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23920891483791"/>
                      <c:h val="0.1330242317802268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4EE-4BE8-9B38-F0E9AD0EDB72}"/>
                </c:ext>
              </c:extLst>
            </c:dLbl>
            <c:dLbl>
              <c:idx val="16"/>
              <c:layout>
                <c:manualLayout>
                  <c:x val="-0.11395765609825896"/>
                  <c:y val="-3.1366241872253446E-2"/>
                </c:manualLayout>
              </c:layout>
              <c:tx>
                <c:rich>
                  <a:bodyPr/>
                  <a:lstStyle/>
                  <a:p>
                    <a:fld id="{36F8EB89-26B5-4091-A09A-D3B7B60B835A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4EE-4BE8-9B38-F0E9AD0EDB72}"/>
                </c:ext>
              </c:extLst>
            </c:dLbl>
            <c:dLbl>
              <c:idx val="17"/>
              <c:layout>
                <c:manualLayout>
                  <c:x val="-5.491881179170488E-3"/>
                  <c:y val="2.50932404760851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6EB87E-AEFC-4ECE-8658-0D647DD4C4FB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153656780210262"/>
                      <c:h val="9.22481173462973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4EE-4BE8-9B38-F0E9AD0EDB72}"/>
                </c:ext>
              </c:extLst>
            </c:dLbl>
            <c:dLbl>
              <c:idx val="18"/>
              <c:layout>
                <c:manualLayout>
                  <c:x val="-0.39267336920604889"/>
                  <c:y val="6.2732483744506896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138B94E-EA45-401E-B649-2BD11FF9C70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05555438437514"/>
                      <c:h val="6.088187547404393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4EE-4BE8-9B38-F0E9AD0EDB72}"/>
                </c:ext>
              </c:extLst>
            </c:dLbl>
            <c:dLbl>
              <c:idx val="19"/>
              <c:layout>
                <c:manualLayout>
                  <c:x val="0"/>
                  <c:y val="-2.35246814041900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2FF3F8B-02BA-4A93-8EB7-E18D032138BD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0752945401623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DF-4C61-81FF-3713F78B1273}"/>
                </c:ext>
              </c:extLst>
            </c:dLbl>
            <c:dLbl>
              <c:idx val="20"/>
              <c:layout>
                <c:manualLayout>
                  <c:x val="-0.25606153432346013"/>
                  <c:y val="2.666118210227414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060BB59-E044-4030-93CF-B8A454C8AC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420795212762215"/>
                      <c:h val="5.77452512868185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4EE-4BE8-9B38-F0E9AD0ED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22</c:f>
              <c:numCache>
                <c:formatCode>0%</c:formatCode>
                <c:ptCount val="21"/>
                <c:pt idx="0">
                  <c:v>0.63349999999999995</c:v>
                </c:pt>
                <c:pt idx="1">
                  <c:v>0.70320000000000005</c:v>
                </c:pt>
                <c:pt idx="2">
                  <c:v>0.53110000000000002</c:v>
                </c:pt>
                <c:pt idx="3">
                  <c:v>0.82450000000000001</c:v>
                </c:pt>
                <c:pt idx="4">
                  <c:v>0.78190000000000004</c:v>
                </c:pt>
                <c:pt idx="5">
                  <c:v>0.7994</c:v>
                </c:pt>
                <c:pt idx="6">
                  <c:v>0.67779999999999996</c:v>
                </c:pt>
                <c:pt idx="7">
                  <c:v>0.38329999999999997</c:v>
                </c:pt>
                <c:pt idx="8">
                  <c:v>0.4733</c:v>
                </c:pt>
                <c:pt idx="9">
                  <c:v>0.61439999999999995</c:v>
                </c:pt>
                <c:pt idx="10">
                  <c:v>0.29970000000000002</c:v>
                </c:pt>
                <c:pt idx="11">
                  <c:v>0.66049999999999998</c:v>
                </c:pt>
                <c:pt idx="12">
                  <c:v>0.62570000000000003</c:v>
                </c:pt>
                <c:pt idx="13">
                  <c:v>0.44869999999999999</c:v>
                </c:pt>
                <c:pt idx="14">
                  <c:v>0.63570000000000004</c:v>
                </c:pt>
                <c:pt idx="15">
                  <c:v>0.51649999999999996</c:v>
                </c:pt>
                <c:pt idx="16">
                  <c:v>0.2477</c:v>
                </c:pt>
                <c:pt idx="17">
                  <c:v>0.7117</c:v>
                </c:pt>
                <c:pt idx="18">
                  <c:v>0.57620000000000005</c:v>
                </c:pt>
                <c:pt idx="19">
                  <c:v>0.78790000000000004</c:v>
                </c:pt>
                <c:pt idx="20">
                  <c:v>0.55530000000000002</c:v>
                </c:pt>
              </c:numCache>
            </c:numRef>
          </c:xVal>
          <c:yVal>
            <c:numRef>
              <c:f>Sheet1!$B$2:$B$22</c:f>
              <c:numCache>
                <c:formatCode>0%</c:formatCode>
                <c:ptCount val="21"/>
                <c:pt idx="0">
                  <c:v>0.91500000000000004</c:v>
                </c:pt>
                <c:pt idx="1">
                  <c:v>0.55659999999999998</c:v>
                </c:pt>
                <c:pt idx="2">
                  <c:v>0.78120000000000001</c:v>
                </c:pt>
                <c:pt idx="3">
                  <c:v>0.71240000000000003</c:v>
                </c:pt>
                <c:pt idx="4">
                  <c:v>0.60289999999999999</c:v>
                </c:pt>
                <c:pt idx="5">
                  <c:v>0.66449999999999998</c:v>
                </c:pt>
                <c:pt idx="6">
                  <c:v>0.73170000000000002</c:v>
                </c:pt>
                <c:pt idx="7">
                  <c:v>0.47449999999999998</c:v>
                </c:pt>
                <c:pt idx="8">
                  <c:v>0.57130000000000003</c:v>
                </c:pt>
                <c:pt idx="9">
                  <c:v>0.83379999999999999</c:v>
                </c:pt>
                <c:pt idx="10">
                  <c:v>0.10349999999999999</c:v>
                </c:pt>
                <c:pt idx="11">
                  <c:v>0.79930000000000001</c:v>
                </c:pt>
                <c:pt idx="12">
                  <c:v>0.4672</c:v>
                </c:pt>
                <c:pt idx="13">
                  <c:v>0.46400000000000002</c:v>
                </c:pt>
                <c:pt idx="14">
                  <c:v>0.65649999999999997</c:v>
                </c:pt>
                <c:pt idx="15">
                  <c:v>0.23219999999999999</c:v>
                </c:pt>
                <c:pt idx="16">
                  <c:v>0.14299999999999999</c:v>
                </c:pt>
                <c:pt idx="17">
                  <c:v>0.57240000000000002</c:v>
                </c:pt>
                <c:pt idx="18">
                  <c:v>0.94820000000000004</c:v>
                </c:pt>
                <c:pt idx="19">
                  <c:v>0.77380000000000004</c:v>
                </c:pt>
                <c:pt idx="20">
                  <c:v>0.69530000000000003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22</c15:f>
                <c15:dlblRangeCache>
                  <c:ptCount val="21"/>
                  <c:pt idx="0">
                    <c:v>Бути фінансово незалежним</c:v>
                  </c:pt>
                  <c:pt idx="1">
                    <c:v>Мати власний автомобіль</c:v>
                  </c:pt>
                  <c:pt idx="2">
                    <c:v>Мати власне житло</c:v>
                  </c:pt>
                  <c:pt idx="3">
                    <c:v>Мати кохану людину</c:v>
                  </c:pt>
                  <c:pt idx="4">
                    <c:v>Створити сім'ю</c:v>
                  </c:pt>
                  <c:pt idx="5">
                    <c:v>Виростити і виховати дитину</c:v>
                  </c:pt>
                  <c:pt idx="6">
                    <c:v>Бути працевлаштованим</c:v>
                  </c:pt>
                  <c:pt idx="7">
                    <c:v>Бути багатим, заробляти багато грошей</c:v>
                  </c:pt>
                  <c:pt idx="8">
                    <c:v>Зробити успішну кар'єру, досягти високої посади </c:v>
                  </c:pt>
                  <c:pt idx="9">
                    <c:v>Мати цікаву роботу, що дає відчуття сенсу і надихає</c:v>
                  </c:pt>
                  <c:pt idx="10">
                    <c:v>Стати відомим</c:v>
                  </c:pt>
                  <c:pt idx="11">
                    <c:v>Розвивати професійні навички</c:v>
                  </c:pt>
                  <c:pt idx="12">
                    <c:v>Отримати якісну вищу освіту</c:v>
                  </c:pt>
                  <c:pt idx="13">
                    <c:v>Створити і розвивати власний бізнес</c:v>
                  </c:pt>
                  <c:pt idx="14">
                    <c:v>Мати різноманітне і цікаве дозвілля</c:v>
                  </c:pt>
                  <c:pt idx="15">
                    <c:v>Брати участь у громадських ініціативах</c:v>
                  </c:pt>
                  <c:pt idx="16">
                    <c:v>Мати владу і вплив</c:v>
                  </c:pt>
                  <c:pt idx="17">
                    <c:v>Допомагати іншим людям, які цього потребують</c:v>
                  </c:pt>
                  <c:pt idx="18">
                    <c:v>Бути у безпеці, не боятися за власне життя і життя родини</c:v>
                  </c:pt>
                  <c:pt idx="19">
                    <c:v>Жити у приємному, привабливому місті</c:v>
                  </c:pt>
                  <c:pt idx="20">
                    <c:v>Жити у місті, де є багато можливостей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88F9-4AD8-A914-EE8FCDCFA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647952"/>
        <c:axId val="299654432"/>
      </c:scatterChart>
      <c:valAx>
        <c:axId val="299647952"/>
        <c:scaling>
          <c:orientation val="minMax"/>
          <c:max val="1"/>
          <c:min val="0"/>
        </c:scaling>
        <c:delete val="0"/>
        <c:axPos val="b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54432"/>
        <c:crossesAt val="0.60000000000000009"/>
        <c:crossBetween val="midCat"/>
        <c:majorUnit val="0.2"/>
        <c:minorUnit val="0.1"/>
      </c:valAx>
      <c:valAx>
        <c:axId val="299654432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47952"/>
        <c:crossesAt val="0.59000000000000008"/>
        <c:crossBetween val="midCat"/>
        <c:majorUnit val="0.2"/>
        <c:min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2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ажливість цілей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2">
                  <a:lumMod val="50000"/>
                </a:schemeClr>
              </a:solidFill>
              <a:ln w="9525">
                <a:solidFill>
                  <a:schemeClr val="accent2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8397983032730963"/>
                  <c:y val="2.8229617685028102E-2"/>
                </c:manualLayout>
              </c:layout>
              <c:tx>
                <c:rich>
                  <a:bodyPr/>
                  <a:lstStyle/>
                  <a:p>
                    <a:fld id="{80E98FC7-4459-4A12-BBF5-18BB82AF1DB2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8F9-4AD8-A914-EE8FCDCFA3EE}"/>
                </c:ext>
              </c:extLst>
            </c:dLbl>
            <c:dLbl>
              <c:idx val="1"/>
              <c:layout>
                <c:manualLayout>
                  <c:x val="-7.5514163517182306E-2"/>
                  <c:y val="4.391298559943716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70B0671-DC73-45FE-9338-643406BC5903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902864422605713"/>
                      <c:h val="9.160523287705742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8F9-4AD8-A914-EE8FCDCFA3EE}"/>
                </c:ext>
              </c:extLst>
            </c:dLbl>
            <c:dLbl>
              <c:idx val="2"/>
              <c:layout>
                <c:manualLayout>
                  <c:x val="-8.3065466354491233E-2"/>
                  <c:y val="-2.50929934978027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6D6C8AB-5CB2-40E7-B20A-F563EF8FF7F3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3115761886553253E-2"/>
                      <c:h val="9.160523287705742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8F9-4AD8-A914-EE8FCDCFA3EE}"/>
                </c:ext>
              </c:extLst>
            </c:dLbl>
            <c:dLbl>
              <c:idx val="3"/>
              <c:layout>
                <c:manualLayout>
                  <c:x val="-5.4919352336510333E-3"/>
                  <c:y val="-1.2546496748901379E-2"/>
                </c:manualLayout>
              </c:layout>
              <c:tx>
                <c:rich>
                  <a:bodyPr/>
                  <a:lstStyle/>
                  <a:p>
                    <a:fld id="{8034D558-CC67-47FD-BF99-0430623171C4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8F9-4AD8-A914-EE8FCDCFA3EE}"/>
                </c:ext>
              </c:extLst>
            </c:dLbl>
            <c:dLbl>
              <c:idx val="4"/>
              <c:layout>
                <c:manualLayout>
                  <c:x val="-1.7848789509365859E-2"/>
                  <c:y val="2.8229617685028102E-2"/>
                </c:manualLayout>
              </c:layout>
              <c:tx>
                <c:rich>
                  <a:bodyPr/>
                  <a:lstStyle/>
                  <a:p>
                    <a:fld id="{4B203D4E-E2CB-4CED-857D-2A01D3E494EA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8F9-4AD8-A914-EE8FCDCFA3EE}"/>
                </c:ext>
              </c:extLst>
            </c:dLbl>
            <c:dLbl>
              <c:idx val="5"/>
              <c:layout>
                <c:manualLayout>
                  <c:x val="-2.4713708551429649E-2"/>
                  <c:y val="2.5092993497802758E-2"/>
                </c:manualLayout>
              </c:layout>
              <c:tx>
                <c:rich>
                  <a:bodyPr/>
                  <a:lstStyle/>
                  <a:p>
                    <a:fld id="{00EE4165-0255-4704-B574-039E09809E30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8F9-4AD8-A914-EE8FCDCFA3EE}"/>
                </c:ext>
              </c:extLst>
            </c:dLbl>
            <c:dLbl>
              <c:idx val="6"/>
              <c:layout>
                <c:manualLayout>
                  <c:x val="-1.3729838084127583E-2"/>
                  <c:y val="-2.8229617685028102E-2"/>
                </c:manualLayout>
              </c:layout>
              <c:tx>
                <c:rich>
                  <a:bodyPr/>
                  <a:lstStyle/>
                  <a:p>
                    <a:fld id="{E07C159D-FEF9-48FB-9D1F-72CA724722DC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8F9-4AD8-A914-EE8FCDCFA3EE}"/>
                </c:ext>
              </c:extLst>
            </c:dLbl>
            <c:dLbl>
              <c:idx val="7"/>
              <c:layout>
                <c:manualLayout>
                  <c:x val="-0.17848789509365859"/>
                  <c:y val="9.72353498039856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11D88C-2659-4632-8D4B-59E156976D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280150102806218"/>
                      <c:h val="9.22481173462973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8F9-4AD8-A914-EE8FCDCFA3EE}"/>
                </c:ext>
              </c:extLst>
            </c:dLbl>
            <c:dLbl>
              <c:idx val="8"/>
              <c:layout>
                <c:manualLayout>
                  <c:x val="-0.23200583096493627"/>
                  <c:y val="-5.3322611182830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16EC6A6-604C-437E-A256-8C4B7CD8F4E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929582255081579"/>
                      <c:h val="9.22481173462973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4EE-4BE8-9B38-F0E9AD0EDB72}"/>
                </c:ext>
              </c:extLst>
            </c:dLbl>
            <c:dLbl>
              <c:idx val="9"/>
              <c:layout>
                <c:manualLayout>
                  <c:x val="-0.34513450754800551"/>
                  <c:y val="3.136624187225344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346F3DD-C0C5-444D-A653-0E61CA4863CE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446404495948995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DF-4C61-81FF-3713F78B1273}"/>
                </c:ext>
              </c:extLst>
            </c:dLbl>
            <c:dLbl>
              <c:idx val="10"/>
              <c:layout>
                <c:manualLayout>
                  <c:x val="-8.5124996121591037E-2"/>
                  <c:y val="3.1366241872253446E-2"/>
                </c:manualLayout>
              </c:layout>
              <c:tx>
                <c:rich>
                  <a:bodyPr/>
                  <a:lstStyle/>
                  <a:p>
                    <a:fld id="{31E1AA74-B013-4ADD-83BD-DF23E59402F4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4EE-4BE8-9B38-F0E9AD0EDB72}"/>
                </c:ext>
              </c:extLst>
            </c:dLbl>
            <c:dLbl>
              <c:idx val="11"/>
              <c:layout>
                <c:manualLayout>
                  <c:x val="-2.059481118067202E-2"/>
                  <c:y val="-2.979792977864077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A302C8B-AADD-4D1E-A929-4E5D0C08319A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308016809213731"/>
                      <c:h val="5.08291184431279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DF-4C61-81FF-3713F78B1273}"/>
                </c:ext>
              </c:extLst>
            </c:dLbl>
            <c:dLbl>
              <c:idx val="12"/>
              <c:layout>
                <c:manualLayout>
                  <c:x val="-0.12700100227818015"/>
                  <c:y val="1.411480884251393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4C4A9AC-4B2D-4951-931C-3FD6F88400E4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245429288252763"/>
                      <c:h val="8.846860868983207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4EE-4BE8-9B38-F0E9AD0EDB72}"/>
                </c:ext>
              </c:extLst>
            </c:dLbl>
            <c:dLbl>
              <c:idx val="13"/>
              <c:layout>
                <c:manualLayout>
                  <c:x val="-0.14027743137864765"/>
                  <c:y val="-1.882011559077581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13E3F19-70DF-4CDE-AE5B-EAAB9A607963}" type="CELLRANGE">
                      <a:rPr lang="ru-RU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049743311487756"/>
                      <c:h val="9.22481173462973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4EE-4BE8-9B38-F0E9AD0EDB72}"/>
                </c:ext>
              </c:extLst>
            </c:dLbl>
            <c:dLbl>
              <c:idx val="14"/>
              <c:layout>
                <c:manualLayout>
                  <c:x val="-0.25674786406422456"/>
                  <c:y val="-0.2415200624163515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3F6B4FF-8AE5-4DC2-BC1A-04DA34A8A6A6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35994651633467"/>
                      <c:h val="4.206213035069187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DF-4C61-81FF-3713F78B1273}"/>
                </c:ext>
              </c:extLst>
            </c:dLbl>
            <c:dLbl>
              <c:idx val="15"/>
              <c:layout>
                <c:manualLayout>
                  <c:x val="-8.2378974450284845E-2"/>
                  <c:y val="7.057416770171137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A61EA70-890D-43A3-AE3A-B72AB851BF6E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23920891483791"/>
                      <c:h val="0.1330242317802268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4EE-4BE8-9B38-F0E9AD0EDB72}"/>
                </c:ext>
              </c:extLst>
            </c:dLbl>
            <c:dLbl>
              <c:idx val="16"/>
              <c:layout>
                <c:manualLayout>
                  <c:x val="-7.5514109462701706E-2"/>
                  <c:y val="-3.1366241872253446E-2"/>
                </c:manualLayout>
              </c:layout>
              <c:tx>
                <c:rich>
                  <a:bodyPr/>
                  <a:lstStyle/>
                  <a:p>
                    <a:fld id="{1E0F8087-7B6F-460F-BBEB-E44DF39DD51A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4EE-4BE8-9B38-F0E9AD0EDB72}"/>
                </c:ext>
              </c:extLst>
            </c:dLbl>
            <c:dLbl>
              <c:idx val="17"/>
              <c:layout>
                <c:manualLayout>
                  <c:x val="-5.0990132138340116E-3"/>
                  <c:y val="-2.03878102386822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6EB87E-AEFC-4ECE-8658-0D647DD4C4FB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496940462340939"/>
                      <c:h val="3.892550616346653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4EE-4BE8-9B38-F0E9AD0EDB72}"/>
                </c:ext>
              </c:extLst>
            </c:dLbl>
            <c:dLbl>
              <c:idx val="18"/>
              <c:layout>
                <c:manualLayout>
                  <c:x val="-1.9221881426739959E-2"/>
                  <c:y val="-2.509299349780277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138B94E-EA45-401E-B649-2BD11FF9C70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957167337644936"/>
                      <c:h val="6.088187547404393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4EE-4BE8-9B38-F0E9AD0EDB72}"/>
                </c:ext>
              </c:extLst>
            </c:dLbl>
            <c:dLbl>
              <c:idx val="19"/>
              <c:layout>
                <c:manualLayout>
                  <c:x val="-1.0983870467302067E-2"/>
                  <c:y val="-2.66613055914154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2FF3F8B-02BA-4A93-8EB7-E18D032138BD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0752945401623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DF-4C61-81FF-3713F78B1273}"/>
                </c:ext>
              </c:extLst>
            </c:dLbl>
            <c:dLbl>
              <c:idx val="20"/>
              <c:layout>
                <c:manualLayout>
                  <c:x val="-8.0319498737665709E-2"/>
                  <c:y val="6.58691079317321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060BB59-E044-4030-93CF-B8A454C8AC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887731222095048"/>
                      <c:h val="9.22481173462973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4EE-4BE8-9B38-F0E9AD0ED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22</c:f>
              <c:numCache>
                <c:formatCode>0%</c:formatCode>
                <c:ptCount val="21"/>
                <c:pt idx="0">
                  <c:v>0.33379999999999999</c:v>
                </c:pt>
                <c:pt idx="1">
                  <c:v>0.48680000000000001</c:v>
                </c:pt>
                <c:pt idx="2">
                  <c:v>0.34889999999999999</c:v>
                </c:pt>
                <c:pt idx="3">
                  <c:v>0.72309999999999997</c:v>
                </c:pt>
                <c:pt idx="4">
                  <c:v>0.63400000000000001</c:v>
                </c:pt>
                <c:pt idx="5">
                  <c:v>0.52410000000000001</c:v>
                </c:pt>
                <c:pt idx="6">
                  <c:v>0.55449999999999999</c:v>
                </c:pt>
                <c:pt idx="7">
                  <c:v>0.23130000000000001</c:v>
                </c:pt>
                <c:pt idx="8">
                  <c:v>0.27400000000000002</c:v>
                </c:pt>
                <c:pt idx="9">
                  <c:v>0.36820000000000003</c:v>
                </c:pt>
                <c:pt idx="10">
                  <c:v>0.21529999999999999</c:v>
                </c:pt>
                <c:pt idx="11">
                  <c:v>0.52249999999999996</c:v>
                </c:pt>
                <c:pt idx="12">
                  <c:v>0.34460000000000002</c:v>
                </c:pt>
                <c:pt idx="13">
                  <c:v>0.19400000000000001</c:v>
                </c:pt>
                <c:pt idx="14">
                  <c:v>0.39789999999999998</c:v>
                </c:pt>
                <c:pt idx="15">
                  <c:v>0.36990000000000001</c:v>
                </c:pt>
                <c:pt idx="16">
                  <c:v>0.1154</c:v>
                </c:pt>
                <c:pt idx="17">
                  <c:v>0.59389999999999998</c:v>
                </c:pt>
                <c:pt idx="18">
                  <c:v>0.42699999999999999</c:v>
                </c:pt>
                <c:pt idx="19">
                  <c:v>0.51919999999999999</c:v>
                </c:pt>
                <c:pt idx="20">
                  <c:v>0.33310000000000001</c:v>
                </c:pt>
              </c:numCache>
            </c:numRef>
          </c:xVal>
          <c:yVal>
            <c:numRef>
              <c:f>Sheet1!$B$2:$B$22</c:f>
              <c:numCache>
                <c:formatCode>0%</c:formatCode>
                <c:ptCount val="21"/>
                <c:pt idx="0">
                  <c:v>0.95430000000000004</c:v>
                </c:pt>
                <c:pt idx="1">
                  <c:v>0.51819999999999999</c:v>
                </c:pt>
                <c:pt idx="2">
                  <c:v>0.73680000000000001</c:v>
                </c:pt>
                <c:pt idx="3">
                  <c:v>0.6149</c:v>
                </c:pt>
                <c:pt idx="4">
                  <c:v>0.49020000000000002</c:v>
                </c:pt>
                <c:pt idx="5">
                  <c:v>0.39739999999999998</c:v>
                </c:pt>
                <c:pt idx="6">
                  <c:v>0.66459999999999997</c:v>
                </c:pt>
                <c:pt idx="7">
                  <c:v>0.62580000000000002</c:v>
                </c:pt>
                <c:pt idx="8">
                  <c:v>0.69879999999999998</c:v>
                </c:pt>
                <c:pt idx="9">
                  <c:v>0.85809999999999997</c:v>
                </c:pt>
                <c:pt idx="10">
                  <c:v>0.1638</c:v>
                </c:pt>
                <c:pt idx="11">
                  <c:v>0.82889999999999997</c:v>
                </c:pt>
                <c:pt idx="12">
                  <c:v>0.38969999999999999</c:v>
                </c:pt>
                <c:pt idx="13">
                  <c:v>0.62919999999999998</c:v>
                </c:pt>
                <c:pt idx="14">
                  <c:v>0.74490000000000001</c:v>
                </c:pt>
                <c:pt idx="15">
                  <c:v>0.20369999999999999</c:v>
                </c:pt>
                <c:pt idx="16">
                  <c:v>0.2248</c:v>
                </c:pt>
                <c:pt idx="17">
                  <c:v>0.52339999999999998</c:v>
                </c:pt>
                <c:pt idx="18">
                  <c:v>0.90249999999999997</c:v>
                </c:pt>
                <c:pt idx="19">
                  <c:v>0.75280000000000002</c:v>
                </c:pt>
                <c:pt idx="20">
                  <c:v>0.6794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22</c15:f>
                <c15:dlblRangeCache>
                  <c:ptCount val="21"/>
                  <c:pt idx="0">
                    <c:v>Бути фінансово незалежним</c:v>
                  </c:pt>
                  <c:pt idx="1">
                    <c:v>Мати власний автомобіль</c:v>
                  </c:pt>
                  <c:pt idx="2">
                    <c:v>Мати власне житло</c:v>
                  </c:pt>
                  <c:pt idx="3">
                    <c:v>Мати кохану людину</c:v>
                  </c:pt>
                  <c:pt idx="4">
                    <c:v>Створити сім'ю</c:v>
                  </c:pt>
                  <c:pt idx="5">
                    <c:v>Виростити і виховати дитину</c:v>
                  </c:pt>
                  <c:pt idx="6">
                    <c:v>Бути працевлаштованим</c:v>
                  </c:pt>
                  <c:pt idx="7">
                    <c:v>Бути багатим, заробляти багато грошей</c:v>
                  </c:pt>
                  <c:pt idx="8">
                    <c:v>Зробити успішну кар'єру, досягти високої посади </c:v>
                  </c:pt>
                  <c:pt idx="9">
                    <c:v>Мати цікаву роботу, що дає відчуття сенсу і надихає</c:v>
                  </c:pt>
                  <c:pt idx="10">
                    <c:v>Стати відомим</c:v>
                  </c:pt>
                  <c:pt idx="11">
                    <c:v>Розвивати професійні навички</c:v>
                  </c:pt>
                  <c:pt idx="12">
                    <c:v>Отримати якісну вищу освіту</c:v>
                  </c:pt>
                  <c:pt idx="13">
                    <c:v>Створити і розвивати власний бізнес</c:v>
                  </c:pt>
                  <c:pt idx="14">
                    <c:v>Мати різноманітне і цікаве дозвілля</c:v>
                  </c:pt>
                  <c:pt idx="15">
                    <c:v>Брати участь у громадських ініціативах</c:v>
                  </c:pt>
                  <c:pt idx="16">
                    <c:v>Мати владу і вплив</c:v>
                  </c:pt>
                  <c:pt idx="17">
                    <c:v>Допомагати іншим людям, які цього потребують</c:v>
                  </c:pt>
                  <c:pt idx="18">
                    <c:v>Бути у безпеці, не боятися за власне життя і життя родини</c:v>
                  </c:pt>
                  <c:pt idx="19">
                    <c:v>Жити у приємному, привабливому місті</c:v>
                  </c:pt>
                  <c:pt idx="20">
                    <c:v>Жити у місті, де є багато можливостей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88F9-4AD8-A914-EE8FCDCFA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647952"/>
        <c:axId val="299654432"/>
      </c:scatterChart>
      <c:valAx>
        <c:axId val="299647952"/>
        <c:scaling>
          <c:orientation val="minMax"/>
          <c:max val="1"/>
          <c:min val="0"/>
        </c:scaling>
        <c:delete val="0"/>
        <c:axPos val="b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54432"/>
        <c:crossesAt val="0.60000000000000009"/>
        <c:crossBetween val="midCat"/>
        <c:majorUnit val="0.2"/>
        <c:minorUnit val="0.1"/>
      </c:valAx>
      <c:valAx>
        <c:axId val="299654432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47952"/>
        <c:crossesAt val="0.41000000000000003"/>
        <c:crossBetween val="midCat"/>
        <c:majorUnit val="0.2"/>
        <c:min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2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ажливість цілей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2">
                  <a:lumMod val="50000"/>
                </a:schemeClr>
              </a:solidFill>
              <a:ln w="9525">
                <a:solidFill>
                  <a:schemeClr val="accent2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189352088940909E-2"/>
                  <c:y val="-9.25304135231476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97CB1AE-7F69-407F-8417-01C6B37E0AA0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494396334154853"/>
                      <c:h val="8.846860868983207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8F9-4AD8-A914-EE8FCDCFA3EE}"/>
                </c:ext>
              </c:extLst>
            </c:dLbl>
            <c:dLbl>
              <c:idx val="1"/>
              <c:layout>
                <c:manualLayout>
                  <c:x val="-4.1876006156589228E-2"/>
                  <c:y val="0.2321104368329579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03C3B76-6D53-48DC-AB74-57A9BA2128DA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806694798780575"/>
                      <c:h val="4.76924942559025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8F9-4AD8-A914-EE8FCDCFA3EE}"/>
                </c:ext>
              </c:extLst>
            </c:dLbl>
            <c:dLbl>
              <c:idx val="2"/>
              <c:layout>
                <c:manualLayout>
                  <c:x val="-2.2654232838810611E-2"/>
                  <c:y val="5.959585955728152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34A467D-98E0-4CD2-8DCA-9809D63A1C6B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910118101472581E-2"/>
                      <c:h val="0.1292447231237615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8F9-4AD8-A914-EE8FCDCFA3EE}"/>
                </c:ext>
              </c:extLst>
            </c:dLbl>
            <c:dLbl>
              <c:idx val="3"/>
              <c:layout>
                <c:manualLayout>
                  <c:x val="-6.8649190420637914E-3"/>
                  <c:y val="-2.1956369310577414E-2"/>
                </c:manualLayout>
              </c:layout>
              <c:tx>
                <c:rich>
                  <a:bodyPr/>
                  <a:lstStyle/>
                  <a:p>
                    <a:fld id="{EE15C9B7-6CFC-4EBD-B84F-406461920977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8F9-4AD8-A914-EE8FCDCFA3EE}"/>
                </c:ext>
              </c:extLst>
            </c:dLbl>
            <c:dLbl>
              <c:idx val="4"/>
              <c:layout>
                <c:manualLayout>
                  <c:x val="-2.3340724743016992E-2"/>
                  <c:y val="0.12232834330178845"/>
                </c:manualLayout>
              </c:layout>
              <c:tx>
                <c:rich>
                  <a:bodyPr/>
                  <a:lstStyle/>
                  <a:p>
                    <a:fld id="{BB40E8B3-CB7F-4705-B72B-B79B95E90543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8F9-4AD8-A914-EE8FCDCFA3EE}"/>
                </c:ext>
              </c:extLst>
            </c:dLbl>
            <c:dLbl>
              <c:idx val="5"/>
              <c:layout>
                <c:manualLayout>
                  <c:x val="-8.237902850476651E-3"/>
                  <c:y val="-1.8819745123352126E-2"/>
                </c:manualLayout>
              </c:layout>
              <c:tx>
                <c:rich>
                  <a:bodyPr/>
                  <a:lstStyle/>
                  <a:p>
                    <a:fld id="{8BE2CF75-066F-4904-9436-D765F02BF42D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8F9-4AD8-A914-EE8FCDCFA3EE}"/>
                </c:ext>
              </c:extLst>
            </c:dLbl>
            <c:dLbl>
              <c:idx val="6"/>
              <c:layout>
                <c:manualLayout>
                  <c:x val="-2.7459676168255166E-2"/>
                  <c:y val="3.1366241872253446E-2"/>
                </c:manualLayout>
              </c:layout>
              <c:tx>
                <c:rich>
                  <a:bodyPr/>
                  <a:lstStyle/>
                  <a:p>
                    <a:fld id="{51753EEE-D0E3-42DF-A0E8-7D9726E7FDF5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8F9-4AD8-A914-EE8FCDCFA3EE}"/>
                </c:ext>
              </c:extLst>
            </c:dLbl>
            <c:dLbl>
              <c:idx val="7"/>
              <c:layout>
                <c:manualLayout>
                  <c:x val="-0.2237963607712796"/>
                  <c:y val="2.822961768502810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11D88C-2659-4632-8D4B-59E156976D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16440000012974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8F9-4AD8-A914-EE8FCDCFA3EE}"/>
                </c:ext>
              </c:extLst>
            </c:dLbl>
            <c:dLbl>
              <c:idx val="8"/>
              <c:layout>
                <c:manualLayout>
                  <c:x val="-0.33363020054104209"/>
                  <c:y val="6.2732483744506896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16EC6A6-604C-437E-A256-8C4B7CD8F4E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444299290145751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4EE-4BE8-9B38-F0E9AD0EDB72}"/>
                </c:ext>
              </c:extLst>
            </c:dLbl>
            <c:dLbl>
              <c:idx val="9"/>
              <c:layout>
                <c:manualLayout>
                  <c:x val="8.0307552697442913E-2"/>
                  <c:y val="-0.1395797763315278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FE100F9-B093-4198-87C9-A9AAE9A9151E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65235206721091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DF-4C61-81FF-3713F78B1273}"/>
                </c:ext>
              </c:extLst>
            </c:dLbl>
            <c:dLbl>
              <c:idx val="10"/>
              <c:layout>
                <c:manualLayout>
                  <c:x val="-0.10022781801413136"/>
                  <c:y val="2.8229617685028102E-2"/>
                </c:manualLayout>
              </c:layout>
              <c:tx>
                <c:rich>
                  <a:bodyPr/>
                  <a:lstStyle/>
                  <a:p>
                    <a:fld id="{792D251C-8641-468F-BB55-F144701A26CD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4EE-4BE8-9B38-F0E9AD0EDB72}"/>
                </c:ext>
              </c:extLst>
            </c:dLbl>
            <c:dLbl>
              <c:idx val="11"/>
              <c:layout>
                <c:manualLayout>
                  <c:x val="1.6475751646472452E-2"/>
                  <c:y val="-5.17542990892182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8810732-B08B-4781-85EE-01FE2E22795A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308016809213731"/>
                      <c:h val="5.08291184431279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DF-4C61-81FF-3713F78B1273}"/>
                </c:ext>
              </c:extLst>
            </c:dLbl>
            <c:dLbl>
              <c:idx val="12"/>
              <c:layout>
                <c:manualLayout>
                  <c:x val="-3.7757054731350853E-2"/>
                  <c:y val="8.468885305508430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9152DC4-4824-4DF3-A4B3-1513F9FC9841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1264778630144868E-2"/>
                      <c:h val="0.16688421337046569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4EE-4BE8-9B38-F0E9AD0EDB72}"/>
                </c:ext>
              </c:extLst>
            </c:dLbl>
            <c:dLbl>
              <c:idx val="13"/>
              <c:layout>
                <c:manualLayout>
                  <c:x val="-0.25056943692636707"/>
                  <c:y val="1.411456186423159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13E3F19-70DF-4CDE-AE5B-EAAB9A607963}" type="CELLRANGE">
                      <a:rPr lang="ru-RU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47121874583444"/>
                      <c:h val="5.774525128681859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4EE-4BE8-9B38-F0E9AD0EDB72}"/>
                </c:ext>
              </c:extLst>
            </c:dLbl>
            <c:dLbl>
              <c:idx val="14"/>
              <c:layout>
                <c:manualLayout>
                  <c:x val="-0.24988294502216077"/>
                  <c:y val="-8.468885305508430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6B26FAE-7E99-4C71-84CE-40F57EA4C4C9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35994651633467"/>
                      <c:h val="4.206213035069187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DF-4C61-81FF-3713F78B1273}"/>
                </c:ext>
              </c:extLst>
            </c:dLbl>
            <c:dLbl>
              <c:idx val="15"/>
              <c:layout>
                <c:manualLayout>
                  <c:x val="-6.0411233515680819E-2"/>
                  <c:y val="7.371079188893671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A61EA70-890D-43A3-AE3A-B72AB851BF6E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23920891483791"/>
                      <c:h val="0.1330242317802268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4EE-4BE8-9B38-F0E9AD0EDB72}"/>
                </c:ext>
              </c:extLst>
            </c:dLbl>
            <c:dLbl>
              <c:idx val="16"/>
              <c:layout>
                <c:manualLayout>
                  <c:x val="-0.11395765609825899"/>
                  <c:y val="-3.450286605947879E-2"/>
                </c:manualLayout>
              </c:layout>
              <c:tx>
                <c:rich>
                  <a:bodyPr/>
                  <a:lstStyle/>
                  <a:p>
                    <a:fld id="{C6226E43-DA9C-4B79-8663-B9B3C6FE380A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4EE-4BE8-9B38-F0E9AD0EDB72}"/>
                </c:ext>
              </c:extLst>
            </c:dLbl>
            <c:dLbl>
              <c:idx val="17"/>
              <c:layout>
                <c:manualLayout>
                  <c:x val="-8.2649300907996354E-3"/>
                  <c:y val="3.293480094414852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6EB87E-AEFC-4ECE-8658-0D647DD4C4FB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67315017729329"/>
                      <c:h val="4.519875453791721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4EE-4BE8-9B38-F0E9AD0EDB72}"/>
                </c:ext>
              </c:extLst>
            </c:dLbl>
            <c:dLbl>
              <c:idx val="18"/>
              <c:layout>
                <c:manualLayout>
                  <c:x val="3.0892027580325769E-2"/>
                  <c:y val="-2.195636931057742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138B94E-EA45-401E-B649-2BD11FF9C70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934442833981285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4EE-4BE8-9B38-F0E9AD0EDB72}"/>
                </c:ext>
              </c:extLst>
            </c:dLbl>
            <c:dLbl>
              <c:idx val="19"/>
              <c:layout>
                <c:manualLayout>
                  <c:x val="-8.2379028504765504E-3"/>
                  <c:y val="-2.038805721696479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2FF3F8B-02BA-4A93-8EB7-E18D032138BD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0752945401623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DF-4C61-81FF-3713F78B1273}"/>
                </c:ext>
              </c:extLst>
            </c:dLbl>
            <c:dLbl>
              <c:idx val="20"/>
              <c:layout>
                <c:manualLayout>
                  <c:x val="-0.25505093175329924"/>
                  <c:y val="-2.038830419524722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060BB59-E044-4030-93CF-B8A454C8AC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9700492771456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4EE-4BE8-9B38-F0E9AD0ED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22</c:f>
              <c:numCache>
                <c:formatCode>0%</c:formatCode>
                <c:ptCount val="21"/>
                <c:pt idx="0">
                  <c:v>0.65510000000000002</c:v>
                </c:pt>
                <c:pt idx="1">
                  <c:v>0.6925</c:v>
                </c:pt>
                <c:pt idx="2">
                  <c:v>0.63439999999999996</c:v>
                </c:pt>
                <c:pt idx="3">
                  <c:v>0.76</c:v>
                </c:pt>
                <c:pt idx="4">
                  <c:v>0.73560000000000003</c:v>
                </c:pt>
                <c:pt idx="5">
                  <c:v>0.74860000000000004</c:v>
                </c:pt>
                <c:pt idx="6">
                  <c:v>0.71279999999999999</c:v>
                </c:pt>
                <c:pt idx="7">
                  <c:v>0.51890000000000003</c:v>
                </c:pt>
                <c:pt idx="8">
                  <c:v>0.52759999999999996</c:v>
                </c:pt>
                <c:pt idx="9">
                  <c:v>0.6552</c:v>
                </c:pt>
                <c:pt idx="10">
                  <c:v>0.44640000000000002</c:v>
                </c:pt>
                <c:pt idx="11">
                  <c:v>0.68310000000000004</c:v>
                </c:pt>
                <c:pt idx="12">
                  <c:v>0.65310000000000001</c:v>
                </c:pt>
                <c:pt idx="13">
                  <c:v>0.55500000000000005</c:v>
                </c:pt>
                <c:pt idx="14">
                  <c:v>0.61109999999999998</c:v>
                </c:pt>
                <c:pt idx="15">
                  <c:v>0.55879999999999996</c:v>
                </c:pt>
                <c:pt idx="16">
                  <c:v>0.40450000000000003</c:v>
                </c:pt>
                <c:pt idx="17">
                  <c:v>0.75090000000000001</c:v>
                </c:pt>
                <c:pt idx="18">
                  <c:v>0.67179999999999995</c:v>
                </c:pt>
                <c:pt idx="19">
                  <c:v>0.76029999999999998</c:v>
                </c:pt>
                <c:pt idx="20">
                  <c:v>0.57520000000000004</c:v>
                </c:pt>
              </c:numCache>
            </c:numRef>
          </c:xVal>
          <c:yVal>
            <c:numRef>
              <c:f>Sheet1!$B$2:$B$22</c:f>
              <c:numCache>
                <c:formatCode>0%</c:formatCode>
                <c:ptCount val="21"/>
                <c:pt idx="0">
                  <c:v>0.88129999999999997</c:v>
                </c:pt>
                <c:pt idx="1">
                  <c:v>0.61770000000000003</c:v>
                </c:pt>
                <c:pt idx="2">
                  <c:v>0.79900000000000004</c:v>
                </c:pt>
                <c:pt idx="3">
                  <c:v>0.72550000000000003</c:v>
                </c:pt>
                <c:pt idx="4">
                  <c:v>0.60409999999999997</c:v>
                </c:pt>
                <c:pt idx="5">
                  <c:v>0.62539999999999996</c:v>
                </c:pt>
                <c:pt idx="6">
                  <c:v>0.72809999999999997</c:v>
                </c:pt>
                <c:pt idx="7">
                  <c:v>0.59489999999999998</c:v>
                </c:pt>
                <c:pt idx="8">
                  <c:v>0.71240000000000003</c:v>
                </c:pt>
                <c:pt idx="9">
                  <c:v>0.83520000000000005</c:v>
                </c:pt>
                <c:pt idx="10">
                  <c:v>0.33139999999999997</c:v>
                </c:pt>
                <c:pt idx="11">
                  <c:v>0.78339999999999999</c:v>
                </c:pt>
                <c:pt idx="12">
                  <c:v>0.60429999999999995</c:v>
                </c:pt>
                <c:pt idx="13">
                  <c:v>0.65749999999999997</c:v>
                </c:pt>
                <c:pt idx="14">
                  <c:v>0.74909999999999999</c:v>
                </c:pt>
                <c:pt idx="15">
                  <c:v>0.45200000000000001</c:v>
                </c:pt>
                <c:pt idx="16">
                  <c:v>0.38919999999999999</c:v>
                </c:pt>
                <c:pt idx="17">
                  <c:v>0.61399999999999999</c:v>
                </c:pt>
                <c:pt idx="18">
                  <c:v>0.85799999999999998</c:v>
                </c:pt>
                <c:pt idx="19">
                  <c:v>0.76929999999999998</c:v>
                </c:pt>
                <c:pt idx="20">
                  <c:v>0.75049999999999994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22</c15:f>
                <c15:dlblRangeCache>
                  <c:ptCount val="21"/>
                  <c:pt idx="0">
                    <c:v>Бути фінансово незалежним</c:v>
                  </c:pt>
                  <c:pt idx="1">
                    <c:v>Мати власний автомобіль</c:v>
                  </c:pt>
                  <c:pt idx="2">
                    <c:v>Мати власне житло</c:v>
                  </c:pt>
                  <c:pt idx="3">
                    <c:v>Мати кохану людину</c:v>
                  </c:pt>
                  <c:pt idx="4">
                    <c:v>Створити сім'ю</c:v>
                  </c:pt>
                  <c:pt idx="5">
                    <c:v>Виростити і виховати дитину</c:v>
                  </c:pt>
                  <c:pt idx="6">
                    <c:v>Бути працевлаштованим</c:v>
                  </c:pt>
                  <c:pt idx="7">
                    <c:v>Бути багатим, заробляти багато грошей</c:v>
                  </c:pt>
                  <c:pt idx="8">
                    <c:v>Зробити успішну кар'єру, досягти високої посади </c:v>
                  </c:pt>
                  <c:pt idx="9">
                    <c:v>Мати цікаву роботу, що дає відчуття сенсу і надихає</c:v>
                  </c:pt>
                  <c:pt idx="10">
                    <c:v>Стати відомим</c:v>
                  </c:pt>
                  <c:pt idx="11">
                    <c:v>Розвивати професійні навички</c:v>
                  </c:pt>
                  <c:pt idx="12">
                    <c:v>Отримати якісну вищу освіту</c:v>
                  </c:pt>
                  <c:pt idx="13">
                    <c:v>Створити і розвивати власний бізнес</c:v>
                  </c:pt>
                  <c:pt idx="14">
                    <c:v>Мати різноманітне і цікаве дозвілля</c:v>
                  </c:pt>
                  <c:pt idx="15">
                    <c:v>Брати участь у громадських ініціативах</c:v>
                  </c:pt>
                  <c:pt idx="16">
                    <c:v>Мати владу і вплив</c:v>
                  </c:pt>
                  <c:pt idx="17">
                    <c:v>Допомагати іншим людям, які цього потребують</c:v>
                  </c:pt>
                  <c:pt idx="18">
                    <c:v>Бути у безпеці, не боятися за власне життя і життя родини</c:v>
                  </c:pt>
                  <c:pt idx="19">
                    <c:v>Жити у приємному, привабливому місті</c:v>
                  </c:pt>
                  <c:pt idx="20">
                    <c:v>Жити у місті, де є багато можливостей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88F9-4AD8-A914-EE8FCDCFA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647952"/>
        <c:axId val="299654432"/>
      </c:scatterChart>
      <c:valAx>
        <c:axId val="299647952"/>
        <c:scaling>
          <c:orientation val="minMax"/>
          <c:max val="1"/>
          <c:min val="0.2"/>
        </c:scaling>
        <c:delete val="0"/>
        <c:axPos val="b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54432"/>
        <c:crossesAt val="0.67000000000000015"/>
        <c:crossBetween val="midCat"/>
        <c:majorUnit val="0.2"/>
        <c:minorUnit val="0.1"/>
      </c:valAx>
      <c:valAx>
        <c:axId val="299654432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47952"/>
        <c:crossesAt val="0.63000000000000012"/>
        <c:crossBetween val="midCat"/>
        <c:majorUnit val="0.2"/>
        <c:min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2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ажливість цілей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2">
                  <a:lumMod val="50000"/>
                </a:schemeClr>
              </a:solidFill>
              <a:ln w="9525">
                <a:solidFill>
                  <a:schemeClr val="accent2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107244954474706E-3"/>
                  <c:y val="-1.568312093612673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FF55962-703F-4A30-B77A-6C8C950A08F3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006895946313951"/>
                      <c:h val="4.76924942559025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8F9-4AD8-A914-EE8FCDCFA3EE}"/>
                </c:ext>
              </c:extLst>
            </c:dLbl>
            <c:dLbl>
              <c:idx val="1"/>
              <c:layout>
                <c:manualLayout>
                  <c:x val="-4.8054433294447549E-3"/>
                  <c:y val="-9.4096255833935761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1C7A1BA-F817-44BC-BA93-F24995D90F16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806694798780575"/>
                      <c:h val="4.76924942559025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8F9-4AD8-A914-EE8FCDCFA3EE}"/>
                </c:ext>
              </c:extLst>
            </c:dLbl>
            <c:dLbl>
              <c:idx val="2"/>
              <c:layout>
                <c:manualLayout>
                  <c:x val="-0.24370468004774529"/>
                  <c:y val="-5.489104676558476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1602538-0CC5-4A75-9B54-18BF5FC6E2FE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881334090528496"/>
                      <c:h val="5.710236681757862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8F9-4AD8-A914-EE8FCDCFA3EE}"/>
                </c:ext>
              </c:extLst>
            </c:dLbl>
            <c:dLbl>
              <c:idx val="3"/>
              <c:layout>
                <c:manualLayout>
                  <c:x val="-0.11876309942770369"/>
                  <c:y val="2.822961768502810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5A8BA1E-511D-49FB-BBE5-F8EC35040D74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7612229804624404E-2"/>
                      <c:h val="9.160523287705742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8F9-4AD8-A914-EE8FCDCFA3EE}"/>
                </c:ext>
              </c:extLst>
            </c:dLbl>
            <c:dLbl>
              <c:idx val="4"/>
              <c:layout>
                <c:manualLayout>
                  <c:x val="-8.1692536600559112E-2"/>
                  <c:y val="1.568312093612614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E5A0703-648A-4FCD-BED2-CE5D44EA0D4B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8484432363628389E-2"/>
                      <c:h val="8.846860868983207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8F9-4AD8-A914-EE8FCDCFA3EE}"/>
                </c:ext>
              </c:extLst>
            </c:dLbl>
            <c:dLbl>
              <c:idx val="5"/>
              <c:layout>
                <c:manualLayout>
                  <c:x val="-1.6475805700953101E-2"/>
                  <c:y val="-2.5092993497802758E-2"/>
                </c:manualLayout>
              </c:layout>
              <c:tx>
                <c:rich>
                  <a:bodyPr/>
                  <a:lstStyle/>
                  <a:p>
                    <a:fld id="{9835E50B-64A1-45D6-9A66-56E230D92412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8F9-4AD8-A914-EE8FCDCFA3EE}"/>
                </c:ext>
              </c:extLst>
            </c:dLbl>
            <c:dLbl>
              <c:idx val="6"/>
              <c:layout>
                <c:manualLayout>
                  <c:x val="-2.745967616825416E-3"/>
                  <c:y val="3.1366241872253448E-3"/>
                </c:manualLayout>
              </c:layout>
              <c:tx>
                <c:rich>
                  <a:bodyPr/>
                  <a:lstStyle/>
                  <a:p>
                    <a:fld id="{57AD3991-C007-4E98-B88A-06870A4831B2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8F9-4AD8-A914-EE8FCDCFA3EE}"/>
                </c:ext>
              </c:extLst>
            </c:dLbl>
            <c:dLbl>
              <c:idx val="7"/>
              <c:layout>
                <c:manualLayout>
                  <c:x val="-0.26773184264048788"/>
                  <c:y val="-3.136624187225402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11D88C-2659-4632-8D4B-59E156976D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16440000012974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8F9-4AD8-A914-EE8FCDCFA3EE}"/>
                </c:ext>
              </c:extLst>
            </c:dLbl>
            <c:dLbl>
              <c:idx val="8"/>
              <c:layout>
                <c:manualLayout>
                  <c:x val="-0.32401931388215283"/>
                  <c:y val="-3.136624187225344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16EC6A6-604C-437E-A256-8C4B7CD8F4E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444299290145751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4EE-4BE8-9B38-F0E9AD0EDB72}"/>
                </c:ext>
              </c:extLst>
            </c:dLbl>
            <c:dLbl>
              <c:idx val="9"/>
              <c:layout>
                <c:manualLayout>
                  <c:x val="-0.448291213541469"/>
                  <c:y val="-9.88036618975983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EDA1A68-F920-492D-982B-16BEAB1FB706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65235206721091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DF-4C61-81FF-3713F78B1273}"/>
                </c:ext>
              </c:extLst>
            </c:dLbl>
            <c:dLbl>
              <c:idx val="10"/>
              <c:layout>
                <c:manualLayout>
                  <c:x val="-9.0616931355242042E-2"/>
                  <c:y val="2.8229617685027988E-2"/>
                </c:manualLayout>
              </c:layout>
              <c:tx>
                <c:rich>
                  <a:bodyPr/>
                  <a:lstStyle/>
                  <a:p>
                    <a:fld id="{12AE85E3-1AF0-4AE3-9EA2-C276C0D48AD1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4EE-4BE8-9B38-F0E9AD0EDB72}"/>
                </c:ext>
              </c:extLst>
            </c:dLbl>
            <c:dLbl>
              <c:idx val="11"/>
              <c:layout>
                <c:manualLayout>
                  <c:x val="8.2378487959959036E-3"/>
                  <c:y val="-8.62571651486969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D469CB8-509D-4515-AB3B-77169ECAB1A2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308016809213731"/>
                      <c:h val="5.08291184431279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DF-4C61-81FF-3713F78B1273}"/>
                </c:ext>
              </c:extLst>
            </c:dLbl>
            <c:dLbl>
              <c:idx val="12"/>
              <c:layout>
                <c:manualLayout>
                  <c:x val="-1.5789313796746821E-2"/>
                  <c:y val="8.468885305508430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57DDEF7-EDD2-4260-A076-1D9AB8686BEE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1264778630144868E-2"/>
                      <c:h val="0.16688421337046569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4EE-4BE8-9B38-F0E9AD0EDB72}"/>
                </c:ext>
              </c:extLst>
            </c:dLbl>
            <c:dLbl>
              <c:idx val="13"/>
              <c:layout>
                <c:manualLayout>
                  <c:x val="-0.25468838835160534"/>
                  <c:y val="1.5680651153302137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13E3F19-70DF-4CDE-AE5B-EAAB9A607963}" type="CELLRANGE">
                      <a:rPr lang="ru-RU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47121874583444"/>
                      <c:h val="4.519875453791721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4EE-4BE8-9B38-F0E9AD0EDB72}"/>
                </c:ext>
              </c:extLst>
            </c:dLbl>
            <c:dLbl>
              <c:idx val="14"/>
              <c:layout>
                <c:manualLayout>
                  <c:x val="8.2380109594377415E-3"/>
                  <c:y val="-0.2383834382291261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4A55F62-ACDA-4AED-8FA0-299EB75F1C1A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35994651633467"/>
                      <c:h val="4.206213035069187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DF-4C61-81FF-3713F78B1273}"/>
                </c:ext>
              </c:extLst>
            </c:dLbl>
            <c:dLbl>
              <c:idx val="15"/>
              <c:layout>
                <c:manualLayout>
                  <c:x val="-5.7665265898855254E-2"/>
                  <c:y val="7.371079188893682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A61EA70-890D-43A3-AE3A-B72AB851BF6E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23920891483791"/>
                      <c:h val="0.1330242317802268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4EE-4BE8-9B38-F0E9AD0EDB72}"/>
                </c:ext>
              </c:extLst>
            </c:dLbl>
            <c:dLbl>
              <c:idx val="16"/>
              <c:layout>
                <c:manualLayout>
                  <c:x val="-0.11395765609825899"/>
                  <c:y val="-3.450286605947879E-2"/>
                </c:manualLayout>
              </c:layout>
              <c:tx>
                <c:rich>
                  <a:bodyPr/>
                  <a:lstStyle/>
                  <a:p>
                    <a:fld id="{D3233058-4B17-4ACA-8172-159F50C41D7A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4EE-4BE8-9B38-F0E9AD0EDB72}"/>
                </c:ext>
              </c:extLst>
            </c:dLbl>
            <c:dLbl>
              <c:idx val="17"/>
              <c:layout>
                <c:manualLayout>
                  <c:x val="-1.9248800558101801E-2"/>
                  <c:y val="2.666155256969783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6EB87E-AEFC-4ECE-8658-0D647DD4C4FB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67315017729329"/>
                      <c:h val="4.519875453791721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4EE-4BE8-9B38-F0E9AD0EDB72}"/>
                </c:ext>
              </c:extLst>
            </c:dLbl>
            <c:dLbl>
              <c:idx val="18"/>
              <c:layout>
                <c:manualLayout>
                  <c:x val="-0.42356561300429724"/>
                  <c:y val="-9.096210142953499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138B94E-EA45-401E-B649-2BD11FF9C70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934442833981285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4EE-4BE8-9B38-F0E9AD0EDB72}"/>
                </c:ext>
              </c:extLst>
            </c:dLbl>
            <c:dLbl>
              <c:idx val="19"/>
              <c:layout>
                <c:manualLayout>
                  <c:x val="-2.4713708551429649E-2"/>
                  <c:y val="-3.293455396586614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2FF3F8B-02BA-4A93-8EB7-E18D032138BD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0752945401623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DF-4C61-81FF-3713F78B1273}"/>
                </c:ext>
              </c:extLst>
            </c:dLbl>
            <c:dLbl>
              <c:idx val="20"/>
              <c:layout>
                <c:manualLayout>
                  <c:x val="-0.31271625170663508"/>
                  <c:y val="-9.253066050143009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060BB59-E044-4030-93CF-B8A454C8AC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9700492771456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4EE-4BE8-9B38-F0E9AD0ED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22</c:f>
              <c:numCache>
                <c:formatCode>0%</c:formatCode>
                <c:ptCount val="21"/>
                <c:pt idx="0">
                  <c:v>0.72799999999999998</c:v>
                </c:pt>
                <c:pt idx="1">
                  <c:v>0.73099999999999998</c:v>
                </c:pt>
                <c:pt idx="2">
                  <c:v>0.63770000000000004</c:v>
                </c:pt>
                <c:pt idx="3">
                  <c:v>0.73180000000000001</c:v>
                </c:pt>
                <c:pt idx="4">
                  <c:v>0.7127</c:v>
                </c:pt>
                <c:pt idx="5">
                  <c:v>0.77270000000000005</c:v>
                </c:pt>
                <c:pt idx="6">
                  <c:v>0.76849999999999996</c:v>
                </c:pt>
                <c:pt idx="7">
                  <c:v>0.56579999999999997</c:v>
                </c:pt>
                <c:pt idx="8">
                  <c:v>0.54220000000000002</c:v>
                </c:pt>
                <c:pt idx="9">
                  <c:v>0.62360000000000004</c:v>
                </c:pt>
                <c:pt idx="10">
                  <c:v>0.45350000000000001</c:v>
                </c:pt>
                <c:pt idx="11">
                  <c:v>0.68079999999999996</c:v>
                </c:pt>
                <c:pt idx="12">
                  <c:v>0.64680000000000004</c:v>
                </c:pt>
                <c:pt idx="13">
                  <c:v>0.55389999999999995</c:v>
                </c:pt>
                <c:pt idx="14">
                  <c:v>0.65510000000000002</c:v>
                </c:pt>
                <c:pt idx="15">
                  <c:v>0.5504</c:v>
                </c:pt>
                <c:pt idx="16">
                  <c:v>0.37269999999999998</c:v>
                </c:pt>
                <c:pt idx="17">
                  <c:v>0.72829999999999995</c:v>
                </c:pt>
                <c:pt idx="18">
                  <c:v>0.63570000000000004</c:v>
                </c:pt>
                <c:pt idx="19">
                  <c:v>0.77139999999999997</c:v>
                </c:pt>
                <c:pt idx="20">
                  <c:v>0.59540000000000004</c:v>
                </c:pt>
              </c:numCache>
            </c:numRef>
          </c:xVal>
          <c:yVal>
            <c:numRef>
              <c:f>Sheet1!$B$2:$B$22</c:f>
              <c:numCache>
                <c:formatCode>0%</c:formatCode>
                <c:ptCount val="21"/>
                <c:pt idx="0">
                  <c:v>0.89049999999999996</c:v>
                </c:pt>
                <c:pt idx="1">
                  <c:v>0.68169999999999997</c:v>
                </c:pt>
                <c:pt idx="2">
                  <c:v>0.81630000000000003</c:v>
                </c:pt>
                <c:pt idx="3">
                  <c:v>0.73380000000000001</c:v>
                </c:pt>
                <c:pt idx="4">
                  <c:v>0.63149999999999995</c:v>
                </c:pt>
                <c:pt idx="5">
                  <c:v>0.61829999999999996</c:v>
                </c:pt>
                <c:pt idx="6">
                  <c:v>0.74380000000000002</c:v>
                </c:pt>
                <c:pt idx="7">
                  <c:v>0.60360000000000003</c:v>
                </c:pt>
                <c:pt idx="8">
                  <c:v>0.7137</c:v>
                </c:pt>
                <c:pt idx="9">
                  <c:v>0.84230000000000005</c:v>
                </c:pt>
                <c:pt idx="10">
                  <c:v>0.31090000000000001</c:v>
                </c:pt>
                <c:pt idx="11">
                  <c:v>0.77449999999999997</c:v>
                </c:pt>
                <c:pt idx="12">
                  <c:v>0.56510000000000005</c:v>
                </c:pt>
                <c:pt idx="13">
                  <c:v>0.68610000000000004</c:v>
                </c:pt>
                <c:pt idx="14">
                  <c:v>0.76580000000000004</c:v>
                </c:pt>
                <c:pt idx="15">
                  <c:v>0.4088</c:v>
                </c:pt>
                <c:pt idx="16">
                  <c:v>0.35270000000000001</c:v>
                </c:pt>
                <c:pt idx="17">
                  <c:v>0.59309999999999996</c:v>
                </c:pt>
                <c:pt idx="18">
                  <c:v>0.91390000000000005</c:v>
                </c:pt>
                <c:pt idx="19">
                  <c:v>0.7661</c:v>
                </c:pt>
                <c:pt idx="20">
                  <c:v>0.72499999999999998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22</c15:f>
                <c15:dlblRangeCache>
                  <c:ptCount val="21"/>
                  <c:pt idx="0">
                    <c:v>Бути фінансово незалежним</c:v>
                  </c:pt>
                  <c:pt idx="1">
                    <c:v>Мати власний автомобіль</c:v>
                  </c:pt>
                  <c:pt idx="2">
                    <c:v>Мати власне житло</c:v>
                  </c:pt>
                  <c:pt idx="3">
                    <c:v>Мати кохану людину</c:v>
                  </c:pt>
                  <c:pt idx="4">
                    <c:v>Створити сім'ю</c:v>
                  </c:pt>
                  <c:pt idx="5">
                    <c:v>Виростити і виховати дитину</c:v>
                  </c:pt>
                  <c:pt idx="6">
                    <c:v>Бути працевлаштованим</c:v>
                  </c:pt>
                  <c:pt idx="7">
                    <c:v>Бути багатим, заробляти багато грошей</c:v>
                  </c:pt>
                  <c:pt idx="8">
                    <c:v>Зробити успішну кар'єру, досягти високої посади </c:v>
                  </c:pt>
                  <c:pt idx="9">
                    <c:v>Мати цікаву роботу, що дає відчуття сенсу і надихає</c:v>
                  </c:pt>
                  <c:pt idx="10">
                    <c:v>Стати відомим</c:v>
                  </c:pt>
                  <c:pt idx="11">
                    <c:v>Розвивати професійні навички</c:v>
                  </c:pt>
                  <c:pt idx="12">
                    <c:v>Отримати якісну вищу освіту</c:v>
                  </c:pt>
                  <c:pt idx="13">
                    <c:v>Створити і розвивати власний бізнес</c:v>
                  </c:pt>
                  <c:pt idx="14">
                    <c:v>Мати різноманітне і цікаве дозвілля</c:v>
                  </c:pt>
                  <c:pt idx="15">
                    <c:v>Брати участь у громадських ініціативах</c:v>
                  </c:pt>
                  <c:pt idx="16">
                    <c:v>Мати владу і вплив</c:v>
                  </c:pt>
                  <c:pt idx="17">
                    <c:v>Допомагати іншим людям, які цього потребують</c:v>
                  </c:pt>
                  <c:pt idx="18">
                    <c:v>Бути у безпеці, не боятися за власне життя і життя родини</c:v>
                  </c:pt>
                  <c:pt idx="19">
                    <c:v>Жити у приємному, привабливому місті</c:v>
                  </c:pt>
                  <c:pt idx="20">
                    <c:v>Жити у місті, де є багато можливостей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88F9-4AD8-A914-EE8FCDCFA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647952"/>
        <c:axId val="299654432"/>
      </c:scatterChart>
      <c:valAx>
        <c:axId val="299647952"/>
        <c:scaling>
          <c:orientation val="minMax"/>
          <c:max val="1"/>
          <c:min val="0.2"/>
        </c:scaling>
        <c:delete val="0"/>
        <c:axPos val="b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54432"/>
        <c:crossesAt val="0.67000000000000015"/>
        <c:crossBetween val="midCat"/>
        <c:majorUnit val="0.2"/>
        <c:minorUnit val="0.1"/>
      </c:valAx>
      <c:valAx>
        <c:axId val="299654432"/>
        <c:scaling>
          <c:orientation val="minMax"/>
          <c:max val="1"/>
          <c:min val="0.2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47952"/>
        <c:crossesAt val="0.64000000000000012"/>
        <c:crossBetween val="midCat"/>
        <c:majorUnit val="0.2"/>
        <c:min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2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44619999999999999</c:v>
                </c:pt>
                <c:pt idx="1">
                  <c:v>0.14000000000000001</c:v>
                </c:pt>
                <c:pt idx="2">
                  <c:v>0.2863</c:v>
                </c:pt>
                <c:pt idx="3">
                  <c:v>1.04E-2</c:v>
                </c:pt>
                <c:pt idx="4">
                  <c:v>4.7100000000000003E-2</c:v>
                </c:pt>
                <c:pt idx="5">
                  <c:v>0</c:v>
                </c:pt>
                <c:pt idx="6">
                  <c:v>5.0099999999999999E-2</c:v>
                </c:pt>
                <c:pt idx="7">
                  <c:v>1.9900000000000001E-2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ажливість цілей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2">
                  <a:lumMod val="50000"/>
                </a:schemeClr>
              </a:solidFill>
              <a:ln w="9525">
                <a:solidFill>
                  <a:schemeClr val="accent2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379028504765504E-3"/>
                  <c:y val="2.1956369310577414E-2"/>
                </c:manualLayout>
              </c:layout>
              <c:tx>
                <c:rich>
                  <a:bodyPr/>
                  <a:lstStyle/>
                  <a:p>
                    <a:fld id="{3AF176DB-0A0E-4949-BCE9-09B56EB073E3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8F9-4AD8-A914-EE8FCDCFA3EE}"/>
                </c:ext>
              </c:extLst>
            </c:dLbl>
            <c:dLbl>
              <c:idx val="1"/>
              <c:layout>
                <c:manualLayout>
                  <c:x val="-8.8557455642622906E-2"/>
                  <c:y val="0.1631047047140003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11EF5C4-20A5-4EEA-BD92-68FAFC151490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806694798780575"/>
                      <c:h val="4.76924942559025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8F9-4AD8-A914-EE8FCDCFA3EE}"/>
                </c:ext>
              </c:extLst>
            </c:dLbl>
            <c:dLbl>
              <c:idx val="2"/>
              <c:layout>
                <c:manualLayout>
                  <c:x val="-0.14347675392465259"/>
                  <c:y val="-2.8752056236691841E-1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A080212-D3A3-43DC-B80C-4AF3FEF593E3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881334090528496"/>
                      <c:h val="6.023899100480398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8F9-4AD8-A914-EE8FCDCFA3EE}"/>
                </c:ext>
              </c:extLst>
            </c:dLbl>
            <c:dLbl>
              <c:idx val="3"/>
              <c:layout>
                <c:manualLayout>
                  <c:x val="-6.8649190420637914E-3"/>
                  <c:y val="1.8819745123352067E-2"/>
                </c:manualLayout>
              </c:layout>
              <c:tx>
                <c:rich>
                  <a:bodyPr/>
                  <a:lstStyle/>
                  <a:p>
                    <a:fld id="{426F7459-34D9-4BE6-A124-E5E5F4E047FA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8F9-4AD8-A914-EE8FCDCFA3EE}"/>
                </c:ext>
              </c:extLst>
            </c:dLbl>
            <c:dLbl>
              <c:idx val="4"/>
              <c:layout>
                <c:manualLayout>
                  <c:x val="-6.864919042063892E-3"/>
                  <c:y val="9.4098725616760335E-3"/>
                </c:manualLayout>
              </c:layout>
              <c:tx>
                <c:rich>
                  <a:bodyPr/>
                  <a:lstStyle/>
                  <a:p>
                    <a:fld id="{71A45ECB-2B4F-4A9F-9B36-D87318A7CA92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8F9-4AD8-A914-EE8FCDCFA3EE}"/>
                </c:ext>
              </c:extLst>
            </c:dLbl>
            <c:dLbl>
              <c:idx val="5"/>
              <c:layout>
                <c:manualLayout>
                  <c:x val="-1.6475805700953201E-2"/>
                  <c:y val="3.1366241872253446E-2"/>
                </c:manualLayout>
              </c:layout>
              <c:tx>
                <c:rich>
                  <a:bodyPr/>
                  <a:lstStyle/>
                  <a:p>
                    <a:fld id="{9C5F97D0-FC2C-4762-B026-18907EEAEF8C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8F9-4AD8-A914-EE8FCDCFA3EE}"/>
                </c:ext>
              </c:extLst>
            </c:dLbl>
            <c:dLbl>
              <c:idx val="6"/>
              <c:layout>
                <c:manualLayout>
                  <c:x val="-7.9633060887939977E-2"/>
                  <c:y val="-2.8229617685028102E-2"/>
                </c:manualLayout>
              </c:layout>
              <c:tx>
                <c:rich>
                  <a:bodyPr/>
                  <a:lstStyle/>
                  <a:p>
                    <a:fld id="{319B680C-8525-429E-A780-BF1ABD9978F0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8F9-4AD8-A914-EE8FCDCFA3EE}"/>
                </c:ext>
              </c:extLst>
            </c:dLbl>
            <c:dLbl>
              <c:idx val="7"/>
              <c:layout>
                <c:manualLayout>
                  <c:x val="-0.17300752751886583"/>
                  <c:y val="1.725155651888056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11D88C-2659-4632-8D4B-59E156976D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417448483647493"/>
                      <c:h val="9.538474153352272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8F9-4AD8-A914-EE8FCDCFA3EE}"/>
                </c:ext>
              </c:extLst>
            </c:dLbl>
            <c:dLbl>
              <c:idx val="8"/>
              <c:layout>
                <c:manualLayout>
                  <c:x val="-0.29518665390548487"/>
                  <c:y val="2.822961768502810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16EC6A6-604C-437E-A256-8C4B7CD8F4E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444299290145751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4EE-4BE8-9B38-F0E9AD0EDB72}"/>
                </c:ext>
              </c:extLst>
            </c:dLbl>
            <c:dLbl>
              <c:idx val="9"/>
              <c:layout>
                <c:manualLayout>
                  <c:x val="-5.1557163640318464E-4"/>
                  <c:y val="-0.1427164005187531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8BE8998-5133-4544-9FAE-B81E3F221F7B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72195348136263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DF-4C61-81FF-3713F78B1273}"/>
                </c:ext>
              </c:extLst>
            </c:dLbl>
            <c:dLbl>
              <c:idx val="10"/>
              <c:layout>
                <c:manualLayout>
                  <c:x val="-5.4919352336510333E-3"/>
                  <c:y val="6.2732483744506896E-3"/>
                </c:manualLayout>
              </c:layout>
              <c:tx>
                <c:rich>
                  <a:bodyPr/>
                  <a:lstStyle/>
                  <a:p>
                    <a:fld id="{7D36191A-7C7F-400C-98BC-CBCF6D216380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4EE-4BE8-9B38-F0E9AD0EDB72}"/>
                </c:ext>
              </c:extLst>
            </c:dLbl>
            <c:dLbl>
              <c:idx val="11"/>
              <c:layout>
                <c:manualLayout>
                  <c:x val="-6.1784811923380582E-3"/>
                  <c:y val="-1.881974512335206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C3AF1A6-3844-4644-9423-0C298D608BE4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07233138164225"/>
                      <c:h val="4.76924942559025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DF-4C61-81FF-3713F78B1273}"/>
                </c:ext>
              </c:extLst>
            </c:dLbl>
            <c:dLbl>
              <c:idx val="12"/>
              <c:layout>
                <c:manualLayout>
                  <c:x val="-1.6475805700953201E-2"/>
                  <c:y val="-3.293455396586612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A7602D-F2CE-46A6-9A8B-85A05088C4AA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3621632905859694E-2"/>
                      <c:h val="0.12610809893653621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4EE-4BE8-9B38-F0E9AD0EDB72}"/>
                </c:ext>
              </c:extLst>
            </c:dLbl>
            <c:dLbl>
              <c:idx val="13"/>
              <c:layout>
                <c:manualLayout>
                  <c:x val="-6.0411179461200074E-2"/>
                  <c:y val="5.018586350646428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13E3F19-70DF-4CDE-AE5B-EAAB9A607963}" type="CELLRANGE">
                      <a:rPr lang="ru-RU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049743311487756"/>
                      <c:h val="9.22481173462973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4EE-4BE8-9B38-F0E9AD0EDB72}"/>
                </c:ext>
              </c:extLst>
            </c:dLbl>
            <c:dLbl>
              <c:idx val="14"/>
              <c:layout>
                <c:manualLayout>
                  <c:x val="-5.4918271246897406E-3"/>
                  <c:y val="-3.136624187225402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A3A0A7F-8712-4E91-B2CF-E4E4D26BC9DF}" type="CELLRANGE">
                      <a:rPr lang="uk-UA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650672810715155"/>
                      <c:h val="9.22481173462973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DF-4C61-81FF-3713F78B1273}"/>
                </c:ext>
              </c:extLst>
            </c:dLbl>
            <c:dLbl>
              <c:idx val="15"/>
              <c:layout>
                <c:manualLayout>
                  <c:x val="-6.7276152557744606E-2"/>
                  <c:y val="7.05741677017114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A61EA70-890D-43A3-AE3A-B72AB851BF6E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23920891483791"/>
                      <c:h val="0.1330242317802268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4EE-4BE8-9B38-F0E9AD0EDB72}"/>
                </c:ext>
              </c:extLst>
            </c:dLbl>
            <c:dLbl>
              <c:idx val="16"/>
              <c:layout>
                <c:manualLayout>
                  <c:x val="-6.1784271378574125E-2"/>
                  <c:y val="-3.7639490246704252E-2"/>
                </c:manualLayout>
              </c:layout>
              <c:tx>
                <c:rich>
                  <a:bodyPr/>
                  <a:lstStyle/>
                  <a:p>
                    <a:fld id="{0F817FD4-E8FC-4DBD-8EAB-FCBA40ED742F}" type="CELLRANGE">
                      <a:rPr lang="uk-UA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4EE-4BE8-9B38-F0E9AD0EDB72}"/>
                </c:ext>
              </c:extLst>
            </c:dLbl>
            <c:dLbl>
              <c:idx val="17"/>
              <c:layout>
                <c:manualLayout>
                  <c:x val="2.4405543957265824E-2"/>
                  <c:y val="8.31207879397540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6EB87E-AEFC-4ECE-8658-0D647DD4C4FB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432688387702946"/>
                      <c:h val="4.519875453791721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4EE-4BE8-9B38-F0E9AD0EDB72}"/>
                </c:ext>
              </c:extLst>
            </c:dLbl>
            <c:dLbl>
              <c:idx val="18"/>
              <c:layout>
                <c:manualLayout>
                  <c:x val="-9.6108866588893085E-3"/>
                  <c:y val="-1.56831209361267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138B94E-EA45-401E-B649-2BD11FF9C70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05555438437514"/>
                      <c:h val="6.088187547404393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4EE-4BE8-9B38-F0E9AD0EDB72}"/>
                </c:ext>
              </c:extLst>
            </c:dLbl>
            <c:dLbl>
              <c:idx val="19"/>
              <c:layout>
                <c:manualLayout>
                  <c:x val="-1.9221773317778617E-2"/>
                  <c:y val="-2.979792977864077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2FF3F8B-02BA-4A93-8EB7-E18D032138BD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0752945401623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DF-4C61-81FF-3713F78B1273}"/>
                </c:ext>
              </c:extLst>
            </c:dLbl>
            <c:dLbl>
              <c:idx val="20"/>
              <c:layout>
                <c:manualLayout>
                  <c:x val="-0.25606153432346013"/>
                  <c:y val="2.666118210227414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060BB59-E044-4030-93CF-B8A454C8AC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420795212762215"/>
                      <c:h val="5.77452512868185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4EE-4BE8-9B38-F0E9AD0ED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22</c:f>
              <c:numCache>
                <c:formatCode>0%</c:formatCode>
                <c:ptCount val="21"/>
                <c:pt idx="0">
                  <c:v>0.624</c:v>
                </c:pt>
                <c:pt idx="1">
                  <c:v>0.69799999999999995</c:v>
                </c:pt>
                <c:pt idx="2">
                  <c:v>0.5393</c:v>
                </c:pt>
                <c:pt idx="3">
                  <c:v>0.81950000000000001</c:v>
                </c:pt>
                <c:pt idx="4">
                  <c:v>0.78420000000000001</c:v>
                </c:pt>
                <c:pt idx="5">
                  <c:v>0.8044</c:v>
                </c:pt>
                <c:pt idx="6">
                  <c:v>0.6623</c:v>
                </c:pt>
                <c:pt idx="7">
                  <c:v>0.37740000000000001</c:v>
                </c:pt>
                <c:pt idx="8">
                  <c:v>0.46710000000000002</c:v>
                </c:pt>
                <c:pt idx="9">
                  <c:v>0.61619999999999997</c:v>
                </c:pt>
                <c:pt idx="10">
                  <c:v>0.3039</c:v>
                </c:pt>
                <c:pt idx="11">
                  <c:v>0.65490000000000004</c:v>
                </c:pt>
                <c:pt idx="12">
                  <c:v>0.60929999999999995</c:v>
                </c:pt>
                <c:pt idx="13">
                  <c:v>0.46789999999999998</c:v>
                </c:pt>
                <c:pt idx="14">
                  <c:v>0.61429999999999996</c:v>
                </c:pt>
                <c:pt idx="15">
                  <c:v>0.52639999999999998</c:v>
                </c:pt>
                <c:pt idx="16">
                  <c:v>0.2591</c:v>
                </c:pt>
                <c:pt idx="17">
                  <c:v>0.70540000000000003</c:v>
                </c:pt>
                <c:pt idx="18">
                  <c:v>0.62519999999999998</c:v>
                </c:pt>
                <c:pt idx="19">
                  <c:v>0.79390000000000005</c:v>
                </c:pt>
                <c:pt idx="20">
                  <c:v>0.54620000000000002</c:v>
                </c:pt>
              </c:numCache>
            </c:numRef>
          </c:xVal>
          <c:yVal>
            <c:numRef>
              <c:f>Sheet1!$B$2:$B$22</c:f>
              <c:numCache>
                <c:formatCode>0%</c:formatCode>
                <c:ptCount val="21"/>
                <c:pt idx="0">
                  <c:v>0.90920000000000001</c:v>
                </c:pt>
                <c:pt idx="1">
                  <c:v>0.53569999999999995</c:v>
                </c:pt>
                <c:pt idx="2">
                  <c:v>0.78520000000000001</c:v>
                </c:pt>
                <c:pt idx="3">
                  <c:v>0.73499999999999999</c:v>
                </c:pt>
                <c:pt idx="4">
                  <c:v>0.58879999999999999</c:v>
                </c:pt>
                <c:pt idx="5">
                  <c:v>0.67500000000000004</c:v>
                </c:pt>
                <c:pt idx="6">
                  <c:v>0.72989999999999999</c:v>
                </c:pt>
                <c:pt idx="7">
                  <c:v>0.47060000000000002</c:v>
                </c:pt>
                <c:pt idx="8">
                  <c:v>0.58760000000000001</c:v>
                </c:pt>
                <c:pt idx="9">
                  <c:v>0.83560000000000001</c:v>
                </c:pt>
                <c:pt idx="10">
                  <c:v>0.1212</c:v>
                </c:pt>
                <c:pt idx="11">
                  <c:v>0.80569999999999997</c:v>
                </c:pt>
                <c:pt idx="12">
                  <c:v>0.5</c:v>
                </c:pt>
                <c:pt idx="13">
                  <c:v>0.44590000000000002</c:v>
                </c:pt>
                <c:pt idx="14">
                  <c:v>0.64639999999999997</c:v>
                </c:pt>
                <c:pt idx="15">
                  <c:v>0.2651</c:v>
                </c:pt>
                <c:pt idx="16">
                  <c:v>0.16400000000000001</c:v>
                </c:pt>
                <c:pt idx="17">
                  <c:v>0.57030000000000003</c:v>
                </c:pt>
                <c:pt idx="18">
                  <c:v>0.92200000000000004</c:v>
                </c:pt>
                <c:pt idx="19">
                  <c:v>0.75009999999999999</c:v>
                </c:pt>
                <c:pt idx="20">
                  <c:v>0.68920000000000003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22</c15:f>
                <c15:dlblRangeCache>
                  <c:ptCount val="21"/>
                  <c:pt idx="0">
                    <c:v>Бути фінансово незалежним</c:v>
                  </c:pt>
                  <c:pt idx="1">
                    <c:v>Мати власний автомобіль</c:v>
                  </c:pt>
                  <c:pt idx="2">
                    <c:v>Мати власне житло</c:v>
                  </c:pt>
                  <c:pt idx="3">
                    <c:v>Мати кохану людину</c:v>
                  </c:pt>
                  <c:pt idx="4">
                    <c:v>Створити сім'ю</c:v>
                  </c:pt>
                  <c:pt idx="5">
                    <c:v>Виростити і виховати дитину</c:v>
                  </c:pt>
                  <c:pt idx="6">
                    <c:v>Бути працевлаштованим</c:v>
                  </c:pt>
                  <c:pt idx="7">
                    <c:v>Бути багатим, заробляти багато грошей</c:v>
                  </c:pt>
                  <c:pt idx="8">
                    <c:v>Зробити успішну кар'єру, досягти високої посади </c:v>
                  </c:pt>
                  <c:pt idx="9">
                    <c:v>Мати цікаву роботу, що дає відчуття сенсу і надихає</c:v>
                  </c:pt>
                  <c:pt idx="10">
                    <c:v>Стати відомим</c:v>
                  </c:pt>
                  <c:pt idx="11">
                    <c:v>Розвивати професійні навички</c:v>
                  </c:pt>
                  <c:pt idx="12">
                    <c:v>Отримати якісну вищу освіту</c:v>
                  </c:pt>
                  <c:pt idx="13">
                    <c:v>Створити і розвивати власний бізнес</c:v>
                  </c:pt>
                  <c:pt idx="14">
                    <c:v>Мати різноманітне і цікаве дозвілля</c:v>
                  </c:pt>
                  <c:pt idx="15">
                    <c:v>Брати участь у громадських ініціативах</c:v>
                  </c:pt>
                  <c:pt idx="16">
                    <c:v>Мати владу і вплив</c:v>
                  </c:pt>
                  <c:pt idx="17">
                    <c:v>Допомагати іншим людям, які цього потребують</c:v>
                  </c:pt>
                  <c:pt idx="18">
                    <c:v>Бути у безпеці, не боятися за власне життя і життя родини</c:v>
                  </c:pt>
                  <c:pt idx="19">
                    <c:v>Жити у приємному, привабливому місті</c:v>
                  </c:pt>
                  <c:pt idx="20">
                    <c:v>Жити у місті, де є багато можливостей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88F9-4AD8-A914-EE8FCDCFA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647952"/>
        <c:axId val="299654432"/>
      </c:scatterChart>
      <c:valAx>
        <c:axId val="299647952"/>
        <c:scaling>
          <c:orientation val="minMax"/>
          <c:max val="1"/>
          <c:min val="0.2"/>
        </c:scaling>
        <c:delete val="0"/>
        <c:axPos val="b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54432"/>
        <c:crossesAt val="0.6100000000000001"/>
        <c:crossBetween val="midCat"/>
        <c:majorUnit val="0.2"/>
        <c:minorUnit val="0.1"/>
      </c:valAx>
      <c:valAx>
        <c:axId val="299654432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47952"/>
        <c:crossesAt val="0.60000000000000009"/>
        <c:crossBetween val="midCat"/>
        <c:majorUnit val="0.2"/>
        <c:min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2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6020000000000001</c:v>
                </c:pt>
                <c:pt idx="1">
                  <c:v>0.65959999999999996</c:v>
                </c:pt>
                <c:pt idx="2">
                  <c:v>0.62409999999999999</c:v>
                </c:pt>
                <c:pt idx="3">
                  <c:v>0.58050000000000002</c:v>
                </c:pt>
                <c:pt idx="4">
                  <c:v>0.57289999999999996</c:v>
                </c:pt>
                <c:pt idx="5">
                  <c:v>0.55449999999999999</c:v>
                </c:pt>
                <c:pt idx="6">
                  <c:v>0.54449999999999998</c:v>
                </c:pt>
                <c:pt idx="7">
                  <c:v>0.4849</c:v>
                </c:pt>
                <c:pt idx="8">
                  <c:v>0.4487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281653746770040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31319999999999998</c:v>
                </c:pt>
                <c:pt idx="1">
                  <c:v>0.32250000000000001</c:v>
                </c:pt>
                <c:pt idx="2">
                  <c:v>0.36009999999999998</c:v>
                </c:pt>
                <c:pt idx="3">
                  <c:v>0.3775</c:v>
                </c:pt>
                <c:pt idx="4">
                  <c:v>0.37469999999999998</c:v>
                </c:pt>
                <c:pt idx="5">
                  <c:v>0.3911</c:v>
                </c:pt>
                <c:pt idx="6">
                  <c:v>0.36199999999999999</c:v>
                </c:pt>
                <c:pt idx="7">
                  <c:v>0.4718</c:v>
                </c:pt>
                <c:pt idx="8">
                  <c:v>0.4842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2.41E-2</c:v>
                </c:pt>
                <c:pt idx="1">
                  <c:v>1.5800000000000002E-2</c:v>
                </c:pt>
                <c:pt idx="2">
                  <c:v>1.3299999999999999E-2</c:v>
                </c:pt>
                <c:pt idx="3">
                  <c:v>3.6200000000000003E-2</c:v>
                </c:pt>
                <c:pt idx="4">
                  <c:v>5.2299999999999999E-2</c:v>
                </c:pt>
                <c:pt idx="5">
                  <c:v>4.7300000000000002E-2</c:v>
                </c:pt>
                <c:pt idx="6">
                  <c:v>8.4400000000000003E-2</c:v>
                </c:pt>
                <c:pt idx="7">
                  <c:v>3.9199999999999999E-2</c:v>
                </c:pt>
                <c:pt idx="8">
                  <c:v>6.45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0.0%</c:formatCode>
                <c:ptCount val="9"/>
                <c:pt idx="0">
                  <c:v>2.5000000000000001E-3</c:v>
                </c:pt>
                <c:pt idx="1">
                  <c:v>2E-3</c:v>
                </c:pt>
                <c:pt idx="2">
                  <c:v>2.5000000000000001E-3</c:v>
                </c:pt>
                <c:pt idx="3" formatCode="0%">
                  <c:v>5.7999999999999996E-3</c:v>
                </c:pt>
                <c:pt idx="5" formatCode="0%">
                  <c:v>7.1000000000000004E-3</c:v>
                </c:pt>
                <c:pt idx="6" formatCode="0%">
                  <c:v>9.1000000000000004E-3</c:v>
                </c:pt>
                <c:pt idx="7">
                  <c:v>4.1000000000000003E-3</c:v>
                </c:pt>
                <c:pt idx="8">
                  <c:v>2.5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05-4359-A1B0-0AB3899B0F65}"/>
              </c:ext>
            </c:extLst>
          </c:dPt>
          <c:dLbls>
            <c:dLbl>
              <c:idx val="4"/>
              <c:layout>
                <c:manualLayout>
                  <c:x val="2.0182393748437322E-2"/>
                  <c:y val="6.795734884876477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CE7-432E-80E4-B6625497D7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4670000000000005</c:v>
                </c:pt>
                <c:pt idx="1">
                  <c:v>0.3629</c:v>
                </c:pt>
                <c:pt idx="2">
                  <c:v>0.33889999999999998</c:v>
                </c:pt>
                <c:pt idx="3">
                  <c:v>0.16320000000000001</c:v>
                </c:pt>
                <c:pt idx="4">
                  <c:v>7.3999999999999996E-2</c:v>
                </c:pt>
                <c:pt idx="5">
                  <c:v>0.22919999999999999</c:v>
                </c:pt>
                <c:pt idx="6">
                  <c:v>0.106</c:v>
                </c:pt>
                <c:pt idx="7">
                  <c:v>0.20019999999999999</c:v>
                </c:pt>
                <c:pt idx="8">
                  <c:v>0.33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05-4359-A1B0-0AB3899B0F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32469999999999999</c:v>
                </c:pt>
                <c:pt idx="1">
                  <c:v>0.58099999999999996</c:v>
                </c:pt>
                <c:pt idx="2">
                  <c:v>0.59940000000000004</c:v>
                </c:pt>
                <c:pt idx="3">
                  <c:v>0.66859999999999997</c:v>
                </c:pt>
                <c:pt idx="4">
                  <c:v>0.80030000000000001</c:v>
                </c:pt>
                <c:pt idx="5">
                  <c:v>0.61539999999999995</c:v>
                </c:pt>
                <c:pt idx="6">
                  <c:v>0.47470000000000001</c:v>
                </c:pt>
                <c:pt idx="7">
                  <c:v>0.65749999999999997</c:v>
                </c:pt>
                <c:pt idx="8">
                  <c:v>0.5308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5-4359-A1B0-0AB3899B0F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2.86E-2</c:v>
                </c:pt>
                <c:pt idx="1">
                  <c:v>5.6099999999999997E-2</c:v>
                </c:pt>
                <c:pt idx="2">
                  <c:v>6.1699999999999998E-2</c:v>
                </c:pt>
                <c:pt idx="3">
                  <c:v>0.15229999999999999</c:v>
                </c:pt>
                <c:pt idx="4">
                  <c:v>0.1258</c:v>
                </c:pt>
                <c:pt idx="5">
                  <c:v>0.15540000000000001</c:v>
                </c:pt>
                <c:pt idx="6">
                  <c:v>0.40339999999999998</c:v>
                </c:pt>
                <c:pt idx="7">
                  <c:v>0.1265</c:v>
                </c:pt>
                <c:pt idx="8">
                  <c:v>0.1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05-4359-A1B0-0AB3899B0F6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  <c:pt idx="3" formatCode="0%">
                  <c:v>1.5900000000000001E-2</c:v>
                </c:pt>
                <c:pt idx="6" formatCode="0%">
                  <c:v>1.5900000000000001E-2</c:v>
                </c:pt>
                <c:pt idx="7" formatCode="0%">
                  <c:v>1.59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05-4359-A1B0-0AB3899B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27F-49C8-B8D5-5085D4622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7179999999999995</c:v>
                </c:pt>
                <c:pt idx="1">
                  <c:v>0.65490000000000004</c:v>
                </c:pt>
                <c:pt idx="2">
                  <c:v>0.59299999999999997</c:v>
                </c:pt>
                <c:pt idx="3">
                  <c:v>0.52739999999999998</c:v>
                </c:pt>
                <c:pt idx="4">
                  <c:v>0.2424</c:v>
                </c:pt>
                <c:pt idx="5">
                  <c:v>0.55659999999999998</c:v>
                </c:pt>
                <c:pt idx="6">
                  <c:v>0.42530000000000001</c:v>
                </c:pt>
                <c:pt idx="7">
                  <c:v>0.46879999999999999</c:v>
                </c:pt>
                <c:pt idx="8">
                  <c:v>0.5375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F-49C8-B8D5-5085D4622A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4.036478749687464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7F-49C8-B8D5-5085D4622AA0}"/>
                </c:ext>
              </c:extLst>
            </c:dLbl>
            <c:dLbl>
              <c:idx val="1"/>
              <c:layout>
                <c:manualLayout>
                  <c:x val="-0.10091196874218673"/>
                  <c:y val="2.9187459082830797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A4-4856-9BC3-C6BE86BEEE76}"/>
                </c:ext>
              </c:extLst>
            </c:dLbl>
            <c:dLbl>
              <c:idx val="2"/>
              <c:layout>
                <c:manualLayout>
                  <c:x val="-4.0364787496874645E-2"/>
                  <c:y val="3.39786744243823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7F-49C8-B8D5-5085D4622A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3024</c:v>
                </c:pt>
                <c:pt idx="1">
                  <c:v>0.33360000000000001</c:v>
                </c:pt>
                <c:pt idx="2">
                  <c:v>0.39290000000000003</c:v>
                </c:pt>
                <c:pt idx="3">
                  <c:v>0.44619999999999999</c:v>
                </c:pt>
                <c:pt idx="4">
                  <c:v>0.70369999999999999</c:v>
                </c:pt>
                <c:pt idx="5">
                  <c:v>0.4047</c:v>
                </c:pt>
                <c:pt idx="6">
                  <c:v>0.51829999999999998</c:v>
                </c:pt>
                <c:pt idx="7">
                  <c:v>0.4995</c:v>
                </c:pt>
                <c:pt idx="8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7F-49C8-B8D5-5085D4622AA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.0%</c:formatCode>
                <c:ptCount val="9"/>
                <c:pt idx="0" formatCode="0%">
                  <c:v>1.7399999999999999E-2</c:v>
                </c:pt>
                <c:pt idx="1">
                  <c:v>4.7000000000000002E-3</c:v>
                </c:pt>
                <c:pt idx="2" formatCode="0%">
                  <c:v>5.7000000000000002E-3</c:v>
                </c:pt>
                <c:pt idx="3" formatCode="0%">
                  <c:v>1.37E-2</c:v>
                </c:pt>
                <c:pt idx="4" formatCode="0%">
                  <c:v>5.3800000000000001E-2</c:v>
                </c:pt>
                <c:pt idx="5" formatCode="0%">
                  <c:v>1.4999999999999999E-2</c:v>
                </c:pt>
                <c:pt idx="6" formatCode="0%">
                  <c:v>3.27E-2</c:v>
                </c:pt>
                <c:pt idx="7" formatCode="0%">
                  <c:v>2.4899999999999999E-2</c:v>
                </c:pt>
                <c:pt idx="8" formatCode="0%">
                  <c:v>4.22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7F-49C8-B8D5-5085D4622AA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0%</c:formatCode>
                <c:ptCount val="9"/>
                <c:pt idx="0">
                  <c:v>8.3999999999999995E-3</c:v>
                </c:pt>
                <c:pt idx="1">
                  <c:v>6.8999999999999999E-3</c:v>
                </c:pt>
                <c:pt idx="2">
                  <c:v>8.3999999999999995E-3</c:v>
                </c:pt>
                <c:pt idx="3">
                  <c:v>1.2699999999999999E-2</c:v>
                </c:pt>
                <c:pt idx="5">
                  <c:v>2.3699999999999999E-2</c:v>
                </c:pt>
                <c:pt idx="6">
                  <c:v>2.3699999999999999E-2</c:v>
                </c:pt>
                <c:pt idx="7">
                  <c:v>6.8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7F-49C8-B8D5-5085D4622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860-409A-BEC4-9CA9D09CDB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573</c:v>
                </c:pt>
                <c:pt idx="1">
                  <c:v>0.72829999999999995</c:v>
                </c:pt>
                <c:pt idx="2">
                  <c:v>0.70389999999999997</c:v>
                </c:pt>
                <c:pt idx="3">
                  <c:v>0.70099999999999996</c:v>
                </c:pt>
                <c:pt idx="4">
                  <c:v>0.69210000000000005</c:v>
                </c:pt>
                <c:pt idx="5">
                  <c:v>0.62609999999999999</c:v>
                </c:pt>
                <c:pt idx="6">
                  <c:v>0.70399999999999996</c:v>
                </c:pt>
                <c:pt idx="7">
                  <c:v>0.55669999999999997</c:v>
                </c:pt>
                <c:pt idx="8">
                  <c:v>0.4282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60-409A-BEC4-9CA9D09CDB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4.036478749687464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BA6-45B0-A39A-B81951D4BF48}"/>
                </c:ext>
              </c:extLst>
            </c:dLbl>
            <c:dLbl>
              <c:idx val="2"/>
              <c:layout>
                <c:manualLayout>
                  <c:x val="-4.0364787496874645E-2"/>
                  <c:y val="3.39786744243823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BA6-45B0-A39A-B81951D4BF48}"/>
                </c:ext>
              </c:extLst>
            </c:dLbl>
            <c:dLbl>
              <c:idx val="3"/>
              <c:layout>
                <c:manualLayout>
                  <c:x val="-4.0364787496874645E-2"/>
                  <c:y val="6.795734884876477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695-471D-8F99-0868489DE188}"/>
                </c:ext>
              </c:extLst>
            </c:dLbl>
            <c:dLbl>
              <c:idx val="4"/>
              <c:layout>
                <c:manualLayout>
                  <c:x val="-2.0182393748437444E-2"/>
                  <c:y val="6.795734884876477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695-471D-8F99-0868489DE188}"/>
                </c:ext>
              </c:extLst>
            </c:dLbl>
            <c:dLbl>
              <c:idx val="6"/>
              <c:layout>
                <c:manualLayout>
                  <c:x val="-2.690985833124976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860-409A-BEC4-9CA9D09CDB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31619999999999998</c:v>
                </c:pt>
                <c:pt idx="1">
                  <c:v>0.2591</c:v>
                </c:pt>
                <c:pt idx="2">
                  <c:v>0.2898</c:v>
                </c:pt>
                <c:pt idx="3">
                  <c:v>0.27700000000000002</c:v>
                </c:pt>
                <c:pt idx="4">
                  <c:v>0.26340000000000002</c:v>
                </c:pt>
                <c:pt idx="5">
                  <c:v>0.33410000000000001</c:v>
                </c:pt>
                <c:pt idx="6">
                  <c:v>0.25609999999999999</c:v>
                </c:pt>
                <c:pt idx="7">
                  <c:v>0.41610000000000003</c:v>
                </c:pt>
                <c:pt idx="8">
                  <c:v>0.50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60-409A-BEC4-9CA9D09CDB4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2.6599999999999999E-2</c:v>
                </c:pt>
                <c:pt idx="1">
                  <c:v>1.26E-2</c:v>
                </c:pt>
                <c:pt idx="2">
                  <c:v>6.4000000000000003E-3</c:v>
                </c:pt>
                <c:pt idx="3">
                  <c:v>2.1899999999999999E-2</c:v>
                </c:pt>
                <c:pt idx="4">
                  <c:v>4.4499999999999998E-2</c:v>
                </c:pt>
                <c:pt idx="5">
                  <c:v>3.9800000000000002E-2</c:v>
                </c:pt>
                <c:pt idx="6">
                  <c:v>3.9899999999999998E-2</c:v>
                </c:pt>
                <c:pt idx="7">
                  <c:v>2.7199999999999998E-2</c:v>
                </c:pt>
                <c:pt idx="8">
                  <c:v>6.04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60-409A-BEC4-9CA9D09CDB4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  <c:pt idx="8" formatCode="0.0%">
                  <c:v>4.40000000000000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60-409A-BEC4-9CA9D09CD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6020000000000001</c:v>
                </c:pt>
                <c:pt idx="1">
                  <c:v>0.65959999999999996</c:v>
                </c:pt>
                <c:pt idx="2">
                  <c:v>0.62409999999999999</c:v>
                </c:pt>
                <c:pt idx="3">
                  <c:v>0.58050000000000002</c:v>
                </c:pt>
                <c:pt idx="4">
                  <c:v>0.57289999999999996</c:v>
                </c:pt>
                <c:pt idx="5">
                  <c:v>0.55449999999999999</c:v>
                </c:pt>
                <c:pt idx="6">
                  <c:v>0.54449999999999998</c:v>
                </c:pt>
                <c:pt idx="7">
                  <c:v>0.4849</c:v>
                </c:pt>
                <c:pt idx="8">
                  <c:v>0.4487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281653746770040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31319999999999998</c:v>
                </c:pt>
                <c:pt idx="1">
                  <c:v>0.32250000000000001</c:v>
                </c:pt>
                <c:pt idx="2">
                  <c:v>0.36009999999999998</c:v>
                </c:pt>
                <c:pt idx="3">
                  <c:v>0.3775</c:v>
                </c:pt>
                <c:pt idx="4">
                  <c:v>0.37469999999999998</c:v>
                </c:pt>
                <c:pt idx="5">
                  <c:v>0.3911</c:v>
                </c:pt>
                <c:pt idx="6">
                  <c:v>0.36199999999999999</c:v>
                </c:pt>
                <c:pt idx="7">
                  <c:v>0.4718</c:v>
                </c:pt>
                <c:pt idx="8">
                  <c:v>0.4842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2.41E-2</c:v>
                </c:pt>
                <c:pt idx="1">
                  <c:v>1.5800000000000002E-2</c:v>
                </c:pt>
                <c:pt idx="2">
                  <c:v>1.3299999999999999E-2</c:v>
                </c:pt>
                <c:pt idx="3">
                  <c:v>3.6200000000000003E-2</c:v>
                </c:pt>
                <c:pt idx="4">
                  <c:v>5.2299999999999999E-2</c:v>
                </c:pt>
                <c:pt idx="5">
                  <c:v>4.7300000000000002E-2</c:v>
                </c:pt>
                <c:pt idx="6">
                  <c:v>8.4400000000000003E-2</c:v>
                </c:pt>
                <c:pt idx="7">
                  <c:v>3.9199999999999999E-2</c:v>
                </c:pt>
                <c:pt idx="8">
                  <c:v>6.45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0.0%</c:formatCode>
                <c:ptCount val="9"/>
                <c:pt idx="0">
                  <c:v>2.5000000000000001E-3</c:v>
                </c:pt>
                <c:pt idx="1">
                  <c:v>2E-3</c:v>
                </c:pt>
                <c:pt idx="2">
                  <c:v>2.5000000000000001E-3</c:v>
                </c:pt>
                <c:pt idx="3" formatCode="0%">
                  <c:v>5.7999999999999996E-3</c:v>
                </c:pt>
                <c:pt idx="5" formatCode="0%">
                  <c:v>7.1000000000000004E-3</c:v>
                </c:pt>
                <c:pt idx="6" formatCode="0%">
                  <c:v>9.1000000000000004E-3</c:v>
                </c:pt>
                <c:pt idx="7">
                  <c:v>4.1000000000000003E-3</c:v>
                </c:pt>
                <c:pt idx="8">
                  <c:v>2.5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05-4359-A1B0-0AB3899B0F65}"/>
              </c:ext>
            </c:extLst>
          </c:dPt>
          <c:dLbls>
            <c:dLbl>
              <c:idx val="4"/>
              <c:layout>
                <c:manualLayout>
                  <c:x val="2.0182393748437322E-2"/>
                  <c:y val="6.795734884876477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CE7-432E-80E4-B6625497D7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47599999999999998</c:v>
                </c:pt>
                <c:pt idx="1">
                  <c:v>0.41160000000000002</c:v>
                </c:pt>
                <c:pt idx="2">
                  <c:v>0.39379999999999998</c:v>
                </c:pt>
                <c:pt idx="3">
                  <c:v>0.32529999999999998</c:v>
                </c:pt>
                <c:pt idx="4">
                  <c:v>0.2361</c:v>
                </c:pt>
                <c:pt idx="5">
                  <c:v>0.2555</c:v>
                </c:pt>
                <c:pt idx="6">
                  <c:v>0.1051</c:v>
                </c:pt>
                <c:pt idx="7">
                  <c:v>0.20280000000000001</c:v>
                </c:pt>
                <c:pt idx="8">
                  <c:v>0.2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05-4359-A1B0-0AB3899B0F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2.690985833124976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793-48F9-BA30-D4D3D385E5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45850000000000002</c:v>
                </c:pt>
                <c:pt idx="1">
                  <c:v>0.53039999999999998</c:v>
                </c:pt>
                <c:pt idx="2">
                  <c:v>0.57679999999999998</c:v>
                </c:pt>
                <c:pt idx="3">
                  <c:v>0.5353</c:v>
                </c:pt>
                <c:pt idx="4">
                  <c:v>0.59289999999999998</c:v>
                </c:pt>
                <c:pt idx="5">
                  <c:v>0.56399999999999995</c:v>
                </c:pt>
                <c:pt idx="6">
                  <c:v>0.59760000000000002</c:v>
                </c:pt>
                <c:pt idx="7">
                  <c:v>0.58130000000000004</c:v>
                </c:pt>
                <c:pt idx="8">
                  <c:v>0.6245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5-4359-A1B0-0AB3899B0F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4"/>
              <c:layout>
                <c:manualLayout>
                  <c:x val="-3.3637322914062205E-2"/>
                  <c:y val="6.795734884876477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793-48F9-BA30-D4D3D385E5A5}"/>
                </c:ext>
              </c:extLst>
            </c:dLbl>
            <c:dLbl>
              <c:idx val="6"/>
              <c:layout>
                <c:manualLayout>
                  <c:x val="-3.363732291406220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793-48F9-BA30-D4D3D385E5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6.5500000000000003E-2</c:v>
                </c:pt>
                <c:pt idx="1">
                  <c:v>5.8000000000000003E-2</c:v>
                </c:pt>
                <c:pt idx="2">
                  <c:v>2.9399999999999999E-2</c:v>
                </c:pt>
                <c:pt idx="3">
                  <c:v>0.1231</c:v>
                </c:pt>
                <c:pt idx="4">
                  <c:v>0.17100000000000001</c:v>
                </c:pt>
                <c:pt idx="5">
                  <c:v>0.18049999999999999</c:v>
                </c:pt>
                <c:pt idx="6">
                  <c:v>0.28110000000000002</c:v>
                </c:pt>
                <c:pt idx="7">
                  <c:v>0.1996</c:v>
                </c:pt>
                <c:pt idx="8">
                  <c:v>7.5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05-4359-A1B0-0AB3899B0F6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  <c:pt idx="3" formatCode="0%">
                  <c:v>1.6299999999999999E-2</c:v>
                </c:pt>
                <c:pt idx="6" formatCode="0%">
                  <c:v>1.6299999999999999E-2</c:v>
                </c:pt>
                <c:pt idx="7" formatCode="0%">
                  <c:v>1.62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05-4359-A1B0-0AB3899B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27F-49C8-B8D5-5085D4622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5449999999999997</c:v>
                </c:pt>
                <c:pt idx="1">
                  <c:v>0.6915</c:v>
                </c:pt>
                <c:pt idx="2">
                  <c:v>0.629</c:v>
                </c:pt>
                <c:pt idx="3">
                  <c:v>0.56179999999999997</c:v>
                </c:pt>
                <c:pt idx="4">
                  <c:v>0.36009999999999998</c:v>
                </c:pt>
                <c:pt idx="5">
                  <c:v>0.54249999999999998</c:v>
                </c:pt>
                <c:pt idx="6">
                  <c:v>0.44940000000000002</c:v>
                </c:pt>
                <c:pt idx="7">
                  <c:v>0.52390000000000003</c:v>
                </c:pt>
                <c:pt idx="8">
                  <c:v>0.466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F-49C8-B8D5-5085D4622A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31040000000000001</c:v>
                </c:pt>
                <c:pt idx="1">
                  <c:v>0.29089999999999999</c:v>
                </c:pt>
                <c:pt idx="2">
                  <c:v>0.34239999999999998</c:v>
                </c:pt>
                <c:pt idx="3">
                  <c:v>0.40350000000000003</c:v>
                </c:pt>
                <c:pt idx="4">
                  <c:v>0.56810000000000005</c:v>
                </c:pt>
                <c:pt idx="5">
                  <c:v>0.40129999999999999</c:v>
                </c:pt>
                <c:pt idx="6">
                  <c:v>0.45750000000000002</c:v>
                </c:pt>
                <c:pt idx="7">
                  <c:v>0.44629999999999997</c:v>
                </c:pt>
                <c:pt idx="8">
                  <c:v>0.461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7F-49C8-B8D5-5085D4622AA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2.6599999999999999E-2</c:v>
                </c:pt>
                <c:pt idx="1">
                  <c:v>1.7600000000000001E-2</c:v>
                </c:pt>
                <c:pt idx="2">
                  <c:v>2.01E-2</c:v>
                </c:pt>
                <c:pt idx="3">
                  <c:v>2.8799999999999999E-2</c:v>
                </c:pt>
                <c:pt idx="4">
                  <c:v>7.1800000000000003E-2</c:v>
                </c:pt>
                <c:pt idx="5">
                  <c:v>3.9199999999999999E-2</c:v>
                </c:pt>
                <c:pt idx="6">
                  <c:v>8.4599999999999995E-2</c:v>
                </c:pt>
                <c:pt idx="7">
                  <c:v>2.29E-2</c:v>
                </c:pt>
                <c:pt idx="8">
                  <c:v>7.18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7F-49C8-B8D5-5085D4622AA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  <c:pt idx="0" formatCode="0%">
                  <c:v>8.5000000000000006E-3</c:v>
                </c:pt>
                <c:pt idx="2" formatCode="0%">
                  <c:v>8.5000000000000006E-3</c:v>
                </c:pt>
                <c:pt idx="3" formatCode="0%">
                  <c:v>5.8999999999999999E-3</c:v>
                </c:pt>
                <c:pt idx="5" formatCode="0%">
                  <c:v>1.7000000000000001E-2</c:v>
                </c:pt>
                <c:pt idx="6" formatCode="0%">
                  <c:v>8.5000000000000006E-3</c:v>
                </c:pt>
                <c:pt idx="7" formatCode="0%">
                  <c:v>6.8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7F-49C8-B8D5-5085D4622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54700000000000004</c:v>
                </c:pt>
                <c:pt idx="1">
                  <c:v>0.18770000000000001</c:v>
                </c:pt>
                <c:pt idx="2">
                  <c:v>4.4999999999999998E-2</c:v>
                </c:pt>
                <c:pt idx="3">
                  <c:v>0</c:v>
                </c:pt>
                <c:pt idx="4">
                  <c:v>0.1118</c:v>
                </c:pt>
                <c:pt idx="5">
                  <c:v>0</c:v>
                </c:pt>
                <c:pt idx="6">
                  <c:v>5.11E-2</c:v>
                </c:pt>
                <c:pt idx="7">
                  <c:v>4.2700000000000002E-2</c:v>
                </c:pt>
                <c:pt idx="8">
                  <c:v>1.4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860-409A-BEC4-9CA9D09CDB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70279999999999998</c:v>
                </c:pt>
                <c:pt idx="1">
                  <c:v>0.69679999999999997</c:v>
                </c:pt>
                <c:pt idx="2">
                  <c:v>0.67120000000000002</c:v>
                </c:pt>
                <c:pt idx="3">
                  <c:v>0.64490000000000003</c:v>
                </c:pt>
                <c:pt idx="4">
                  <c:v>0.66159999999999997</c:v>
                </c:pt>
                <c:pt idx="5">
                  <c:v>0.625</c:v>
                </c:pt>
                <c:pt idx="6">
                  <c:v>0.68740000000000001</c:v>
                </c:pt>
                <c:pt idx="7">
                  <c:v>0.52580000000000005</c:v>
                </c:pt>
                <c:pt idx="8">
                  <c:v>0.4718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60-409A-BEC4-9CA9D09CDB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2833</c:v>
                </c:pt>
                <c:pt idx="1">
                  <c:v>0.29380000000000001</c:v>
                </c:pt>
                <c:pt idx="2">
                  <c:v>0.32250000000000001</c:v>
                </c:pt>
                <c:pt idx="3">
                  <c:v>0.33040000000000003</c:v>
                </c:pt>
                <c:pt idx="4">
                  <c:v>0.3039</c:v>
                </c:pt>
                <c:pt idx="5">
                  <c:v>0.3488</c:v>
                </c:pt>
                <c:pt idx="6">
                  <c:v>0.26279999999999998</c:v>
                </c:pt>
                <c:pt idx="7">
                  <c:v>0.4612</c:v>
                </c:pt>
                <c:pt idx="8">
                  <c:v>0.465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60-409A-BEC4-9CA9D09CDB4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1.3899999999999999E-2</c:v>
                </c:pt>
                <c:pt idx="1">
                  <c:v>5.8999999999999999E-3</c:v>
                </c:pt>
                <c:pt idx="2">
                  <c:v>6.3E-3</c:v>
                </c:pt>
                <c:pt idx="3">
                  <c:v>2.12E-2</c:v>
                </c:pt>
                <c:pt idx="4">
                  <c:v>3.4599999999999999E-2</c:v>
                </c:pt>
                <c:pt idx="5">
                  <c:v>2.2700000000000001E-2</c:v>
                </c:pt>
                <c:pt idx="6">
                  <c:v>4.19E-2</c:v>
                </c:pt>
                <c:pt idx="7">
                  <c:v>1.2999999999999999E-2</c:v>
                </c:pt>
                <c:pt idx="8">
                  <c:v>5.84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60-409A-BEC4-9CA9D09CDB4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0.0%</c:formatCode>
                <c:ptCount val="9"/>
                <c:pt idx="1">
                  <c:v>3.5000000000000001E-3</c:v>
                </c:pt>
                <c:pt idx="3">
                  <c:v>3.5000000000000001E-3</c:v>
                </c:pt>
                <c:pt idx="5">
                  <c:v>3.5000000000000001E-3</c:v>
                </c:pt>
                <c:pt idx="6" formatCode="0%">
                  <c:v>7.7999999999999996E-3</c:v>
                </c:pt>
                <c:pt idx="8">
                  <c:v>4.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60-409A-BEC4-9CA9D09CD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9B-4806-A400-32476AB6894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9B-4806-A400-32476AB68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28100000000000003</c:v>
                </c:pt>
                <c:pt idx="1">
                  <c:v>0.18690000000000001</c:v>
                </c:pt>
                <c:pt idx="2">
                  <c:v>0.1794</c:v>
                </c:pt>
                <c:pt idx="3">
                  <c:v>0.17549999999999999</c:v>
                </c:pt>
                <c:pt idx="4">
                  <c:v>0.16450000000000001</c:v>
                </c:pt>
                <c:pt idx="5">
                  <c:v>0.1605</c:v>
                </c:pt>
                <c:pt idx="6">
                  <c:v>0.14149999999999999</c:v>
                </c:pt>
                <c:pt idx="7">
                  <c:v>0.13650000000000001</c:v>
                </c:pt>
                <c:pt idx="8">
                  <c:v>0.12470000000000001</c:v>
                </c:pt>
                <c:pt idx="9">
                  <c:v>0.11459999999999999</c:v>
                </c:pt>
                <c:pt idx="10">
                  <c:v>0.1041</c:v>
                </c:pt>
                <c:pt idx="11">
                  <c:v>9.3100000000000002E-2</c:v>
                </c:pt>
                <c:pt idx="12">
                  <c:v>8.8400000000000006E-2</c:v>
                </c:pt>
                <c:pt idx="13">
                  <c:v>8.5300000000000001E-2</c:v>
                </c:pt>
                <c:pt idx="14">
                  <c:v>8.1799999999999998E-2</c:v>
                </c:pt>
                <c:pt idx="15">
                  <c:v>7.8899999999999998E-2</c:v>
                </c:pt>
                <c:pt idx="16">
                  <c:v>7.7200000000000005E-2</c:v>
                </c:pt>
                <c:pt idx="17">
                  <c:v>7.46E-2</c:v>
                </c:pt>
                <c:pt idx="18">
                  <c:v>6.8599999999999994E-2</c:v>
                </c:pt>
                <c:pt idx="19">
                  <c:v>3.7499999999999999E-2</c:v>
                </c:pt>
                <c:pt idx="20">
                  <c:v>2.7199999999999998E-2</c:v>
                </c:pt>
                <c:pt idx="21">
                  <c:v>2.64E-2</c:v>
                </c:pt>
                <c:pt idx="22">
                  <c:v>1.7500000000000002E-2</c:v>
                </c:pt>
                <c:pt idx="23">
                  <c:v>1.0999999999999999E-2</c:v>
                </c:pt>
                <c:pt idx="24">
                  <c:v>0.1145</c:v>
                </c:pt>
                <c:pt idx="25">
                  <c:v>8.3199999999999996E-2</c:v>
                </c:pt>
                <c:pt idx="26">
                  <c:v>7.700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B-4806-A400-32476AB68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6-406B-BBE8-A10380AF8A0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6-406B-BBE8-A10380AF8A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26879999999999998</c:v>
                </c:pt>
                <c:pt idx="1">
                  <c:v>0.19139999999999999</c:v>
                </c:pt>
                <c:pt idx="2">
                  <c:v>0.17649999999999999</c:v>
                </c:pt>
                <c:pt idx="3">
                  <c:v>0.223</c:v>
                </c:pt>
                <c:pt idx="4">
                  <c:v>0.1086</c:v>
                </c:pt>
                <c:pt idx="5">
                  <c:v>0.16389999999999999</c:v>
                </c:pt>
                <c:pt idx="6">
                  <c:v>9.2999999999999999E-2</c:v>
                </c:pt>
                <c:pt idx="7">
                  <c:v>0.1681</c:v>
                </c:pt>
                <c:pt idx="8">
                  <c:v>0.1225</c:v>
                </c:pt>
                <c:pt idx="9">
                  <c:v>7.3400000000000007E-2</c:v>
                </c:pt>
                <c:pt idx="10">
                  <c:v>5.3100000000000001E-2</c:v>
                </c:pt>
                <c:pt idx="11">
                  <c:v>0.1237</c:v>
                </c:pt>
                <c:pt idx="12">
                  <c:v>9.5299999999999996E-2</c:v>
                </c:pt>
                <c:pt idx="13">
                  <c:v>0.1502</c:v>
                </c:pt>
                <c:pt idx="14">
                  <c:v>6.6100000000000006E-2</c:v>
                </c:pt>
                <c:pt idx="15">
                  <c:v>4.4699999999999997E-2</c:v>
                </c:pt>
                <c:pt idx="16">
                  <c:v>7.8299999999999995E-2</c:v>
                </c:pt>
                <c:pt idx="17">
                  <c:v>1.43E-2</c:v>
                </c:pt>
                <c:pt idx="18">
                  <c:v>4.4699999999999997E-2</c:v>
                </c:pt>
                <c:pt idx="19">
                  <c:v>3.3099999999999997E-2</c:v>
                </c:pt>
                <c:pt idx="20">
                  <c:v>0.01</c:v>
                </c:pt>
                <c:pt idx="21">
                  <c:v>1.5900000000000001E-2</c:v>
                </c:pt>
                <c:pt idx="22">
                  <c:v>0</c:v>
                </c:pt>
                <c:pt idx="23">
                  <c:v>1.3100000000000001E-2</c:v>
                </c:pt>
                <c:pt idx="24">
                  <c:v>3.6600000000000001E-2</c:v>
                </c:pt>
                <c:pt idx="25">
                  <c:v>0.17549999999999999</c:v>
                </c:pt>
                <c:pt idx="2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B6-406B-BBE8-A10380AF8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31-49AE-A848-B2E25F3578B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31-49AE-A848-B2E25F3578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20369999999999999</c:v>
                </c:pt>
                <c:pt idx="1">
                  <c:v>0.13880000000000001</c:v>
                </c:pt>
                <c:pt idx="2">
                  <c:v>0.1484</c:v>
                </c:pt>
                <c:pt idx="3">
                  <c:v>0.1691</c:v>
                </c:pt>
                <c:pt idx="4">
                  <c:v>0.14369999999999999</c:v>
                </c:pt>
                <c:pt idx="5">
                  <c:v>9.5500000000000002E-2</c:v>
                </c:pt>
                <c:pt idx="6">
                  <c:v>0.20269999999999999</c:v>
                </c:pt>
                <c:pt idx="7">
                  <c:v>8.4400000000000003E-2</c:v>
                </c:pt>
                <c:pt idx="8">
                  <c:v>7.3499999999999996E-2</c:v>
                </c:pt>
                <c:pt idx="9">
                  <c:v>6.6500000000000004E-2</c:v>
                </c:pt>
                <c:pt idx="10">
                  <c:v>6.4799999999999996E-2</c:v>
                </c:pt>
                <c:pt idx="11">
                  <c:v>9.8900000000000002E-2</c:v>
                </c:pt>
                <c:pt idx="12">
                  <c:v>5.6300000000000003E-2</c:v>
                </c:pt>
                <c:pt idx="13">
                  <c:v>4.4400000000000002E-2</c:v>
                </c:pt>
                <c:pt idx="14">
                  <c:v>5.2400000000000002E-2</c:v>
                </c:pt>
                <c:pt idx="15">
                  <c:v>5.57E-2</c:v>
                </c:pt>
                <c:pt idx="16">
                  <c:v>4.41E-2</c:v>
                </c:pt>
                <c:pt idx="17">
                  <c:v>5.3100000000000001E-2</c:v>
                </c:pt>
                <c:pt idx="18">
                  <c:v>6.8599999999999994E-2</c:v>
                </c:pt>
                <c:pt idx="19">
                  <c:v>1.5800000000000002E-2</c:v>
                </c:pt>
                <c:pt idx="20">
                  <c:v>1.15E-2</c:v>
                </c:pt>
                <c:pt idx="21">
                  <c:v>4.7000000000000002E-3</c:v>
                </c:pt>
                <c:pt idx="22">
                  <c:v>2.6700000000000002E-2</c:v>
                </c:pt>
                <c:pt idx="23">
                  <c:v>4.3E-3</c:v>
                </c:pt>
                <c:pt idx="24">
                  <c:v>0.13059999999999999</c:v>
                </c:pt>
                <c:pt idx="25">
                  <c:v>0.1149</c:v>
                </c:pt>
                <c:pt idx="26">
                  <c:v>4.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1-49AE-A848-B2E25F357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7F6-41C6-95F2-D245F4CAF8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7F6-41C6-95F2-D245F4CAF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32369999999999999</c:v>
                </c:pt>
                <c:pt idx="1">
                  <c:v>0.21079999999999999</c:v>
                </c:pt>
                <c:pt idx="2">
                  <c:v>0.1961</c:v>
                </c:pt>
                <c:pt idx="3">
                  <c:v>0.16819999999999999</c:v>
                </c:pt>
                <c:pt idx="4">
                  <c:v>0.18779999999999999</c:v>
                </c:pt>
                <c:pt idx="5">
                  <c:v>0.19320000000000001</c:v>
                </c:pt>
                <c:pt idx="6">
                  <c:v>0.1207</c:v>
                </c:pt>
                <c:pt idx="7">
                  <c:v>0.15640000000000001</c:v>
                </c:pt>
                <c:pt idx="8">
                  <c:v>0.15160000000000001</c:v>
                </c:pt>
                <c:pt idx="9">
                  <c:v>0.1487</c:v>
                </c:pt>
                <c:pt idx="10">
                  <c:v>0.13569999999999999</c:v>
                </c:pt>
                <c:pt idx="11">
                  <c:v>8.3199999999999996E-2</c:v>
                </c:pt>
                <c:pt idx="12">
                  <c:v>0.10340000000000001</c:v>
                </c:pt>
                <c:pt idx="13">
                  <c:v>9.1899999999999996E-2</c:v>
                </c:pt>
                <c:pt idx="14">
                  <c:v>0.10050000000000001</c:v>
                </c:pt>
                <c:pt idx="15">
                  <c:v>9.8599999999999993E-2</c:v>
                </c:pt>
                <c:pt idx="16">
                  <c:v>9.4100000000000003E-2</c:v>
                </c:pt>
                <c:pt idx="17">
                  <c:v>9.9199999999999997E-2</c:v>
                </c:pt>
                <c:pt idx="18">
                  <c:v>7.3899999999999993E-2</c:v>
                </c:pt>
                <c:pt idx="19">
                  <c:v>4.9700000000000001E-2</c:v>
                </c:pt>
                <c:pt idx="20">
                  <c:v>3.9199999999999999E-2</c:v>
                </c:pt>
                <c:pt idx="21">
                  <c:v>4.0099999999999997E-2</c:v>
                </c:pt>
                <c:pt idx="22">
                  <c:v>1.66E-2</c:v>
                </c:pt>
                <c:pt idx="23">
                  <c:v>1.41E-2</c:v>
                </c:pt>
                <c:pt idx="24">
                  <c:v>0.1236</c:v>
                </c:pt>
                <c:pt idx="25">
                  <c:v>4.6300000000000001E-2</c:v>
                </c:pt>
                <c:pt idx="26">
                  <c:v>1.1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F6-41C6-95F2-D245F4CAF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9B-4806-A400-32476AB6894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9B-4806-A400-32476AB68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28100000000000003</c:v>
                </c:pt>
                <c:pt idx="1">
                  <c:v>0.18690000000000001</c:v>
                </c:pt>
                <c:pt idx="2">
                  <c:v>0.1794</c:v>
                </c:pt>
                <c:pt idx="3">
                  <c:v>0.17549999999999999</c:v>
                </c:pt>
                <c:pt idx="4">
                  <c:v>0.16450000000000001</c:v>
                </c:pt>
                <c:pt idx="5">
                  <c:v>0.1605</c:v>
                </c:pt>
                <c:pt idx="6">
                  <c:v>0.14149999999999999</c:v>
                </c:pt>
                <c:pt idx="7">
                  <c:v>0.13650000000000001</c:v>
                </c:pt>
                <c:pt idx="8">
                  <c:v>0.12470000000000001</c:v>
                </c:pt>
                <c:pt idx="9">
                  <c:v>0.11459999999999999</c:v>
                </c:pt>
                <c:pt idx="10">
                  <c:v>0.1041</c:v>
                </c:pt>
                <c:pt idx="11">
                  <c:v>9.3100000000000002E-2</c:v>
                </c:pt>
                <c:pt idx="12">
                  <c:v>8.8400000000000006E-2</c:v>
                </c:pt>
                <c:pt idx="13">
                  <c:v>8.5300000000000001E-2</c:v>
                </c:pt>
                <c:pt idx="14">
                  <c:v>8.1799999999999998E-2</c:v>
                </c:pt>
                <c:pt idx="15">
                  <c:v>7.8899999999999998E-2</c:v>
                </c:pt>
                <c:pt idx="16">
                  <c:v>7.7200000000000005E-2</c:v>
                </c:pt>
                <c:pt idx="17">
                  <c:v>7.46E-2</c:v>
                </c:pt>
                <c:pt idx="18">
                  <c:v>6.8599999999999994E-2</c:v>
                </c:pt>
                <c:pt idx="19">
                  <c:v>3.7499999999999999E-2</c:v>
                </c:pt>
                <c:pt idx="20">
                  <c:v>2.7199999999999998E-2</c:v>
                </c:pt>
                <c:pt idx="21">
                  <c:v>2.64E-2</c:v>
                </c:pt>
                <c:pt idx="22">
                  <c:v>1.7500000000000002E-2</c:v>
                </c:pt>
                <c:pt idx="23">
                  <c:v>1.0999999999999999E-2</c:v>
                </c:pt>
                <c:pt idx="24">
                  <c:v>0.1145</c:v>
                </c:pt>
                <c:pt idx="25">
                  <c:v>8.3199999999999996E-2</c:v>
                </c:pt>
                <c:pt idx="26">
                  <c:v>7.700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B-4806-A400-32476AB68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6-406B-BBE8-A10380AF8A0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6-406B-BBE8-A10380AF8A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2112</c:v>
                </c:pt>
                <c:pt idx="1">
                  <c:v>0.28739999999999999</c:v>
                </c:pt>
                <c:pt idx="2">
                  <c:v>0.1835</c:v>
                </c:pt>
                <c:pt idx="3">
                  <c:v>0.224</c:v>
                </c:pt>
                <c:pt idx="4">
                  <c:v>0.14649999999999999</c:v>
                </c:pt>
                <c:pt idx="5">
                  <c:v>0.14299999999999999</c:v>
                </c:pt>
                <c:pt idx="6">
                  <c:v>5.0999999999999997E-2</c:v>
                </c:pt>
                <c:pt idx="7">
                  <c:v>0.153</c:v>
                </c:pt>
                <c:pt idx="8">
                  <c:v>0.1227</c:v>
                </c:pt>
                <c:pt idx="9">
                  <c:v>5.1900000000000002E-2</c:v>
                </c:pt>
                <c:pt idx="10">
                  <c:v>7.8100000000000003E-2</c:v>
                </c:pt>
                <c:pt idx="11">
                  <c:v>7.4700000000000003E-2</c:v>
                </c:pt>
                <c:pt idx="12">
                  <c:v>8.09E-2</c:v>
                </c:pt>
                <c:pt idx="13">
                  <c:v>0.1244</c:v>
                </c:pt>
                <c:pt idx="14">
                  <c:v>7.2599999999999998E-2</c:v>
                </c:pt>
                <c:pt idx="15">
                  <c:v>5.9799999999999999E-2</c:v>
                </c:pt>
                <c:pt idx="16">
                  <c:v>0.1258</c:v>
                </c:pt>
                <c:pt idx="17">
                  <c:v>2.81E-2</c:v>
                </c:pt>
                <c:pt idx="18">
                  <c:v>4.5900000000000003E-2</c:v>
                </c:pt>
                <c:pt idx="19">
                  <c:v>7.1099999999999997E-2</c:v>
                </c:pt>
                <c:pt idx="20">
                  <c:v>1.11E-2</c:v>
                </c:pt>
                <c:pt idx="21">
                  <c:v>1.03E-2</c:v>
                </c:pt>
                <c:pt idx="22">
                  <c:v>1.3899999999999999E-2</c:v>
                </c:pt>
                <c:pt idx="23">
                  <c:v>1.34E-2</c:v>
                </c:pt>
                <c:pt idx="24">
                  <c:v>6.1800000000000001E-2</c:v>
                </c:pt>
                <c:pt idx="25">
                  <c:v>0.1358</c:v>
                </c:pt>
                <c:pt idx="2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B6-406B-BBE8-A10380AF8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31-49AE-A848-B2E25F3578B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31-49AE-A848-B2E25F3578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217</c:v>
                </c:pt>
                <c:pt idx="1">
                  <c:v>0.1129</c:v>
                </c:pt>
                <c:pt idx="2">
                  <c:v>0.12189999999999999</c:v>
                </c:pt>
                <c:pt idx="3">
                  <c:v>0.14000000000000001</c:v>
                </c:pt>
                <c:pt idx="4">
                  <c:v>0.10050000000000001</c:v>
                </c:pt>
                <c:pt idx="5">
                  <c:v>0.1208</c:v>
                </c:pt>
                <c:pt idx="6">
                  <c:v>0.22800000000000001</c:v>
                </c:pt>
                <c:pt idx="7">
                  <c:v>0.1085</c:v>
                </c:pt>
                <c:pt idx="8">
                  <c:v>7.0599999999999996E-2</c:v>
                </c:pt>
                <c:pt idx="9">
                  <c:v>6.5000000000000002E-2</c:v>
                </c:pt>
                <c:pt idx="10">
                  <c:v>8.43E-2</c:v>
                </c:pt>
                <c:pt idx="11">
                  <c:v>4.4699999999999997E-2</c:v>
                </c:pt>
                <c:pt idx="12">
                  <c:v>5.2999999999999999E-2</c:v>
                </c:pt>
                <c:pt idx="13">
                  <c:v>3.5799999999999998E-2</c:v>
                </c:pt>
                <c:pt idx="14">
                  <c:v>0.105</c:v>
                </c:pt>
                <c:pt idx="15">
                  <c:v>7.5300000000000006E-2</c:v>
                </c:pt>
                <c:pt idx="16">
                  <c:v>5.74E-2</c:v>
                </c:pt>
                <c:pt idx="17">
                  <c:v>4.0399999999999998E-2</c:v>
                </c:pt>
                <c:pt idx="18">
                  <c:v>6.1800000000000001E-2</c:v>
                </c:pt>
                <c:pt idx="19">
                  <c:v>2.2200000000000001E-2</c:v>
                </c:pt>
                <c:pt idx="20">
                  <c:v>0.01</c:v>
                </c:pt>
                <c:pt idx="21">
                  <c:v>9.1000000000000004E-3</c:v>
                </c:pt>
                <c:pt idx="22">
                  <c:v>5.7000000000000002E-3</c:v>
                </c:pt>
                <c:pt idx="23" formatCode="0.0%">
                  <c:v>4.4000000000000003E-3</c:v>
                </c:pt>
                <c:pt idx="24">
                  <c:v>0.14269999999999999</c:v>
                </c:pt>
                <c:pt idx="25">
                  <c:v>9.9299999999999999E-2</c:v>
                </c:pt>
                <c:pt idx="26" formatCode="0.0%">
                  <c:v>4.40000000000000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1-49AE-A848-B2E25F357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7F6-41C6-95F2-D245F4CAF8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7F6-41C6-95F2-D245F4CAF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3286</c:v>
                </c:pt>
                <c:pt idx="1">
                  <c:v>0.2029</c:v>
                </c:pt>
                <c:pt idx="2">
                  <c:v>0.2077</c:v>
                </c:pt>
                <c:pt idx="3">
                  <c:v>0.18310000000000001</c:v>
                </c:pt>
                <c:pt idx="4">
                  <c:v>0.2009</c:v>
                </c:pt>
                <c:pt idx="5">
                  <c:v>0.18440000000000001</c:v>
                </c:pt>
                <c:pt idx="6">
                  <c:v>0.1171</c:v>
                </c:pt>
                <c:pt idx="7">
                  <c:v>0.1472</c:v>
                </c:pt>
                <c:pt idx="8">
                  <c:v>0.1525</c:v>
                </c:pt>
                <c:pt idx="9">
                  <c:v>0.15329999999999999</c:v>
                </c:pt>
                <c:pt idx="10">
                  <c:v>0.1197</c:v>
                </c:pt>
                <c:pt idx="11">
                  <c:v>0.1216</c:v>
                </c:pt>
                <c:pt idx="12">
                  <c:v>0.1079</c:v>
                </c:pt>
                <c:pt idx="13">
                  <c:v>0.10199999999999999</c:v>
                </c:pt>
                <c:pt idx="14">
                  <c:v>7.1999999999999995E-2</c:v>
                </c:pt>
                <c:pt idx="15">
                  <c:v>8.4900000000000003E-2</c:v>
                </c:pt>
                <c:pt idx="16">
                  <c:v>7.6799999999999993E-2</c:v>
                </c:pt>
                <c:pt idx="17">
                  <c:v>0.1019</c:v>
                </c:pt>
                <c:pt idx="18">
                  <c:v>7.6899999999999996E-2</c:v>
                </c:pt>
                <c:pt idx="19">
                  <c:v>3.8100000000000002E-2</c:v>
                </c:pt>
                <c:pt idx="20">
                  <c:v>3.9399999999999998E-2</c:v>
                </c:pt>
                <c:pt idx="21">
                  <c:v>3.8699999999999998E-2</c:v>
                </c:pt>
                <c:pt idx="22">
                  <c:v>2.4199999999999999E-2</c:v>
                </c:pt>
                <c:pt idx="23">
                  <c:v>1.3899999999999999E-2</c:v>
                </c:pt>
                <c:pt idx="24">
                  <c:v>0.1116</c:v>
                </c:pt>
                <c:pt idx="25">
                  <c:v>6.3799999999999996E-2</c:v>
                </c:pt>
                <c:pt idx="26">
                  <c:v>1.0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F6-41C6-95F2-D245F4CAF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9B-4806-A400-32476AB6894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9B-4806-A400-32476AB68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132</c:v>
                </c:pt>
                <c:pt idx="1">
                  <c:v>0.1114</c:v>
                </c:pt>
                <c:pt idx="2">
                  <c:v>0.1043</c:v>
                </c:pt>
                <c:pt idx="3">
                  <c:v>0.1027</c:v>
                </c:pt>
                <c:pt idx="4">
                  <c:v>9.0700000000000003E-2</c:v>
                </c:pt>
                <c:pt idx="5">
                  <c:v>8.1000000000000003E-2</c:v>
                </c:pt>
                <c:pt idx="6">
                  <c:v>6.2300000000000001E-2</c:v>
                </c:pt>
                <c:pt idx="7">
                  <c:v>5.8299999999999998E-2</c:v>
                </c:pt>
                <c:pt idx="8">
                  <c:v>5.8000000000000003E-2</c:v>
                </c:pt>
                <c:pt idx="9">
                  <c:v>5.5199999999999999E-2</c:v>
                </c:pt>
                <c:pt idx="10">
                  <c:v>5.4300000000000001E-2</c:v>
                </c:pt>
                <c:pt idx="11">
                  <c:v>0.05</c:v>
                </c:pt>
                <c:pt idx="12">
                  <c:v>3.8199999999999998E-2</c:v>
                </c:pt>
                <c:pt idx="13">
                  <c:v>3.5000000000000003E-2</c:v>
                </c:pt>
                <c:pt idx="14">
                  <c:v>3.49E-2</c:v>
                </c:pt>
                <c:pt idx="15">
                  <c:v>3.1899999999999998E-2</c:v>
                </c:pt>
                <c:pt idx="16">
                  <c:v>2.92E-2</c:v>
                </c:pt>
                <c:pt idx="17">
                  <c:v>2.6800000000000001E-2</c:v>
                </c:pt>
                <c:pt idx="18">
                  <c:v>2.4400000000000002E-2</c:v>
                </c:pt>
                <c:pt idx="19">
                  <c:v>2.2700000000000001E-2</c:v>
                </c:pt>
                <c:pt idx="20">
                  <c:v>2.06E-2</c:v>
                </c:pt>
                <c:pt idx="21">
                  <c:v>2.0199999999999999E-2</c:v>
                </c:pt>
                <c:pt idx="22">
                  <c:v>1.66E-2</c:v>
                </c:pt>
                <c:pt idx="23">
                  <c:v>1.4999999999999999E-2</c:v>
                </c:pt>
                <c:pt idx="24">
                  <c:v>7.4899999999999994E-2</c:v>
                </c:pt>
                <c:pt idx="25">
                  <c:v>0.15</c:v>
                </c:pt>
                <c:pt idx="26">
                  <c:v>0.2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B-4806-A400-32476AB68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цюєте за наймом на повний або неповний робочий день</c:v>
                </c:pt>
                <c:pt idx="1">
                  <c:v>Ведете бізнес, самозайнятий</c:v>
                </c:pt>
                <c:pt idx="2">
                  <c:v>Навчаєтесь у закладі вищої освіти (університет)</c:v>
                </c:pt>
                <c:pt idx="3">
                  <c:v>Навчаєтесь у коледжі, училищі, іншому професійно-технічному</c:v>
                </c:pt>
                <c:pt idx="4">
                  <c:v>Не працюєте і не шукаєте роботу</c:v>
                </c:pt>
                <c:pt idx="5">
                  <c:v>Навчаєтесь у середній школі</c:v>
                </c:pt>
                <c:pt idx="6">
                  <c:v>Зараз не працюєте, але активно шукаєте роботу (переглядаєте</c:v>
                </c:pt>
                <c:pt idx="7">
                  <c:v>На військовій службі</c:v>
                </c:pt>
                <c:pt idx="8">
                  <c:v>Інш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58189999999999997</c:v>
                </c:pt>
                <c:pt idx="1">
                  <c:v>0.19950000000000001</c:v>
                </c:pt>
                <c:pt idx="2">
                  <c:v>0</c:v>
                </c:pt>
                <c:pt idx="3">
                  <c:v>0</c:v>
                </c:pt>
                <c:pt idx="4">
                  <c:v>0.1211</c:v>
                </c:pt>
                <c:pt idx="5">
                  <c:v>0</c:v>
                </c:pt>
                <c:pt idx="6">
                  <c:v>6.3799999999999996E-2</c:v>
                </c:pt>
                <c:pt idx="7">
                  <c:v>2.3599999999999999E-2</c:v>
                </c:pt>
                <c:pt idx="8">
                  <c:v>1.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6-406B-BBE8-A10380AF8A0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6-406B-BBE8-A10380AF8A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3139999999999999</c:v>
                </c:pt>
                <c:pt idx="1">
                  <c:v>0.11559999999999999</c:v>
                </c:pt>
                <c:pt idx="2">
                  <c:v>0.11700000000000001</c:v>
                </c:pt>
                <c:pt idx="3">
                  <c:v>0.10050000000000001</c:v>
                </c:pt>
                <c:pt idx="4">
                  <c:v>4.0899999999999999E-2</c:v>
                </c:pt>
                <c:pt idx="5">
                  <c:v>8.1600000000000006E-2</c:v>
                </c:pt>
                <c:pt idx="6">
                  <c:v>0.02</c:v>
                </c:pt>
                <c:pt idx="7">
                  <c:v>0.1201</c:v>
                </c:pt>
                <c:pt idx="8">
                  <c:v>3.3599999999999998E-2</c:v>
                </c:pt>
                <c:pt idx="9">
                  <c:v>0.17899999999999999</c:v>
                </c:pt>
                <c:pt idx="10">
                  <c:v>5.0299999999999997E-2</c:v>
                </c:pt>
                <c:pt idx="11">
                  <c:v>5.1799999999999999E-2</c:v>
                </c:pt>
                <c:pt idx="12">
                  <c:v>7.2999999999999995E-2</c:v>
                </c:pt>
                <c:pt idx="13">
                  <c:v>1.3100000000000001E-2</c:v>
                </c:pt>
                <c:pt idx="14">
                  <c:v>9.4799999999999995E-2</c:v>
                </c:pt>
                <c:pt idx="15">
                  <c:v>3.7400000000000003E-2</c:v>
                </c:pt>
                <c:pt idx="16">
                  <c:v>3.5200000000000002E-2</c:v>
                </c:pt>
                <c:pt idx="17">
                  <c:v>2.4299999999999999E-2</c:v>
                </c:pt>
                <c:pt idx="18">
                  <c:v>2.3099999999999999E-2</c:v>
                </c:pt>
                <c:pt idx="19">
                  <c:v>0</c:v>
                </c:pt>
                <c:pt idx="20">
                  <c:v>0.02</c:v>
                </c:pt>
                <c:pt idx="21">
                  <c:v>2.86E-2</c:v>
                </c:pt>
                <c:pt idx="22">
                  <c:v>2.35E-2</c:v>
                </c:pt>
                <c:pt idx="23">
                  <c:v>4.1700000000000001E-2</c:v>
                </c:pt>
                <c:pt idx="24">
                  <c:v>9.7100000000000006E-2</c:v>
                </c:pt>
                <c:pt idx="25">
                  <c:v>0.18279999999999999</c:v>
                </c:pt>
                <c:pt idx="26">
                  <c:v>0.159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B6-406B-BBE8-A10380AF8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31-49AE-A848-B2E25F3578B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31-49AE-A848-B2E25F3578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8.2500000000000004E-2</c:v>
                </c:pt>
                <c:pt idx="1">
                  <c:v>0.10299999999999999</c:v>
                </c:pt>
                <c:pt idx="2">
                  <c:v>7.6799999999999993E-2</c:v>
                </c:pt>
                <c:pt idx="3">
                  <c:v>7.6600000000000001E-2</c:v>
                </c:pt>
                <c:pt idx="4">
                  <c:v>6.4299999999999996E-2</c:v>
                </c:pt>
                <c:pt idx="5">
                  <c:v>5.9799999999999999E-2</c:v>
                </c:pt>
                <c:pt idx="6">
                  <c:v>5.6599999999999998E-2</c:v>
                </c:pt>
                <c:pt idx="7">
                  <c:v>2.5499999999999998E-2</c:v>
                </c:pt>
                <c:pt idx="8">
                  <c:v>4.0800000000000003E-2</c:v>
                </c:pt>
                <c:pt idx="9">
                  <c:v>3.2000000000000001E-2</c:v>
                </c:pt>
                <c:pt idx="10">
                  <c:v>2.5499999999999998E-2</c:v>
                </c:pt>
                <c:pt idx="11">
                  <c:v>4.5900000000000003E-2</c:v>
                </c:pt>
                <c:pt idx="12">
                  <c:v>1.84E-2</c:v>
                </c:pt>
                <c:pt idx="13">
                  <c:v>2.0899999999999998E-2</c:v>
                </c:pt>
                <c:pt idx="14">
                  <c:v>1.15E-2</c:v>
                </c:pt>
                <c:pt idx="15">
                  <c:v>1.43E-2</c:v>
                </c:pt>
                <c:pt idx="16">
                  <c:v>2.6800000000000001E-2</c:v>
                </c:pt>
                <c:pt idx="17">
                  <c:v>1.2500000000000001E-2</c:v>
                </c:pt>
                <c:pt idx="18">
                  <c:v>2.7099999999999999E-2</c:v>
                </c:pt>
                <c:pt idx="19">
                  <c:v>1.8700000000000001E-2</c:v>
                </c:pt>
                <c:pt idx="20">
                  <c:v>1.7600000000000001E-2</c:v>
                </c:pt>
                <c:pt idx="21">
                  <c:v>9.4000000000000004E-3</c:v>
                </c:pt>
                <c:pt idx="22">
                  <c:v>1.21E-2</c:v>
                </c:pt>
                <c:pt idx="23">
                  <c:v>0.01</c:v>
                </c:pt>
                <c:pt idx="24">
                  <c:v>5.3199999999999997E-2</c:v>
                </c:pt>
                <c:pt idx="25">
                  <c:v>0.26800000000000002</c:v>
                </c:pt>
                <c:pt idx="26">
                  <c:v>0.2614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1-49AE-A848-B2E25F357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7F6-41C6-95F2-D245F4CAF8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7F6-41C6-95F2-D245F4CAF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25</c:v>
                </c:pt>
                <c:pt idx="1">
                  <c:v>0.1148</c:v>
                </c:pt>
                <c:pt idx="2">
                  <c:v>0.1157</c:v>
                </c:pt>
                <c:pt idx="3">
                  <c:v>0.1167</c:v>
                </c:pt>
                <c:pt idx="4">
                  <c:v>0.1154</c:v>
                </c:pt>
                <c:pt idx="5">
                  <c:v>9.1899999999999996E-2</c:v>
                </c:pt>
                <c:pt idx="6">
                  <c:v>7.4700000000000003E-2</c:v>
                </c:pt>
                <c:pt idx="7">
                  <c:v>6.1499999999999999E-2</c:v>
                </c:pt>
                <c:pt idx="8">
                  <c:v>7.2300000000000003E-2</c:v>
                </c:pt>
                <c:pt idx="9">
                  <c:v>3.9600000000000003E-2</c:v>
                </c:pt>
                <c:pt idx="10">
                  <c:v>7.0099999999999996E-2</c:v>
                </c:pt>
                <c:pt idx="11">
                  <c:v>5.1700000000000003E-2</c:v>
                </c:pt>
                <c:pt idx="12">
                  <c:v>4.0599999999999997E-2</c:v>
                </c:pt>
                <c:pt idx="13">
                  <c:v>4.7100000000000003E-2</c:v>
                </c:pt>
                <c:pt idx="14">
                  <c:v>3.3599999999999998E-2</c:v>
                </c:pt>
                <c:pt idx="15">
                  <c:v>3.9800000000000002E-2</c:v>
                </c:pt>
                <c:pt idx="16">
                  <c:v>2.9000000000000001E-2</c:v>
                </c:pt>
                <c:pt idx="17">
                  <c:v>3.4700000000000002E-2</c:v>
                </c:pt>
                <c:pt idx="18">
                  <c:v>2.3199999999999998E-2</c:v>
                </c:pt>
                <c:pt idx="19">
                  <c:v>2.98E-2</c:v>
                </c:pt>
                <c:pt idx="20">
                  <c:v>2.2200000000000001E-2</c:v>
                </c:pt>
                <c:pt idx="21">
                  <c:v>2.3900000000000001E-2</c:v>
                </c:pt>
                <c:pt idx="22">
                  <c:v>1.7399999999999999E-2</c:v>
                </c:pt>
                <c:pt idx="23">
                  <c:v>1.15E-2</c:v>
                </c:pt>
                <c:pt idx="24">
                  <c:v>8.1199999999999994E-2</c:v>
                </c:pt>
                <c:pt idx="25">
                  <c:v>8.1699999999999995E-2</c:v>
                </c:pt>
                <c:pt idx="26">
                  <c:v>0.202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F6-41C6-95F2-D245F4CAF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9B-4806-A400-32476AB6894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9B-4806-A400-32476AB68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132</c:v>
                </c:pt>
                <c:pt idx="1">
                  <c:v>0.1114</c:v>
                </c:pt>
                <c:pt idx="2">
                  <c:v>0.1043</c:v>
                </c:pt>
                <c:pt idx="3">
                  <c:v>0.1027</c:v>
                </c:pt>
                <c:pt idx="4">
                  <c:v>9.0700000000000003E-2</c:v>
                </c:pt>
                <c:pt idx="5">
                  <c:v>8.1000000000000003E-2</c:v>
                </c:pt>
                <c:pt idx="6">
                  <c:v>6.2300000000000001E-2</c:v>
                </c:pt>
                <c:pt idx="7">
                  <c:v>5.8299999999999998E-2</c:v>
                </c:pt>
                <c:pt idx="8">
                  <c:v>5.8000000000000003E-2</c:v>
                </c:pt>
                <c:pt idx="9">
                  <c:v>5.5199999999999999E-2</c:v>
                </c:pt>
                <c:pt idx="10">
                  <c:v>5.4300000000000001E-2</c:v>
                </c:pt>
                <c:pt idx="11">
                  <c:v>0.05</c:v>
                </c:pt>
                <c:pt idx="12">
                  <c:v>3.8199999999999998E-2</c:v>
                </c:pt>
                <c:pt idx="13">
                  <c:v>3.5000000000000003E-2</c:v>
                </c:pt>
                <c:pt idx="14">
                  <c:v>3.49E-2</c:v>
                </c:pt>
                <c:pt idx="15">
                  <c:v>3.1899999999999998E-2</c:v>
                </c:pt>
                <c:pt idx="16">
                  <c:v>2.92E-2</c:v>
                </c:pt>
                <c:pt idx="17">
                  <c:v>2.6800000000000001E-2</c:v>
                </c:pt>
                <c:pt idx="18">
                  <c:v>2.4400000000000002E-2</c:v>
                </c:pt>
                <c:pt idx="19">
                  <c:v>2.2700000000000001E-2</c:v>
                </c:pt>
                <c:pt idx="20">
                  <c:v>2.06E-2</c:v>
                </c:pt>
                <c:pt idx="21">
                  <c:v>2.0199999999999999E-2</c:v>
                </c:pt>
                <c:pt idx="22">
                  <c:v>1.66E-2</c:v>
                </c:pt>
                <c:pt idx="23">
                  <c:v>1.4999999999999999E-2</c:v>
                </c:pt>
                <c:pt idx="24">
                  <c:v>7.4899999999999994E-2</c:v>
                </c:pt>
                <c:pt idx="25">
                  <c:v>0.15</c:v>
                </c:pt>
                <c:pt idx="26">
                  <c:v>0.2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B-4806-A400-32476AB68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6-406B-BBE8-A10380AF8A0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6-406B-BBE8-A10380AF8A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166</c:v>
                </c:pt>
                <c:pt idx="1">
                  <c:v>0.1336</c:v>
                </c:pt>
                <c:pt idx="2">
                  <c:v>0.1366</c:v>
                </c:pt>
                <c:pt idx="3">
                  <c:v>0.1802</c:v>
                </c:pt>
                <c:pt idx="4">
                  <c:v>0.11600000000000001</c:v>
                </c:pt>
                <c:pt idx="5">
                  <c:v>6.5000000000000002E-2</c:v>
                </c:pt>
                <c:pt idx="6">
                  <c:v>2.1399999999999999E-2</c:v>
                </c:pt>
                <c:pt idx="7">
                  <c:v>9.4600000000000004E-2</c:v>
                </c:pt>
                <c:pt idx="8">
                  <c:v>3.4799999999999998E-2</c:v>
                </c:pt>
                <c:pt idx="9">
                  <c:v>0.11990000000000001</c:v>
                </c:pt>
                <c:pt idx="10">
                  <c:v>2.81E-2</c:v>
                </c:pt>
                <c:pt idx="11">
                  <c:v>5.4699999999999999E-2</c:v>
                </c:pt>
                <c:pt idx="12">
                  <c:v>5.3100000000000001E-2</c:v>
                </c:pt>
                <c:pt idx="13">
                  <c:v>4.07E-2</c:v>
                </c:pt>
                <c:pt idx="14">
                  <c:v>4.9500000000000002E-2</c:v>
                </c:pt>
                <c:pt idx="15">
                  <c:v>2.81E-2</c:v>
                </c:pt>
                <c:pt idx="16">
                  <c:v>3.9699999999999999E-2</c:v>
                </c:pt>
                <c:pt idx="17">
                  <c:v>2.9399999999999999E-2</c:v>
                </c:pt>
                <c:pt idx="18">
                  <c:v>3.4000000000000002E-2</c:v>
                </c:pt>
                <c:pt idx="19">
                  <c:v>1.11E-2</c:v>
                </c:pt>
                <c:pt idx="20">
                  <c:v>1.47E-2</c:v>
                </c:pt>
                <c:pt idx="21">
                  <c:v>3.9699999999999999E-2</c:v>
                </c:pt>
                <c:pt idx="22">
                  <c:v>1.3899999999999999E-2</c:v>
                </c:pt>
                <c:pt idx="23">
                  <c:v>1.34E-2</c:v>
                </c:pt>
                <c:pt idx="24">
                  <c:v>0.1095</c:v>
                </c:pt>
                <c:pt idx="25">
                  <c:v>0.14080000000000001</c:v>
                </c:pt>
                <c:pt idx="26">
                  <c:v>0.1839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B6-406B-BBE8-A10380AF8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31-49AE-A848-B2E25F3578B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31-49AE-A848-B2E25F3578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7.3899999999999993E-2</c:v>
                </c:pt>
                <c:pt idx="1">
                  <c:v>8.1199999999999994E-2</c:v>
                </c:pt>
                <c:pt idx="2">
                  <c:v>6.0499999999999998E-2</c:v>
                </c:pt>
                <c:pt idx="3">
                  <c:v>7.1300000000000002E-2</c:v>
                </c:pt>
                <c:pt idx="4">
                  <c:v>6.5500000000000003E-2</c:v>
                </c:pt>
                <c:pt idx="5">
                  <c:v>7.7499999999999999E-2</c:v>
                </c:pt>
                <c:pt idx="6">
                  <c:v>7.2400000000000006E-2</c:v>
                </c:pt>
                <c:pt idx="7">
                  <c:v>4.41E-2</c:v>
                </c:pt>
                <c:pt idx="8">
                  <c:v>4.6300000000000001E-2</c:v>
                </c:pt>
                <c:pt idx="9">
                  <c:v>2.18E-2</c:v>
                </c:pt>
                <c:pt idx="10">
                  <c:v>2.41E-2</c:v>
                </c:pt>
                <c:pt idx="11">
                  <c:v>3.2899999999999999E-2</c:v>
                </c:pt>
                <c:pt idx="12">
                  <c:v>2.86E-2</c:v>
                </c:pt>
                <c:pt idx="13">
                  <c:v>2.8500000000000001E-2</c:v>
                </c:pt>
                <c:pt idx="14">
                  <c:v>1.0999999999999999E-2</c:v>
                </c:pt>
                <c:pt idx="15">
                  <c:v>2.06E-2</c:v>
                </c:pt>
                <c:pt idx="16">
                  <c:v>3.2399999999999998E-2</c:v>
                </c:pt>
                <c:pt idx="17">
                  <c:v>3.2399999999999998E-2</c:v>
                </c:pt>
                <c:pt idx="18">
                  <c:v>2.35E-2</c:v>
                </c:pt>
                <c:pt idx="19">
                  <c:v>2.01E-2</c:v>
                </c:pt>
                <c:pt idx="20">
                  <c:v>1.44E-2</c:v>
                </c:pt>
                <c:pt idx="21">
                  <c:v>1.44E-2</c:v>
                </c:pt>
                <c:pt idx="22">
                  <c:v>2.92E-2</c:v>
                </c:pt>
                <c:pt idx="23">
                  <c:v>5.7000000000000002E-3</c:v>
                </c:pt>
                <c:pt idx="24">
                  <c:v>5.8000000000000003E-2</c:v>
                </c:pt>
                <c:pt idx="25">
                  <c:v>0.26879999999999998</c:v>
                </c:pt>
                <c:pt idx="26">
                  <c:v>0.302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1-49AE-A848-B2E25F357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7F6-41C6-95F2-D245F4CAF8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7F6-41C6-95F2-D245F4CAF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3239999999999999</c:v>
                </c:pt>
                <c:pt idx="1">
                  <c:v>0.122</c:v>
                </c:pt>
                <c:pt idx="2">
                  <c:v>0.1195</c:v>
                </c:pt>
                <c:pt idx="3">
                  <c:v>0.10199999999999999</c:v>
                </c:pt>
                <c:pt idx="4">
                  <c:v>9.8000000000000004E-2</c:v>
                </c:pt>
                <c:pt idx="5">
                  <c:v>8.6300000000000002E-2</c:v>
                </c:pt>
                <c:pt idx="6">
                  <c:v>6.59E-2</c:v>
                </c:pt>
                <c:pt idx="7">
                  <c:v>5.7700000000000001E-2</c:v>
                </c:pt>
                <c:pt idx="8">
                  <c:v>6.9000000000000006E-2</c:v>
                </c:pt>
                <c:pt idx="9">
                  <c:v>5.8299999999999998E-2</c:v>
                </c:pt>
                <c:pt idx="10">
                  <c:v>7.5300000000000006E-2</c:v>
                </c:pt>
                <c:pt idx="11">
                  <c:v>5.7700000000000001E-2</c:v>
                </c:pt>
                <c:pt idx="12">
                  <c:v>3.9800000000000002E-2</c:v>
                </c:pt>
                <c:pt idx="13">
                  <c:v>3.6999999999999998E-2</c:v>
                </c:pt>
                <c:pt idx="14">
                  <c:v>4.3900000000000002E-2</c:v>
                </c:pt>
                <c:pt idx="15">
                  <c:v>3.8399999999999997E-2</c:v>
                </c:pt>
                <c:pt idx="16">
                  <c:v>2.53E-2</c:v>
                </c:pt>
                <c:pt idx="17">
                  <c:v>2.3300000000000001E-2</c:v>
                </c:pt>
                <c:pt idx="18">
                  <c:v>2.2700000000000001E-2</c:v>
                </c:pt>
                <c:pt idx="19">
                  <c:v>2.6499999999999999E-2</c:v>
                </c:pt>
                <c:pt idx="20">
                  <c:v>2.5000000000000001E-2</c:v>
                </c:pt>
                <c:pt idx="21">
                  <c:v>1.89E-2</c:v>
                </c:pt>
                <c:pt idx="22">
                  <c:v>1.0800000000000001E-2</c:v>
                </c:pt>
                <c:pt idx="23">
                  <c:v>0.02</c:v>
                </c:pt>
                <c:pt idx="24">
                  <c:v>7.6100000000000001E-2</c:v>
                </c:pt>
                <c:pt idx="25">
                  <c:v>9.1700000000000004E-2</c:v>
                </c:pt>
                <c:pt idx="26">
                  <c:v>0.1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F6-41C6-95F2-D245F4CAF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2399999999999995</c:v>
                </c:pt>
                <c:pt idx="1">
                  <c:v>0.67710000000000004</c:v>
                </c:pt>
                <c:pt idx="2">
                  <c:v>0.66159999999999997</c:v>
                </c:pt>
                <c:pt idx="3">
                  <c:v>0.62980000000000003</c:v>
                </c:pt>
                <c:pt idx="4">
                  <c:v>0.56840000000000002</c:v>
                </c:pt>
                <c:pt idx="5">
                  <c:v>0.51400000000000001</c:v>
                </c:pt>
                <c:pt idx="6">
                  <c:v>0.50060000000000004</c:v>
                </c:pt>
                <c:pt idx="7">
                  <c:v>0.49159999999999998</c:v>
                </c:pt>
                <c:pt idx="8">
                  <c:v>0.48749999999999999</c:v>
                </c:pt>
                <c:pt idx="9">
                  <c:v>0.45639999999999997</c:v>
                </c:pt>
                <c:pt idx="10">
                  <c:v>0.44619999999999999</c:v>
                </c:pt>
                <c:pt idx="11">
                  <c:v>0.43090000000000001</c:v>
                </c:pt>
                <c:pt idx="12">
                  <c:v>0.38950000000000001</c:v>
                </c:pt>
                <c:pt idx="13">
                  <c:v>0.37540000000000001</c:v>
                </c:pt>
                <c:pt idx="14">
                  <c:v>0.35520000000000002</c:v>
                </c:pt>
                <c:pt idx="15">
                  <c:v>0.3538</c:v>
                </c:pt>
                <c:pt idx="16">
                  <c:v>0.32869999999999999</c:v>
                </c:pt>
                <c:pt idx="17">
                  <c:v>0.14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1485788113695106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1.6408268733850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1.6408268733850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7119999999999999</c:v>
                </c:pt>
                <c:pt idx="1">
                  <c:v>0.30909999999999999</c:v>
                </c:pt>
                <c:pt idx="2">
                  <c:v>0.32250000000000001</c:v>
                </c:pt>
                <c:pt idx="3">
                  <c:v>0.3478</c:v>
                </c:pt>
                <c:pt idx="4">
                  <c:v>0.39650000000000002</c:v>
                </c:pt>
                <c:pt idx="5">
                  <c:v>0.45929999999999999</c:v>
                </c:pt>
                <c:pt idx="6">
                  <c:v>0.45910000000000001</c:v>
                </c:pt>
                <c:pt idx="7">
                  <c:v>0.47089999999999999</c:v>
                </c:pt>
                <c:pt idx="8">
                  <c:v>0.48070000000000002</c:v>
                </c:pt>
                <c:pt idx="9">
                  <c:v>0.48149999999999998</c:v>
                </c:pt>
                <c:pt idx="10">
                  <c:v>0.51190000000000002</c:v>
                </c:pt>
                <c:pt idx="11">
                  <c:v>0.54</c:v>
                </c:pt>
                <c:pt idx="12">
                  <c:v>0.53890000000000005</c:v>
                </c:pt>
                <c:pt idx="13">
                  <c:v>0.58350000000000002</c:v>
                </c:pt>
                <c:pt idx="14">
                  <c:v>0.60050000000000003</c:v>
                </c:pt>
                <c:pt idx="15">
                  <c:v>0.57389999999999997</c:v>
                </c:pt>
                <c:pt idx="16">
                  <c:v>0.6159</c:v>
                </c:pt>
                <c:pt idx="17">
                  <c:v>0.339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 formatCode="0.0%">
                  <c:v>3.2000000000000002E-3</c:v>
                </c:pt>
                <c:pt idx="1">
                  <c:v>1.03E-2</c:v>
                </c:pt>
                <c:pt idx="2">
                  <c:v>1.34E-2</c:v>
                </c:pt>
                <c:pt idx="3">
                  <c:v>2.23E-2</c:v>
                </c:pt>
                <c:pt idx="4">
                  <c:v>3.5099999999999999E-2</c:v>
                </c:pt>
                <c:pt idx="5">
                  <c:v>2.5100000000000001E-2</c:v>
                </c:pt>
                <c:pt idx="6">
                  <c:v>2.6100000000000002E-2</c:v>
                </c:pt>
                <c:pt idx="7">
                  <c:v>3.4000000000000002E-2</c:v>
                </c:pt>
                <c:pt idx="8">
                  <c:v>2.8400000000000002E-2</c:v>
                </c:pt>
                <c:pt idx="9">
                  <c:v>6.0499999999999998E-2</c:v>
                </c:pt>
                <c:pt idx="10">
                  <c:v>3.8100000000000002E-2</c:v>
                </c:pt>
                <c:pt idx="11">
                  <c:v>2.4299999999999999E-2</c:v>
                </c:pt>
                <c:pt idx="12">
                  <c:v>5.8500000000000003E-2</c:v>
                </c:pt>
                <c:pt idx="13">
                  <c:v>3.9800000000000002E-2</c:v>
                </c:pt>
                <c:pt idx="14">
                  <c:v>4.4299999999999999E-2</c:v>
                </c:pt>
                <c:pt idx="15">
                  <c:v>6.9699999999999998E-2</c:v>
                </c:pt>
                <c:pt idx="16">
                  <c:v>3.9399999999999998E-2</c:v>
                </c:pt>
                <c:pt idx="17">
                  <c:v>0.514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0.0%</c:formatCode>
                <c:ptCount val="18"/>
                <c:pt idx="0">
                  <c:v>1.6000000000000001E-3</c:v>
                </c:pt>
                <c:pt idx="1">
                  <c:v>3.5000000000000001E-3</c:v>
                </c:pt>
                <c:pt idx="2">
                  <c:v>2.5000000000000001E-3</c:v>
                </c:pt>
                <c:pt idx="5">
                  <c:v>1.6000000000000001E-3</c:v>
                </c:pt>
                <c:pt idx="6" formatCode="0%">
                  <c:v>1.4200000000000001E-2</c:v>
                </c:pt>
                <c:pt idx="7">
                  <c:v>3.3999999999999998E-3</c:v>
                </c:pt>
                <c:pt idx="8">
                  <c:v>3.3999999999999998E-3</c:v>
                </c:pt>
                <c:pt idx="9">
                  <c:v>1.6000000000000001E-3</c:v>
                </c:pt>
                <c:pt idx="10">
                  <c:v>3.8E-3</c:v>
                </c:pt>
                <c:pt idx="11">
                  <c:v>4.7000000000000002E-3</c:v>
                </c:pt>
                <c:pt idx="12" formatCode="0%">
                  <c:v>1.32E-2</c:v>
                </c:pt>
                <c:pt idx="13">
                  <c:v>1.2999999999999999E-3</c:v>
                </c:pt>
                <c:pt idx="15">
                  <c:v>2.5000000000000001E-3</c:v>
                </c:pt>
                <c:pt idx="16" formatCode="0%">
                  <c:v>1.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05-4359-A1B0-0AB3899B0F65}"/>
              </c:ext>
            </c:extLst>
          </c:dPt>
          <c:dLbls>
            <c:dLbl>
              <c:idx val="17"/>
              <c:layout>
                <c:manualLayout>
                  <c:x val="-5.742894056847545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32A-47B2-A2F5-237A166AA9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67269999999999996</c:v>
                </c:pt>
                <c:pt idx="1">
                  <c:v>0.52110000000000001</c:v>
                </c:pt>
                <c:pt idx="2">
                  <c:v>0.59560000000000002</c:v>
                </c:pt>
                <c:pt idx="3">
                  <c:v>0.30130000000000001</c:v>
                </c:pt>
                <c:pt idx="4">
                  <c:v>0.25169999999999998</c:v>
                </c:pt>
                <c:pt idx="5">
                  <c:v>0.3034</c:v>
                </c:pt>
                <c:pt idx="6">
                  <c:v>0.27110000000000001</c:v>
                </c:pt>
                <c:pt idx="7">
                  <c:v>0.2656</c:v>
                </c:pt>
                <c:pt idx="8">
                  <c:v>0.28499999999999998</c:v>
                </c:pt>
                <c:pt idx="9">
                  <c:v>0.30070000000000002</c:v>
                </c:pt>
                <c:pt idx="10">
                  <c:v>0.18790000000000001</c:v>
                </c:pt>
                <c:pt idx="11">
                  <c:v>0.24579999999999999</c:v>
                </c:pt>
                <c:pt idx="12">
                  <c:v>0.28899999999999998</c:v>
                </c:pt>
                <c:pt idx="13">
                  <c:v>0.18190000000000001</c:v>
                </c:pt>
                <c:pt idx="14">
                  <c:v>0.17080000000000001</c:v>
                </c:pt>
                <c:pt idx="15">
                  <c:v>0.19339999999999999</c:v>
                </c:pt>
                <c:pt idx="16">
                  <c:v>0.1283</c:v>
                </c:pt>
                <c:pt idx="17">
                  <c:v>0.1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05-4359-A1B0-0AB3899B0F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9.3852552256288205E-2"/>
                  <c:y val="4.916420845624385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A3-4160-B429-6F0DA2372798}"/>
                </c:ext>
              </c:extLst>
            </c:dLbl>
            <c:dLbl>
              <c:idx val="1"/>
              <c:layout>
                <c:manualLayout>
                  <c:x val="-3.351876866296019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3A3-4160-B429-6F0DA23727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313</c:v>
                </c:pt>
                <c:pt idx="1">
                  <c:v>0.45150000000000001</c:v>
                </c:pt>
                <c:pt idx="2">
                  <c:v>0.39</c:v>
                </c:pt>
                <c:pt idx="3">
                  <c:v>0.60650000000000004</c:v>
                </c:pt>
                <c:pt idx="4">
                  <c:v>0.66369999999999996</c:v>
                </c:pt>
                <c:pt idx="5">
                  <c:v>0.65090000000000003</c:v>
                </c:pt>
                <c:pt idx="6">
                  <c:v>0.61470000000000002</c:v>
                </c:pt>
                <c:pt idx="7">
                  <c:v>0.65290000000000004</c:v>
                </c:pt>
                <c:pt idx="8">
                  <c:v>0.62319999999999998</c:v>
                </c:pt>
                <c:pt idx="9">
                  <c:v>0.61</c:v>
                </c:pt>
                <c:pt idx="10">
                  <c:v>0.71519999999999995</c:v>
                </c:pt>
                <c:pt idx="11">
                  <c:v>0.71120000000000005</c:v>
                </c:pt>
                <c:pt idx="12">
                  <c:v>0.56020000000000003</c:v>
                </c:pt>
                <c:pt idx="13">
                  <c:v>0.72599999999999998</c:v>
                </c:pt>
                <c:pt idx="14">
                  <c:v>0.66779999999999995</c:v>
                </c:pt>
                <c:pt idx="15">
                  <c:v>0.64500000000000002</c:v>
                </c:pt>
                <c:pt idx="16">
                  <c:v>0.75649999999999995</c:v>
                </c:pt>
                <c:pt idx="17">
                  <c:v>0.590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5-4359-A1B0-0AB3899B0F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>
                  <c:v>1.43E-2</c:v>
                </c:pt>
                <c:pt idx="1">
                  <c:v>1.43E-2</c:v>
                </c:pt>
                <c:pt idx="2">
                  <c:v>1.43E-2</c:v>
                </c:pt>
                <c:pt idx="3">
                  <c:v>9.2200000000000004E-2</c:v>
                </c:pt>
                <c:pt idx="4">
                  <c:v>8.4599999999999995E-2</c:v>
                </c:pt>
                <c:pt idx="5">
                  <c:v>4.5699999999999998E-2</c:v>
                </c:pt>
                <c:pt idx="6">
                  <c:v>7.8700000000000006E-2</c:v>
                </c:pt>
                <c:pt idx="7">
                  <c:v>8.1500000000000003E-2</c:v>
                </c:pt>
                <c:pt idx="8">
                  <c:v>9.1800000000000007E-2</c:v>
                </c:pt>
                <c:pt idx="9">
                  <c:v>8.9300000000000004E-2</c:v>
                </c:pt>
                <c:pt idx="10">
                  <c:v>9.69E-2</c:v>
                </c:pt>
                <c:pt idx="11">
                  <c:v>4.2999999999999997E-2</c:v>
                </c:pt>
                <c:pt idx="12">
                  <c:v>7.5700000000000003E-2</c:v>
                </c:pt>
                <c:pt idx="13">
                  <c:v>9.2200000000000004E-2</c:v>
                </c:pt>
                <c:pt idx="14">
                  <c:v>0.16139999999999999</c:v>
                </c:pt>
                <c:pt idx="15">
                  <c:v>0.16159999999999999</c:v>
                </c:pt>
                <c:pt idx="16">
                  <c:v>8.14E-2</c:v>
                </c:pt>
                <c:pt idx="17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05-4359-A1B0-0AB3899B0F6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0%</c:formatCode>
                <c:ptCount val="18"/>
                <c:pt idx="1">
                  <c:v>1.3100000000000001E-2</c:v>
                </c:pt>
                <c:pt idx="6">
                  <c:v>3.5400000000000001E-2</c:v>
                </c:pt>
                <c:pt idx="12">
                  <c:v>7.5200000000000003E-2</c:v>
                </c:pt>
                <c:pt idx="16">
                  <c:v>3.3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05-4359-A1B0-0AB3899B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Догляд за дитиною, декретна відпустка</c:v>
                </c:pt>
                <c:pt idx="1">
                  <c:v>Займаєтесь своїм хобі, собою, живете собі у задоволення</c:v>
                </c:pt>
                <c:pt idx="2">
                  <c:v>Ведете домашнє господарство</c:v>
                </c:pt>
                <c:pt idx="3">
                  <c:v>Інше</c:v>
                </c:pt>
                <c:pt idx="4">
                  <c:v>Важко сказат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39939999999999998</c:v>
                </c:pt>
                <c:pt idx="1">
                  <c:v>0.1729</c:v>
                </c:pt>
                <c:pt idx="2">
                  <c:v>1.8700000000000001E-2</c:v>
                </c:pt>
                <c:pt idx="3">
                  <c:v>7.2700000000000001E-2</c:v>
                </c:pt>
                <c:pt idx="4">
                  <c:v>0.336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27F-49C8-B8D5-5085D4622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2820000000000005</c:v>
                </c:pt>
                <c:pt idx="1">
                  <c:v>0.67430000000000001</c:v>
                </c:pt>
                <c:pt idx="2">
                  <c:v>0.66180000000000005</c:v>
                </c:pt>
                <c:pt idx="3">
                  <c:v>0.65590000000000004</c:v>
                </c:pt>
                <c:pt idx="4">
                  <c:v>0.56020000000000003</c:v>
                </c:pt>
                <c:pt idx="5">
                  <c:v>0.56559999999999999</c:v>
                </c:pt>
                <c:pt idx="6">
                  <c:v>0.52749999999999997</c:v>
                </c:pt>
                <c:pt idx="7">
                  <c:v>0.5484</c:v>
                </c:pt>
                <c:pt idx="8">
                  <c:v>0.55900000000000005</c:v>
                </c:pt>
                <c:pt idx="9">
                  <c:v>0.52449999999999997</c:v>
                </c:pt>
                <c:pt idx="10">
                  <c:v>0.57540000000000002</c:v>
                </c:pt>
                <c:pt idx="11">
                  <c:v>0.48620000000000002</c:v>
                </c:pt>
                <c:pt idx="12">
                  <c:v>0.48130000000000001</c:v>
                </c:pt>
                <c:pt idx="13">
                  <c:v>0.46560000000000001</c:v>
                </c:pt>
                <c:pt idx="14">
                  <c:v>0.46100000000000002</c:v>
                </c:pt>
                <c:pt idx="15">
                  <c:v>0.45190000000000002</c:v>
                </c:pt>
                <c:pt idx="16">
                  <c:v>0.43090000000000001</c:v>
                </c:pt>
                <c:pt idx="17">
                  <c:v>0.300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F-49C8-B8D5-5085D4622A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0055630598888021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033-4665-80F6-47DFC1CA2D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6189999999999999</c:v>
                </c:pt>
                <c:pt idx="1">
                  <c:v>0.312</c:v>
                </c:pt>
                <c:pt idx="2">
                  <c:v>0.32500000000000001</c:v>
                </c:pt>
                <c:pt idx="3">
                  <c:v>0.32690000000000002</c:v>
                </c:pt>
                <c:pt idx="4">
                  <c:v>0.40760000000000002</c:v>
                </c:pt>
                <c:pt idx="5">
                  <c:v>0.39329999999999998</c:v>
                </c:pt>
                <c:pt idx="6">
                  <c:v>0.43099999999999999</c:v>
                </c:pt>
                <c:pt idx="7">
                  <c:v>0.40839999999999999</c:v>
                </c:pt>
                <c:pt idx="8">
                  <c:v>0.41539999999999999</c:v>
                </c:pt>
                <c:pt idx="9">
                  <c:v>0.41860000000000003</c:v>
                </c:pt>
                <c:pt idx="10">
                  <c:v>0.38069999999999998</c:v>
                </c:pt>
                <c:pt idx="11">
                  <c:v>0.48370000000000002</c:v>
                </c:pt>
                <c:pt idx="12">
                  <c:v>0.436</c:v>
                </c:pt>
                <c:pt idx="13">
                  <c:v>0.48980000000000001</c:v>
                </c:pt>
                <c:pt idx="14">
                  <c:v>0.4945</c:v>
                </c:pt>
                <c:pt idx="15">
                  <c:v>0.50919999999999999</c:v>
                </c:pt>
                <c:pt idx="16">
                  <c:v>0.49440000000000001</c:v>
                </c:pt>
                <c:pt idx="17">
                  <c:v>0.3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7F-49C8-B8D5-5085D4622AA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 formatCode="0.0%">
                  <c:v>4.7000000000000002E-3</c:v>
                </c:pt>
                <c:pt idx="1">
                  <c:v>1.37E-2</c:v>
                </c:pt>
                <c:pt idx="2">
                  <c:v>1.3100000000000001E-2</c:v>
                </c:pt>
                <c:pt idx="3">
                  <c:v>1.72E-2</c:v>
                </c:pt>
                <c:pt idx="4">
                  <c:v>3.2199999999999999E-2</c:v>
                </c:pt>
                <c:pt idx="5">
                  <c:v>3.5799999999999998E-2</c:v>
                </c:pt>
                <c:pt idx="6">
                  <c:v>1.5299999999999999E-2</c:v>
                </c:pt>
                <c:pt idx="7">
                  <c:v>3.7499999999999999E-2</c:v>
                </c:pt>
                <c:pt idx="8">
                  <c:v>2.0299999999999999E-2</c:v>
                </c:pt>
                <c:pt idx="9">
                  <c:v>5.16E-2</c:v>
                </c:pt>
                <c:pt idx="10">
                  <c:v>3.5499999999999997E-2</c:v>
                </c:pt>
                <c:pt idx="11">
                  <c:v>1.8599999999999998E-2</c:v>
                </c:pt>
                <c:pt idx="12">
                  <c:v>7.6999999999999999E-2</c:v>
                </c:pt>
                <c:pt idx="13">
                  <c:v>4.4600000000000001E-2</c:v>
                </c:pt>
                <c:pt idx="14">
                  <c:v>4.4499999999999998E-2</c:v>
                </c:pt>
                <c:pt idx="15">
                  <c:v>3.8899999999999997E-2</c:v>
                </c:pt>
                <c:pt idx="16">
                  <c:v>5.3600000000000002E-2</c:v>
                </c:pt>
                <c:pt idx="17">
                  <c:v>0.360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7F-49C8-B8D5-5085D4622AA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0" formatCode="0%">
                  <c:v>5.3E-3</c:v>
                </c:pt>
                <c:pt idx="5" formatCode="0%">
                  <c:v>5.3E-3</c:v>
                </c:pt>
                <c:pt idx="6" formatCode="0%">
                  <c:v>2.6200000000000001E-2</c:v>
                </c:pt>
                <c:pt idx="7" formatCode="0%">
                  <c:v>5.7000000000000002E-3</c:v>
                </c:pt>
                <c:pt idx="8" formatCode="0%">
                  <c:v>5.3E-3</c:v>
                </c:pt>
                <c:pt idx="9" formatCode="0%">
                  <c:v>5.3E-3</c:v>
                </c:pt>
                <c:pt idx="10" formatCode="0%">
                  <c:v>8.3999999999999995E-3</c:v>
                </c:pt>
                <c:pt idx="11" formatCode="0%">
                  <c:v>1.15E-2</c:v>
                </c:pt>
                <c:pt idx="12" formatCode="0%">
                  <c:v>5.7000000000000002E-3</c:v>
                </c:pt>
                <c:pt idx="16" formatCode="0%">
                  <c:v>2.11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7F-49C8-B8D5-5085D4622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860-409A-BEC4-9CA9D09CDB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5560000000000003</c:v>
                </c:pt>
                <c:pt idx="1">
                  <c:v>0.71330000000000005</c:v>
                </c:pt>
                <c:pt idx="2">
                  <c:v>0.67630000000000001</c:v>
                </c:pt>
                <c:pt idx="3">
                  <c:v>0.68969999999999998</c:v>
                </c:pt>
                <c:pt idx="4">
                  <c:v>0.64339999999999997</c:v>
                </c:pt>
                <c:pt idx="5">
                  <c:v>0.53439999999999999</c:v>
                </c:pt>
                <c:pt idx="6">
                  <c:v>0.53790000000000004</c:v>
                </c:pt>
                <c:pt idx="7">
                  <c:v>0.51280000000000003</c:v>
                </c:pt>
                <c:pt idx="8">
                  <c:v>0.49569999999999997</c:v>
                </c:pt>
                <c:pt idx="9">
                  <c:v>0.45590000000000003</c:v>
                </c:pt>
                <c:pt idx="10">
                  <c:v>0.43709999999999999</c:v>
                </c:pt>
                <c:pt idx="11">
                  <c:v>0.44369999999999998</c:v>
                </c:pt>
                <c:pt idx="12">
                  <c:v>0.36449999999999999</c:v>
                </c:pt>
                <c:pt idx="13">
                  <c:v>0.372</c:v>
                </c:pt>
                <c:pt idx="14">
                  <c:v>0.3417</c:v>
                </c:pt>
                <c:pt idx="15">
                  <c:v>0.33889999999999998</c:v>
                </c:pt>
                <c:pt idx="16">
                  <c:v>0.3206</c:v>
                </c:pt>
                <c:pt idx="17">
                  <c:v>7.2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60-409A-BEC4-9CA9D09CDB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444</c:v>
                </c:pt>
                <c:pt idx="1">
                  <c:v>0.27579999999999999</c:v>
                </c:pt>
                <c:pt idx="2">
                  <c:v>0.30609999999999998</c:v>
                </c:pt>
                <c:pt idx="3">
                  <c:v>0.3009</c:v>
                </c:pt>
                <c:pt idx="4">
                  <c:v>0.33110000000000001</c:v>
                </c:pt>
                <c:pt idx="5">
                  <c:v>0.45069999999999999</c:v>
                </c:pt>
                <c:pt idx="6">
                  <c:v>0.439</c:v>
                </c:pt>
                <c:pt idx="7">
                  <c:v>0.46260000000000001</c:v>
                </c:pt>
                <c:pt idx="8">
                  <c:v>0.48270000000000002</c:v>
                </c:pt>
                <c:pt idx="9">
                  <c:v>0.48530000000000001</c:v>
                </c:pt>
                <c:pt idx="10">
                  <c:v>0.5343</c:v>
                </c:pt>
                <c:pt idx="11">
                  <c:v>0.53090000000000004</c:v>
                </c:pt>
                <c:pt idx="12">
                  <c:v>0.58720000000000006</c:v>
                </c:pt>
                <c:pt idx="13">
                  <c:v>0.60009999999999997</c:v>
                </c:pt>
                <c:pt idx="14">
                  <c:v>0.64029999999999998</c:v>
                </c:pt>
                <c:pt idx="15">
                  <c:v>0.59160000000000001</c:v>
                </c:pt>
                <c:pt idx="16">
                  <c:v>0.64739999999999998</c:v>
                </c:pt>
                <c:pt idx="17">
                  <c:v>0.2831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60-409A-BEC4-9CA9D09CDB4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1">
                  <c:v>7.7000000000000002E-3</c:v>
                </c:pt>
                <c:pt idx="2">
                  <c:v>1.3299999999999999E-2</c:v>
                </c:pt>
                <c:pt idx="3">
                  <c:v>9.4000000000000004E-3</c:v>
                </c:pt>
                <c:pt idx="4">
                  <c:v>2.5499999999999998E-2</c:v>
                </c:pt>
                <c:pt idx="5">
                  <c:v>1.49E-2</c:v>
                </c:pt>
                <c:pt idx="6">
                  <c:v>1.9900000000000001E-2</c:v>
                </c:pt>
                <c:pt idx="7">
                  <c:v>2.1600000000000001E-2</c:v>
                </c:pt>
                <c:pt idx="8">
                  <c:v>1.84E-2</c:v>
                </c:pt>
                <c:pt idx="9">
                  <c:v>5.8799999999999998E-2</c:v>
                </c:pt>
                <c:pt idx="10">
                  <c:v>2.63E-2</c:v>
                </c:pt>
                <c:pt idx="11">
                  <c:v>2.3099999999999999E-2</c:v>
                </c:pt>
                <c:pt idx="12">
                  <c:v>4.5100000000000001E-2</c:v>
                </c:pt>
                <c:pt idx="13">
                  <c:v>2.5700000000000001E-2</c:v>
                </c:pt>
                <c:pt idx="14">
                  <c:v>1.7999999999999999E-2</c:v>
                </c:pt>
                <c:pt idx="15">
                  <c:v>6.5100000000000005E-2</c:v>
                </c:pt>
                <c:pt idx="16">
                  <c:v>2.2599999999999999E-2</c:v>
                </c:pt>
                <c:pt idx="17">
                  <c:v>0.6448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60-409A-BEC4-9CA9D09CDB4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0.0%</c:formatCode>
                <c:ptCount val="18"/>
                <c:pt idx="1">
                  <c:v>3.2000000000000002E-3</c:v>
                </c:pt>
                <c:pt idx="2">
                  <c:v>4.4000000000000003E-3</c:v>
                </c:pt>
                <c:pt idx="6">
                  <c:v>3.2000000000000002E-3</c:v>
                </c:pt>
                <c:pt idx="7">
                  <c:v>3.0000000000000001E-3</c:v>
                </c:pt>
                <c:pt idx="8">
                  <c:v>3.2000000000000002E-3</c:v>
                </c:pt>
                <c:pt idx="10">
                  <c:v>2.2000000000000001E-3</c:v>
                </c:pt>
                <c:pt idx="11">
                  <c:v>2.2000000000000001E-3</c:v>
                </c:pt>
                <c:pt idx="12">
                  <c:v>3.2000000000000002E-3</c:v>
                </c:pt>
                <c:pt idx="13">
                  <c:v>2.2000000000000001E-3</c:v>
                </c:pt>
                <c:pt idx="15">
                  <c:v>4.4000000000000003E-3</c:v>
                </c:pt>
                <c:pt idx="16" formatCode="0%">
                  <c:v>9.4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60-409A-BEC4-9CA9D09CD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2399999999999995</c:v>
                </c:pt>
                <c:pt idx="1">
                  <c:v>0.67710000000000004</c:v>
                </c:pt>
                <c:pt idx="2">
                  <c:v>0.66159999999999997</c:v>
                </c:pt>
                <c:pt idx="3">
                  <c:v>0.62980000000000003</c:v>
                </c:pt>
                <c:pt idx="4">
                  <c:v>0.56840000000000002</c:v>
                </c:pt>
                <c:pt idx="5">
                  <c:v>0.51400000000000001</c:v>
                </c:pt>
                <c:pt idx="6">
                  <c:v>0.50060000000000004</c:v>
                </c:pt>
                <c:pt idx="7">
                  <c:v>0.49159999999999998</c:v>
                </c:pt>
                <c:pt idx="8">
                  <c:v>0.48749999999999999</c:v>
                </c:pt>
                <c:pt idx="9">
                  <c:v>0.45639999999999997</c:v>
                </c:pt>
                <c:pt idx="10">
                  <c:v>0.44619999999999999</c:v>
                </c:pt>
                <c:pt idx="11">
                  <c:v>0.43090000000000001</c:v>
                </c:pt>
                <c:pt idx="12">
                  <c:v>0.38950000000000001</c:v>
                </c:pt>
                <c:pt idx="13">
                  <c:v>0.37540000000000001</c:v>
                </c:pt>
                <c:pt idx="14">
                  <c:v>0.35520000000000002</c:v>
                </c:pt>
                <c:pt idx="15">
                  <c:v>0.3538</c:v>
                </c:pt>
                <c:pt idx="16">
                  <c:v>0.32869999999999999</c:v>
                </c:pt>
                <c:pt idx="17">
                  <c:v>0.14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1485788113695106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1.6408268733850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1.6408268733850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7119999999999999</c:v>
                </c:pt>
                <c:pt idx="1">
                  <c:v>0.30909999999999999</c:v>
                </c:pt>
                <c:pt idx="2">
                  <c:v>0.32250000000000001</c:v>
                </c:pt>
                <c:pt idx="3">
                  <c:v>0.3478</c:v>
                </c:pt>
                <c:pt idx="4">
                  <c:v>0.39650000000000002</c:v>
                </c:pt>
                <c:pt idx="5">
                  <c:v>0.45929999999999999</c:v>
                </c:pt>
                <c:pt idx="6">
                  <c:v>0.45910000000000001</c:v>
                </c:pt>
                <c:pt idx="7">
                  <c:v>0.47089999999999999</c:v>
                </c:pt>
                <c:pt idx="8">
                  <c:v>0.48070000000000002</c:v>
                </c:pt>
                <c:pt idx="9">
                  <c:v>0.48149999999999998</c:v>
                </c:pt>
                <c:pt idx="10">
                  <c:v>0.51190000000000002</c:v>
                </c:pt>
                <c:pt idx="11">
                  <c:v>0.54</c:v>
                </c:pt>
                <c:pt idx="12">
                  <c:v>0.53890000000000005</c:v>
                </c:pt>
                <c:pt idx="13">
                  <c:v>0.58350000000000002</c:v>
                </c:pt>
                <c:pt idx="14">
                  <c:v>0.60050000000000003</c:v>
                </c:pt>
                <c:pt idx="15">
                  <c:v>0.57389999999999997</c:v>
                </c:pt>
                <c:pt idx="16">
                  <c:v>0.6159</c:v>
                </c:pt>
                <c:pt idx="17">
                  <c:v>0.339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 formatCode="0.0%">
                  <c:v>3.2000000000000002E-3</c:v>
                </c:pt>
                <c:pt idx="1">
                  <c:v>1.03E-2</c:v>
                </c:pt>
                <c:pt idx="2">
                  <c:v>1.34E-2</c:v>
                </c:pt>
                <c:pt idx="3">
                  <c:v>2.23E-2</c:v>
                </c:pt>
                <c:pt idx="4">
                  <c:v>3.5099999999999999E-2</c:v>
                </c:pt>
                <c:pt idx="5">
                  <c:v>2.5100000000000001E-2</c:v>
                </c:pt>
                <c:pt idx="6">
                  <c:v>2.6100000000000002E-2</c:v>
                </c:pt>
                <c:pt idx="7">
                  <c:v>3.4000000000000002E-2</c:v>
                </c:pt>
                <c:pt idx="8">
                  <c:v>2.8400000000000002E-2</c:v>
                </c:pt>
                <c:pt idx="9">
                  <c:v>6.0499999999999998E-2</c:v>
                </c:pt>
                <c:pt idx="10">
                  <c:v>3.8100000000000002E-2</c:v>
                </c:pt>
                <c:pt idx="11">
                  <c:v>2.4299999999999999E-2</c:v>
                </c:pt>
                <c:pt idx="12">
                  <c:v>5.8500000000000003E-2</c:v>
                </c:pt>
                <c:pt idx="13">
                  <c:v>3.9800000000000002E-2</c:v>
                </c:pt>
                <c:pt idx="14">
                  <c:v>4.4299999999999999E-2</c:v>
                </c:pt>
                <c:pt idx="15">
                  <c:v>6.9699999999999998E-2</c:v>
                </c:pt>
                <c:pt idx="16">
                  <c:v>3.9399999999999998E-2</c:v>
                </c:pt>
                <c:pt idx="17">
                  <c:v>0.514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0.0%</c:formatCode>
                <c:ptCount val="18"/>
                <c:pt idx="0">
                  <c:v>1.6000000000000001E-3</c:v>
                </c:pt>
                <c:pt idx="1">
                  <c:v>3.5000000000000001E-3</c:v>
                </c:pt>
                <c:pt idx="2">
                  <c:v>2.5000000000000001E-3</c:v>
                </c:pt>
                <c:pt idx="5">
                  <c:v>1.6000000000000001E-3</c:v>
                </c:pt>
                <c:pt idx="6" formatCode="0%">
                  <c:v>1.4200000000000001E-2</c:v>
                </c:pt>
                <c:pt idx="7">
                  <c:v>3.3999999999999998E-3</c:v>
                </c:pt>
                <c:pt idx="8">
                  <c:v>3.3999999999999998E-3</c:v>
                </c:pt>
                <c:pt idx="9">
                  <c:v>1.6000000000000001E-3</c:v>
                </c:pt>
                <c:pt idx="10">
                  <c:v>3.8E-3</c:v>
                </c:pt>
                <c:pt idx="11">
                  <c:v>4.7000000000000002E-3</c:v>
                </c:pt>
                <c:pt idx="12" formatCode="0%">
                  <c:v>1.32E-2</c:v>
                </c:pt>
                <c:pt idx="13">
                  <c:v>1.2999999999999999E-3</c:v>
                </c:pt>
                <c:pt idx="15">
                  <c:v>2.5000000000000001E-3</c:v>
                </c:pt>
                <c:pt idx="16" formatCode="0%">
                  <c:v>1.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05-4359-A1B0-0AB3899B0F65}"/>
              </c:ext>
            </c:extLst>
          </c:dPt>
          <c:dLbls>
            <c:dLbl>
              <c:idx val="17"/>
              <c:layout>
                <c:manualLayout>
                  <c:x val="-5.742894056847545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32A-47B2-A2F5-237A166AA9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68979999999999997</c:v>
                </c:pt>
                <c:pt idx="1">
                  <c:v>0.54790000000000005</c:v>
                </c:pt>
                <c:pt idx="2">
                  <c:v>0.53090000000000004</c:v>
                </c:pt>
                <c:pt idx="3">
                  <c:v>0.38840000000000002</c:v>
                </c:pt>
                <c:pt idx="4">
                  <c:v>0.46529999999999999</c:v>
                </c:pt>
                <c:pt idx="5">
                  <c:v>0.3604</c:v>
                </c:pt>
                <c:pt idx="6">
                  <c:v>0.38080000000000003</c:v>
                </c:pt>
                <c:pt idx="7">
                  <c:v>0.34370000000000001</c:v>
                </c:pt>
                <c:pt idx="8">
                  <c:v>0.40789999999999998</c:v>
                </c:pt>
                <c:pt idx="9">
                  <c:v>0.30280000000000001</c:v>
                </c:pt>
                <c:pt idx="10">
                  <c:v>0.29909999999999998</c:v>
                </c:pt>
                <c:pt idx="11">
                  <c:v>0.2349</c:v>
                </c:pt>
                <c:pt idx="12">
                  <c:v>0.25390000000000001</c:v>
                </c:pt>
                <c:pt idx="13">
                  <c:v>0.23319999999999999</c:v>
                </c:pt>
                <c:pt idx="14">
                  <c:v>0.26850000000000002</c:v>
                </c:pt>
                <c:pt idx="15">
                  <c:v>0.2321</c:v>
                </c:pt>
                <c:pt idx="16">
                  <c:v>0.21479999999999999</c:v>
                </c:pt>
                <c:pt idx="17">
                  <c:v>0.154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05-4359-A1B0-0AB3899B0F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6.033378359332813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A3-4160-B429-6F0DA2372798}"/>
                </c:ext>
              </c:extLst>
            </c:dLbl>
            <c:dLbl>
              <c:idx val="1"/>
              <c:layout>
                <c:manualLayout>
                  <c:x val="-4.6926276128144102E-2"/>
                  <c:y val="2.458210422955279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3A3-4160-B429-6F0DA2372798}"/>
                </c:ext>
              </c:extLst>
            </c:dLbl>
            <c:dLbl>
              <c:idx val="2"/>
              <c:layout>
                <c:manualLayout>
                  <c:x val="-3.351876866296007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2DC-4C83-86B9-92D7958A9A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31019999999999998</c:v>
                </c:pt>
                <c:pt idx="1">
                  <c:v>0.44180000000000003</c:v>
                </c:pt>
                <c:pt idx="2">
                  <c:v>0.43959999999999999</c:v>
                </c:pt>
                <c:pt idx="3">
                  <c:v>0.48230000000000001</c:v>
                </c:pt>
                <c:pt idx="4">
                  <c:v>0.41020000000000001</c:v>
                </c:pt>
                <c:pt idx="5">
                  <c:v>0.5857</c:v>
                </c:pt>
                <c:pt idx="6">
                  <c:v>0.52059999999999995</c:v>
                </c:pt>
                <c:pt idx="7">
                  <c:v>0.51129999999999998</c:v>
                </c:pt>
                <c:pt idx="8">
                  <c:v>0.51910000000000001</c:v>
                </c:pt>
                <c:pt idx="9">
                  <c:v>0.52529999999999999</c:v>
                </c:pt>
                <c:pt idx="10">
                  <c:v>0.60219999999999996</c:v>
                </c:pt>
                <c:pt idx="11">
                  <c:v>0.628</c:v>
                </c:pt>
                <c:pt idx="12">
                  <c:v>0.62660000000000005</c:v>
                </c:pt>
                <c:pt idx="13">
                  <c:v>0.59370000000000001</c:v>
                </c:pt>
                <c:pt idx="14">
                  <c:v>0.62450000000000006</c:v>
                </c:pt>
                <c:pt idx="15">
                  <c:v>0.64600000000000002</c:v>
                </c:pt>
                <c:pt idx="16">
                  <c:v>0.64070000000000005</c:v>
                </c:pt>
                <c:pt idx="17">
                  <c:v>0.4134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5-4359-A1B0-0AB3899B0F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1">
                  <c:v>1.03E-2</c:v>
                </c:pt>
                <c:pt idx="2">
                  <c:v>2.9399999999999999E-2</c:v>
                </c:pt>
                <c:pt idx="3">
                  <c:v>0.1293</c:v>
                </c:pt>
                <c:pt idx="4">
                  <c:v>0.1245</c:v>
                </c:pt>
                <c:pt idx="5">
                  <c:v>5.3999999999999999E-2</c:v>
                </c:pt>
                <c:pt idx="6">
                  <c:v>6.88E-2</c:v>
                </c:pt>
                <c:pt idx="7">
                  <c:v>0.1177</c:v>
                </c:pt>
                <c:pt idx="8">
                  <c:v>7.2999999999999995E-2</c:v>
                </c:pt>
                <c:pt idx="9">
                  <c:v>0.1719</c:v>
                </c:pt>
                <c:pt idx="10">
                  <c:v>9.8699999999999996E-2</c:v>
                </c:pt>
                <c:pt idx="11">
                  <c:v>0.10979999999999999</c:v>
                </c:pt>
                <c:pt idx="12">
                  <c:v>8.6900000000000005E-2</c:v>
                </c:pt>
                <c:pt idx="13">
                  <c:v>0.17319999999999999</c:v>
                </c:pt>
                <c:pt idx="14">
                  <c:v>0.1069</c:v>
                </c:pt>
                <c:pt idx="15">
                  <c:v>0.12189999999999999</c:v>
                </c:pt>
                <c:pt idx="16">
                  <c:v>0.1012</c:v>
                </c:pt>
                <c:pt idx="17">
                  <c:v>0.4316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05-4359-A1B0-0AB3899B0F6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6" formatCode="0%">
                  <c:v>2.9700000000000001E-2</c:v>
                </c:pt>
                <c:pt idx="7" formatCode="0%">
                  <c:v>2.7300000000000001E-2</c:v>
                </c:pt>
                <c:pt idx="11" formatCode="0%">
                  <c:v>2.7300000000000001E-2</c:v>
                </c:pt>
                <c:pt idx="12" formatCode="0%">
                  <c:v>3.2599999999999997E-2</c:v>
                </c:pt>
                <c:pt idx="16" formatCode="0%">
                  <c:v>4.32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05-4359-A1B0-0AB3899B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27F-49C8-B8D5-5085D4622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1430000000000002</c:v>
                </c:pt>
                <c:pt idx="1">
                  <c:v>0.70209999999999995</c:v>
                </c:pt>
                <c:pt idx="2">
                  <c:v>0.68769999999999998</c:v>
                </c:pt>
                <c:pt idx="3">
                  <c:v>0.60719999999999996</c:v>
                </c:pt>
                <c:pt idx="4">
                  <c:v>0.55149999999999999</c:v>
                </c:pt>
                <c:pt idx="5">
                  <c:v>0.59889999999999999</c:v>
                </c:pt>
                <c:pt idx="6">
                  <c:v>0.53080000000000005</c:v>
                </c:pt>
                <c:pt idx="7">
                  <c:v>0.57479999999999998</c:v>
                </c:pt>
                <c:pt idx="8">
                  <c:v>0.57520000000000004</c:v>
                </c:pt>
                <c:pt idx="9">
                  <c:v>0.56499999999999995</c:v>
                </c:pt>
                <c:pt idx="10">
                  <c:v>0.55269999999999997</c:v>
                </c:pt>
                <c:pt idx="11">
                  <c:v>0.53220000000000001</c:v>
                </c:pt>
                <c:pt idx="12">
                  <c:v>0.47749999999999998</c:v>
                </c:pt>
                <c:pt idx="13">
                  <c:v>0.47939999999999999</c:v>
                </c:pt>
                <c:pt idx="14">
                  <c:v>0.42499999999999999</c:v>
                </c:pt>
                <c:pt idx="15">
                  <c:v>0.48709999999999998</c:v>
                </c:pt>
                <c:pt idx="16">
                  <c:v>0.42949999999999999</c:v>
                </c:pt>
                <c:pt idx="17">
                  <c:v>0.2894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F-49C8-B8D5-5085D4622A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8.044504479110417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033-4665-80F6-47DFC1CA2D67}"/>
                </c:ext>
              </c:extLst>
            </c:dLbl>
            <c:dLbl>
              <c:idx val="3"/>
              <c:layout>
                <c:manualLayout>
                  <c:x val="-1.340750746518402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FD1-4D99-9125-CDC78CCEF2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757</c:v>
                </c:pt>
                <c:pt idx="1">
                  <c:v>0.28310000000000002</c:v>
                </c:pt>
                <c:pt idx="2">
                  <c:v>0.29430000000000001</c:v>
                </c:pt>
                <c:pt idx="3">
                  <c:v>0.38279999999999997</c:v>
                </c:pt>
                <c:pt idx="4">
                  <c:v>0.42859999999999998</c:v>
                </c:pt>
                <c:pt idx="5">
                  <c:v>0.37019999999999997</c:v>
                </c:pt>
                <c:pt idx="6">
                  <c:v>0.4128</c:v>
                </c:pt>
                <c:pt idx="7">
                  <c:v>0.39660000000000001</c:v>
                </c:pt>
                <c:pt idx="8">
                  <c:v>0.38529999999999998</c:v>
                </c:pt>
                <c:pt idx="9">
                  <c:v>0.38219999999999998</c:v>
                </c:pt>
                <c:pt idx="10">
                  <c:v>0.40849999999999997</c:v>
                </c:pt>
                <c:pt idx="11">
                  <c:v>0.46339999999999998</c:v>
                </c:pt>
                <c:pt idx="12">
                  <c:v>0.44119999999999998</c:v>
                </c:pt>
                <c:pt idx="13">
                  <c:v>0.49440000000000001</c:v>
                </c:pt>
                <c:pt idx="14">
                  <c:v>0.53439999999999999</c:v>
                </c:pt>
                <c:pt idx="15">
                  <c:v>0.43009999999999998</c:v>
                </c:pt>
                <c:pt idx="16">
                  <c:v>0.51980000000000004</c:v>
                </c:pt>
                <c:pt idx="17">
                  <c:v>0.361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7F-49C8-B8D5-5085D4622AA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 formatCode="0.0%">
                  <c:v>4.7000000000000002E-3</c:v>
                </c:pt>
                <c:pt idx="1">
                  <c:v>9.1000000000000004E-3</c:v>
                </c:pt>
                <c:pt idx="2">
                  <c:v>1.7899999999999999E-2</c:v>
                </c:pt>
                <c:pt idx="3">
                  <c:v>1.01E-2</c:v>
                </c:pt>
                <c:pt idx="4">
                  <c:v>1.9900000000000001E-2</c:v>
                </c:pt>
                <c:pt idx="5">
                  <c:v>2.5600000000000001E-2</c:v>
                </c:pt>
                <c:pt idx="6">
                  <c:v>2.7099999999999999E-2</c:v>
                </c:pt>
                <c:pt idx="7">
                  <c:v>2.86E-2</c:v>
                </c:pt>
                <c:pt idx="8">
                  <c:v>3.4099999999999998E-2</c:v>
                </c:pt>
                <c:pt idx="9">
                  <c:v>4.7500000000000001E-2</c:v>
                </c:pt>
                <c:pt idx="10">
                  <c:v>3.0300000000000001E-2</c:v>
                </c:pt>
                <c:pt idx="12">
                  <c:v>5.6599999999999998E-2</c:v>
                </c:pt>
                <c:pt idx="13">
                  <c:v>2.18E-2</c:v>
                </c:pt>
                <c:pt idx="14">
                  <c:v>4.0599999999999997E-2</c:v>
                </c:pt>
                <c:pt idx="15">
                  <c:v>8.2699999999999996E-2</c:v>
                </c:pt>
                <c:pt idx="16">
                  <c:v>3.3700000000000001E-2</c:v>
                </c:pt>
                <c:pt idx="17">
                  <c:v>0.3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7F-49C8-B8D5-5085D4622AA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0%</c:formatCode>
                <c:ptCount val="18"/>
                <c:pt idx="0">
                  <c:v>5.3E-3</c:v>
                </c:pt>
                <c:pt idx="1">
                  <c:v>5.7000000000000002E-3</c:v>
                </c:pt>
                <c:pt idx="5">
                  <c:v>5.3E-3</c:v>
                </c:pt>
                <c:pt idx="6">
                  <c:v>2.93E-2</c:v>
                </c:pt>
                <c:pt idx="8">
                  <c:v>5.3E-3</c:v>
                </c:pt>
                <c:pt idx="9">
                  <c:v>5.3E-3</c:v>
                </c:pt>
                <c:pt idx="10">
                  <c:v>8.5000000000000006E-3</c:v>
                </c:pt>
                <c:pt idx="11" formatCode="0.0%">
                  <c:v>4.4000000000000003E-3</c:v>
                </c:pt>
                <c:pt idx="12">
                  <c:v>2.46E-2</c:v>
                </c:pt>
                <c:pt idx="13" formatCode="0.0%">
                  <c:v>4.4000000000000003E-3</c:v>
                </c:pt>
                <c:pt idx="16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7F-49C8-B8D5-5085D4622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860-409A-BEC4-9CA9D09CDB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5780000000000001</c:v>
                </c:pt>
                <c:pt idx="1">
                  <c:v>0.69220000000000004</c:v>
                </c:pt>
                <c:pt idx="2">
                  <c:v>0.67649999999999999</c:v>
                </c:pt>
                <c:pt idx="3">
                  <c:v>0.69330000000000003</c:v>
                </c:pt>
                <c:pt idx="4">
                  <c:v>0.59919999999999995</c:v>
                </c:pt>
                <c:pt idx="5">
                  <c:v>0.504</c:v>
                </c:pt>
                <c:pt idx="6">
                  <c:v>0.5111</c:v>
                </c:pt>
                <c:pt idx="7">
                  <c:v>0.48130000000000001</c:v>
                </c:pt>
                <c:pt idx="8">
                  <c:v>0.46010000000000001</c:v>
                </c:pt>
                <c:pt idx="9">
                  <c:v>0.43430000000000002</c:v>
                </c:pt>
                <c:pt idx="10">
                  <c:v>0.42380000000000001</c:v>
                </c:pt>
                <c:pt idx="11">
                  <c:v>0.42180000000000001</c:v>
                </c:pt>
                <c:pt idx="12">
                  <c:v>0.374</c:v>
                </c:pt>
                <c:pt idx="13">
                  <c:v>0.35320000000000001</c:v>
                </c:pt>
                <c:pt idx="14">
                  <c:v>0.33839999999999998</c:v>
                </c:pt>
                <c:pt idx="15">
                  <c:v>0.31240000000000001</c:v>
                </c:pt>
                <c:pt idx="16">
                  <c:v>0.30199999999999999</c:v>
                </c:pt>
                <c:pt idx="17">
                  <c:v>7.13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60-409A-BEC4-9CA9D09CDB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0726005972147223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F78-45D7-B7B3-C0982BD584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3900000000000001</c:v>
                </c:pt>
                <c:pt idx="1">
                  <c:v>0.29370000000000002</c:v>
                </c:pt>
                <c:pt idx="2">
                  <c:v>0.31159999999999999</c:v>
                </c:pt>
                <c:pt idx="3">
                  <c:v>0.30109999999999998</c:v>
                </c:pt>
                <c:pt idx="4">
                  <c:v>0.37730000000000002</c:v>
                </c:pt>
                <c:pt idx="5">
                  <c:v>0.47739999999999999</c:v>
                </c:pt>
                <c:pt idx="6">
                  <c:v>0.46939999999999998</c:v>
                </c:pt>
                <c:pt idx="7">
                  <c:v>0.5</c:v>
                </c:pt>
                <c:pt idx="8">
                  <c:v>0.52090000000000003</c:v>
                </c:pt>
                <c:pt idx="9">
                  <c:v>0.52249999999999996</c:v>
                </c:pt>
                <c:pt idx="10">
                  <c:v>0.54490000000000005</c:v>
                </c:pt>
                <c:pt idx="11">
                  <c:v>0.56000000000000005</c:v>
                </c:pt>
                <c:pt idx="12">
                  <c:v>0.56950000000000001</c:v>
                </c:pt>
                <c:pt idx="13">
                  <c:v>0.62649999999999995</c:v>
                </c:pt>
                <c:pt idx="14">
                  <c:v>0.62890000000000001</c:v>
                </c:pt>
                <c:pt idx="15">
                  <c:v>0.63139999999999996</c:v>
                </c:pt>
                <c:pt idx="16">
                  <c:v>0.65939999999999999</c:v>
                </c:pt>
                <c:pt idx="17">
                  <c:v>0.3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60-409A-BEC4-9CA9D09CDB4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 formatCode="0.0%">
                  <c:v>3.2000000000000002E-3</c:v>
                </c:pt>
                <c:pt idx="1">
                  <c:v>1.09E-2</c:v>
                </c:pt>
                <c:pt idx="2">
                  <c:v>7.6E-3</c:v>
                </c:pt>
                <c:pt idx="3">
                  <c:v>5.5999999999999999E-3</c:v>
                </c:pt>
                <c:pt idx="4">
                  <c:v>2.35E-2</c:v>
                </c:pt>
                <c:pt idx="5">
                  <c:v>1.8599999999999998E-2</c:v>
                </c:pt>
                <c:pt idx="6">
                  <c:v>1.6400000000000001E-2</c:v>
                </c:pt>
                <c:pt idx="7">
                  <c:v>1.8700000000000001E-2</c:v>
                </c:pt>
                <c:pt idx="8">
                  <c:v>1.5900000000000001E-2</c:v>
                </c:pt>
                <c:pt idx="9">
                  <c:v>4.3200000000000002E-2</c:v>
                </c:pt>
                <c:pt idx="10">
                  <c:v>2.9000000000000001E-2</c:v>
                </c:pt>
                <c:pt idx="11">
                  <c:v>1.83E-2</c:v>
                </c:pt>
                <c:pt idx="12">
                  <c:v>5.33E-2</c:v>
                </c:pt>
                <c:pt idx="13">
                  <c:v>2.0299999999999999E-2</c:v>
                </c:pt>
                <c:pt idx="14">
                  <c:v>3.2599999999999997E-2</c:v>
                </c:pt>
                <c:pt idx="15">
                  <c:v>5.1900000000000002E-2</c:v>
                </c:pt>
                <c:pt idx="16">
                  <c:v>2.8899999999999999E-2</c:v>
                </c:pt>
                <c:pt idx="17">
                  <c:v>0.6171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60-409A-BEC4-9CA9D09CDB4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Комфортне, затишне місто</c:v>
                </c:pt>
                <c:pt idx="1">
                  <c:v>Місто дружнє до людей з дітьми</c:v>
                </c:pt>
                <c:pt idx="2">
                  <c:v>Безпечне місто</c:v>
                </c:pt>
                <c:pt idx="3">
                  <c:v>Місто для планування майбутнього</c:v>
                </c:pt>
                <c:pt idx="4">
                  <c:v>Місто привабливе для молодих людей </c:v>
                </c:pt>
                <c:pt idx="5">
                  <c:v>Місто вражень та знайомств</c:v>
                </c:pt>
                <c:pt idx="6">
                  <c:v>Місто сильної громади</c:v>
                </c:pt>
                <c:pt idx="7">
                  <c:v>Місто з сильними цінностями толерантності</c:v>
                </c:pt>
                <c:pt idx="8">
                  <c:v>Місто ідей</c:v>
                </c:pt>
                <c:pt idx="9">
                  <c:v>Місто рівних можливостей для кожного</c:v>
                </c:pt>
                <c:pt idx="10">
                  <c:v>Місто привабливе для людей креативних професій (ІТ, дизайн, мода, реклама, тощо)</c:v>
                </c:pt>
                <c:pt idx="11">
                  <c:v>Місто для розвитку бізнесу</c:v>
                </c:pt>
                <c:pt idx="12">
                  <c:v>Інклюзивне, безбар’єрне місто, дружнє для людей з інвалідністю</c:v>
                </c:pt>
                <c:pt idx="13">
                  <c:v>Місто унікальних можливостей для самореалізації</c:v>
                </c:pt>
                <c:pt idx="14">
                  <c:v>Місто інновацій та передових технологій</c:v>
                </c:pt>
                <c:pt idx="15">
                  <c:v>Драйвове місто</c:v>
                </c:pt>
                <c:pt idx="16">
                  <c:v>Місто із сильною економікою</c:v>
                </c:pt>
                <c:pt idx="17">
                  <c:v>Провінційне, нецікаве місто</c:v>
                </c:pt>
              </c:strCache>
            </c:strRef>
          </c:cat>
          <c:val>
            <c:numRef>
              <c:f>Лист1!$E$2:$E$19</c:f>
              <c:numCache>
                <c:formatCode>0.0%</c:formatCode>
                <c:ptCount val="18"/>
                <c:pt idx="1">
                  <c:v>3.2000000000000002E-3</c:v>
                </c:pt>
                <c:pt idx="2">
                  <c:v>4.3E-3</c:v>
                </c:pt>
                <c:pt idx="6">
                  <c:v>3.2000000000000002E-3</c:v>
                </c:pt>
                <c:pt idx="8">
                  <c:v>3.2000000000000002E-3</c:v>
                </c:pt>
                <c:pt idx="10">
                  <c:v>2.2000000000000001E-3</c:v>
                </c:pt>
                <c:pt idx="12">
                  <c:v>3.2000000000000002E-3</c:v>
                </c:pt>
                <c:pt idx="15">
                  <c:v>4.3E-3</c:v>
                </c:pt>
                <c:pt idx="16" formatCode="0%">
                  <c:v>9.70000000000000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60-409A-BEC4-9CA9D09CD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8720000000000001</c:v>
                </c:pt>
                <c:pt idx="1">
                  <c:v>0.54159999999999997</c:v>
                </c:pt>
                <c:pt idx="2">
                  <c:v>0.1164</c:v>
                </c:pt>
                <c:pt idx="3">
                  <c:v>1.37E-2</c:v>
                </c:pt>
                <c:pt idx="4" formatCode="0.0%">
                  <c:v>3.2000000000000002E-3</c:v>
                </c:pt>
                <c:pt idx="5">
                  <c:v>3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1857</c:v>
                </c:pt>
                <c:pt idx="1">
                  <c:v>0.49569999999999997</c:v>
                </c:pt>
                <c:pt idx="2">
                  <c:v>0.17749999999999999</c:v>
                </c:pt>
                <c:pt idx="3">
                  <c:v>2.86E-2</c:v>
                </c:pt>
                <c:pt idx="4">
                  <c:v>1.2200000000000001E-2</c:v>
                </c:pt>
                <c:pt idx="5">
                  <c:v>0.1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30449999999999999</c:v>
                </c:pt>
                <c:pt idx="1">
                  <c:v>0.44519999999999998</c:v>
                </c:pt>
                <c:pt idx="2">
                  <c:v>0.1744</c:v>
                </c:pt>
                <c:pt idx="3">
                  <c:v>1.15E-2</c:v>
                </c:pt>
                <c:pt idx="4">
                  <c:v>5.7000000000000002E-3</c:v>
                </c:pt>
                <c:pt idx="5">
                  <c:v>5.87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Догляд за дитиною, декретна відпустка</c:v>
                </c:pt>
                <c:pt idx="1">
                  <c:v>Займаєтесь своїм хобі, собою, живете собі у задоволення</c:v>
                </c:pt>
                <c:pt idx="2">
                  <c:v>Ведете домашнє господарство</c:v>
                </c:pt>
                <c:pt idx="3">
                  <c:v>Інше</c:v>
                </c:pt>
                <c:pt idx="4">
                  <c:v>Важко сказат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30099999999999999</c:v>
                </c:pt>
                <c:pt idx="1">
                  <c:v>0.60170000000000001</c:v>
                </c:pt>
                <c:pt idx="2">
                  <c:v>7.2800000000000004E-2</c:v>
                </c:pt>
                <c:pt idx="3">
                  <c:v>1.15E-2</c:v>
                </c:pt>
                <c:pt idx="4">
                  <c:v>0</c:v>
                </c:pt>
                <c:pt idx="5">
                  <c:v>1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69610000000000005</c:v>
                </c:pt>
                <c:pt idx="1">
                  <c:v>0.66959999999999997</c:v>
                </c:pt>
                <c:pt idx="2">
                  <c:v>0.66269999999999996</c:v>
                </c:pt>
                <c:pt idx="3">
                  <c:v>0.61250000000000004</c:v>
                </c:pt>
                <c:pt idx="4">
                  <c:v>0.60240000000000005</c:v>
                </c:pt>
                <c:pt idx="5">
                  <c:v>0.57440000000000002</c:v>
                </c:pt>
                <c:pt idx="6">
                  <c:v>0.53959999999999997</c:v>
                </c:pt>
                <c:pt idx="7">
                  <c:v>0.53700000000000003</c:v>
                </c:pt>
                <c:pt idx="8">
                  <c:v>0.50309999999999999</c:v>
                </c:pt>
                <c:pt idx="9">
                  <c:v>0.50229999999999997</c:v>
                </c:pt>
                <c:pt idx="10">
                  <c:v>0.50009999999999999</c:v>
                </c:pt>
                <c:pt idx="11">
                  <c:v>0.49309999999999998</c:v>
                </c:pt>
                <c:pt idx="12">
                  <c:v>0.4829</c:v>
                </c:pt>
                <c:pt idx="13">
                  <c:v>0.47620000000000001</c:v>
                </c:pt>
                <c:pt idx="14">
                  <c:v>0.47420000000000001</c:v>
                </c:pt>
                <c:pt idx="15">
                  <c:v>0.42970000000000003</c:v>
                </c:pt>
                <c:pt idx="16">
                  <c:v>2.0299999999999999E-2</c:v>
                </c:pt>
                <c:pt idx="17">
                  <c:v>7.4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55549999999999999</c:v>
                </c:pt>
                <c:pt idx="1">
                  <c:v>0.60199999999999998</c:v>
                </c:pt>
                <c:pt idx="2">
                  <c:v>0.60629999999999995</c:v>
                </c:pt>
                <c:pt idx="3">
                  <c:v>0.57899999999999996</c:v>
                </c:pt>
                <c:pt idx="4">
                  <c:v>0.40389999999999998</c:v>
                </c:pt>
                <c:pt idx="5">
                  <c:v>0.59989999999999999</c:v>
                </c:pt>
                <c:pt idx="6">
                  <c:v>0.51400000000000001</c:v>
                </c:pt>
                <c:pt idx="7">
                  <c:v>0.4304</c:v>
                </c:pt>
                <c:pt idx="8">
                  <c:v>0.29380000000000001</c:v>
                </c:pt>
                <c:pt idx="9">
                  <c:v>0.44269999999999998</c:v>
                </c:pt>
                <c:pt idx="10">
                  <c:v>0.33090000000000003</c:v>
                </c:pt>
                <c:pt idx="11">
                  <c:v>0.4269</c:v>
                </c:pt>
                <c:pt idx="12">
                  <c:v>0.376</c:v>
                </c:pt>
                <c:pt idx="13">
                  <c:v>0.40089999999999998</c:v>
                </c:pt>
                <c:pt idx="14">
                  <c:v>0.36330000000000001</c:v>
                </c:pt>
                <c:pt idx="15">
                  <c:v>0.42409999999999998</c:v>
                </c:pt>
                <c:pt idx="16">
                  <c:v>4.02E-2</c:v>
                </c:pt>
                <c:pt idx="1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59209999999999996</c:v>
                </c:pt>
                <c:pt idx="1">
                  <c:v>0.54410000000000003</c:v>
                </c:pt>
                <c:pt idx="2">
                  <c:v>0.56020000000000003</c:v>
                </c:pt>
                <c:pt idx="3">
                  <c:v>0.57120000000000004</c:v>
                </c:pt>
                <c:pt idx="4">
                  <c:v>0.51439999999999997</c:v>
                </c:pt>
                <c:pt idx="5">
                  <c:v>0.43290000000000001</c:v>
                </c:pt>
                <c:pt idx="6">
                  <c:v>0.46150000000000002</c:v>
                </c:pt>
                <c:pt idx="7">
                  <c:v>0.41589999999999999</c:v>
                </c:pt>
                <c:pt idx="8">
                  <c:v>0.42249999999999999</c:v>
                </c:pt>
                <c:pt idx="9">
                  <c:v>0.36499999999999999</c:v>
                </c:pt>
                <c:pt idx="10">
                  <c:v>0.40699999999999997</c:v>
                </c:pt>
                <c:pt idx="11">
                  <c:v>0.41860000000000003</c:v>
                </c:pt>
                <c:pt idx="12">
                  <c:v>0.41909999999999997</c:v>
                </c:pt>
                <c:pt idx="13">
                  <c:v>0.40789999999999998</c:v>
                </c:pt>
                <c:pt idx="14">
                  <c:v>0.3528</c:v>
                </c:pt>
                <c:pt idx="15">
                  <c:v>0.36559999999999998</c:v>
                </c:pt>
                <c:pt idx="16">
                  <c:v>2.8899999999999999E-2</c:v>
                </c:pt>
                <c:pt idx="17">
                  <c:v>1.88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76439999999999997</c:v>
                </c:pt>
                <c:pt idx="1">
                  <c:v>0.73480000000000001</c:v>
                </c:pt>
                <c:pt idx="2">
                  <c:v>0.71619999999999995</c:v>
                </c:pt>
                <c:pt idx="3">
                  <c:v>0.63590000000000002</c:v>
                </c:pt>
                <c:pt idx="4">
                  <c:v>0.67359999999999998</c:v>
                </c:pt>
                <c:pt idx="5">
                  <c:v>0.63080000000000003</c:v>
                </c:pt>
                <c:pt idx="6">
                  <c:v>0.57750000000000001</c:v>
                </c:pt>
                <c:pt idx="7">
                  <c:v>0.6069</c:v>
                </c:pt>
                <c:pt idx="8">
                  <c:v>0.57289999999999996</c:v>
                </c:pt>
                <c:pt idx="9">
                  <c:v>0.57130000000000003</c:v>
                </c:pt>
                <c:pt idx="10">
                  <c:v>0.56859999999999999</c:v>
                </c:pt>
                <c:pt idx="11">
                  <c:v>0.53620000000000001</c:v>
                </c:pt>
                <c:pt idx="12">
                  <c:v>0.52829999999999999</c:v>
                </c:pt>
                <c:pt idx="13">
                  <c:v>0.51829999999999998</c:v>
                </c:pt>
                <c:pt idx="14">
                  <c:v>0.54490000000000005</c:v>
                </c:pt>
                <c:pt idx="15">
                  <c:v>0.4582</c:v>
                </c:pt>
                <c:pt idx="16">
                  <c:v>1.3299999999999999E-2</c:v>
                </c:pt>
                <c:pt idx="17" formatCode="0.0%">
                  <c:v>3.89999999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2889999999999997</c:v>
                </c:pt>
                <c:pt idx="1">
                  <c:v>0.1333</c:v>
                </c:pt>
                <c:pt idx="2">
                  <c:v>3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3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68149999999999999</c:v>
                </c:pt>
                <c:pt idx="1">
                  <c:v>0.21829999999999999</c:v>
                </c:pt>
                <c:pt idx="2">
                  <c:v>0.1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3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74960000000000004</c:v>
                </c:pt>
                <c:pt idx="1">
                  <c:v>0.1915</c:v>
                </c:pt>
                <c:pt idx="2">
                  <c:v>5.87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3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0"/>
              <c:layout>
                <c:manualLayout>
                  <c:x val="-0.19564275424761146"/>
                  <c:y val="-0.2026335224543849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90269999999999995</c:v>
                </c:pt>
                <c:pt idx="1">
                  <c:v>8.43E-2</c:v>
                </c:pt>
                <c:pt idx="2">
                  <c:v>1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3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6720000000000002</c:v>
                </c:pt>
                <c:pt idx="1">
                  <c:v>0.52690000000000003</c:v>
                </c:pt>
                <c:pt idx="2">
                  <c:v>0.47620000000000001</c:v>
                </c:pt>
                <c:pt idx="3">
                  <c:v>0.45989999999999998</c:v>
                </c:pt>
                <c:pt idx="4">
                  <c:v>0.42309999999999998</c:v>
                </c:pt>
                <c:pt idx="5">
                  <c:v>0.27950000000000003</c:v>
                </c:pt>
                <c:pt idx="6">
                  <c:v>0.27439999999999998</c:v>
                </c:pt>
                <c:pt idx="7">
                  <c:v>0.22839999999999999</c:v>
                </c:pt>
                <c:pt idx="8">
                  <c:v>0.22159999999999999</c:v>
                </c:pt>
                <c:pt idx="9">
                  <c:v>0.2213</c:v>
                </c:pt>
                <c:pt idx="10">
                  <c:v>0.16259999999999999</c:v>
                </c:pt>
                <c:pt idx="11">
                  <c:v>8.72E-2</c:v>
                </c:pt>
                <c:pt idx="12">
                  <c:v>8.43E-2</c:v>
                </c:pt>
                <c:pt idx="13">
                  <c:v>6.5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Догляд за дитиною, декретна відпустка</c:v>
                </c:pt>
                <c:pt idx="1">
                  <c:v>Займаєтесь своїм хобі, собою, живете собі у задоволення</c:v>
                </c:pt>
                <c:pt idx="2">
                  <c:v>Ведете домашнє господарство</c:v>
                </c:pt>
                <c:pt idx="3">
                  <c:v>Інше</c:v>
                </c:pt>
                <c:pt idx="4">
                  <c:v>Важко сказат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</c:v>
                </c:pt>
                <c:pt idx="1">
                  <c:v>0.4</c:v>
                </c:pt>
                <c:pt idx="2">
                  <c:v>0.2</c:v>
                </c:pt>
                <c:pt idx="3">
                  <c:v>0</c:v>
                </c:pt>
                <c:pt idx="4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77590000000000003</c:v>
                </c:pt>
                <c:pt idx="1">
                  <c:v>0.58250000000000002</c:v>
                </c:pt>
                <c:pt idx="2">
                  <c:v>0.67649999999999999</c:v>
                </c:pt>
                <c:pt idx="3">
                  <c:v>0.64149999999999996</c:v>
                </c:pt>
                <c:pt idx="4">
                  <c:v>0.56810000000000005</c:v>
                </c:pt>
                <c:pt idx="5">
                  <c:v>0.51349999999999996</c:v>
                </c:pt>
                <c:pt idx="6">
                  <c:v>0.26379999999999998</c:v>
                </c:pt>
                <c:pt idx="7">
                  <c:v>0.1968</c:v>
                </c:pt>
                <c:pt idx="8">
                  <c:v>0.39500000000000002</c:v>
                </c:pt>
                <c:pt idx="9">
                  <c:v>0.33139999999999997</c:v>
                </c:pt>
                <c:pt idx="10">
                  <c:v>0.2601</c:v>
                </c:pt>
                <c:pt idx="11">
                  <c:v>0.13830000000000001</c:v>
                </c:pt>
                <c:pt idx="12">
                  <c:v>0.13120000000000001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0719999999999996</c:v>
                </c:pt>
                <c:pt idx="1">
                  <c:v>0.55330000000000001</c:v>
                </c:pt>
                <c:pt idx="2">
                  <c:v>0.35560000000000003</c:v>
                </c:pt>
                <c:pt idx="3">
                  <c:v>0.40260000000000001</c:v>
                </c:pt>
                <c:pt idx="4">
                  <c:v>0.317</c:v>
                </c:pt>
                <c:pt idx="5">
                  <c:v>0.2339</c:v>
                </c:pt>
                <c:pt idx="6">
                  <c:v>0.28410000000000002</c:v>
                </c:pt>
                <c:pt idx="7">
                  <c:v>0.21</c:v>
                </c:pt>
                <c:pt idx="8">
                  <c:v>0.218</c:v>
                </c:pt>
                <c:pt idx="9">
                  <c:v>0.25990000000000002</c:v>
                </c:pt>
                <c:pt idx="10">
                  <c:v>0.13639999999999999</c:v>
                </c:pt>
                <c:pt idx="11">
                  <c:v>5.1999999999999998E-2</c:v>
                </c:pt>
                <c:pt idx="12">
                  <c:v>2.75E-2</c:v>
                </c:pt>
                <c:pt idx="13">
                  <c:v>7.98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7490000000000006</c:v>
                </c:pt>
                <c:pt idx="1">
                  <c:v>0.46379999999999999</c:v>
                </c:pt>
                <c:pt idx="2">
                  <c:v>0.50190000000000001</c:v>
                </c:pt>
                <c:pt idx="3">
                  <c:v>0.42220000000000002</c:v>
                </c:pt>
                <c:pt idx="4">
                  <c:v>0.46379999999999999</c:v>
                </c:pt>
                <c:pt idx="5">
                  <c:v>0.1976</c:v>
                </c:pt>
                <c:pt idx="6">
                  <c:v>0.26919999999999999</c:v>
                </c:pt>
                <c:pt idx="7">
                  <c:v>0.26840000000000003</c:v>
                </c:pt>
                <c:pt idx="8">
                  <c:v>0.12559999999999999</c:v>
                </c:pt>
                <c:pt idx="9">
                  <c:v>0.1124</c:v>
                </c:pt>
                <c:pt idx="10">
                  <c:v>0.13700000000000001</c:v>
                </c:pt>
                <c:pt idx="11">
                  <c:v>9.9099999999999994E-2</c:v>
                </c:pt>
                <c:pt idx="12">
                  <c:v>0.1239</c:v>
                </c:pt>
                <c:pt idx="13">
                  <c:v>8.64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1"/>
              <c:layout>
                <c:manualLayout>
                  <c:x val="0.17911013949138213"/>
                  <c:y val="0.3499763008174249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2889999999999997</c:v>
                </c:pt>
                <c:pt idx="1">
                  <c:v>0.1333</c:v>
                </c:pt>
                <c:pt idx="2">
                  <c:v>3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3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1"/>
              <c:layout>
                <c:manualLayout>
                  <c:x val="0.28501550903480988"/>
                  <c:y val="0.3999729152199142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68149999999999999</c:v>
                </c:pt>
                <c:pt idx="1">
                  <c:v>0.21829999999999999</c:v>
                </c:pt>
                <c:pt idx="2">
                  <c:v>0.1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3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1"/>
              <c:layout>
                <c:manualLayout>
                  <c:x val="0.23725389524493157"/>
                  <c:y val="0.4599688525029013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74960000000000004</c:v>
                </c:pt>
                <c:pt idx="1">
                  <c:v>0.1915</c:v>
                </c:pt>
                <c:pt idx="2">
                  <c:v>5.87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3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1"/>
              <c:layout>
                <c:manualLayout>
                  <c:x val="7.9434545659677655E-2"/>
                  <c:y val="0.304979347855184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90269999999999995</c:v>
                </c:pt>
                <c:pt idx="1">
                  <c:v>8.43E-2</c:v>
                </c:pt>
                <c:pt idx="2">
                  <c:v>1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3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8720000000000001</c:v>
                </c:pt>
                <c:pt idx="1">
                  <c:v>0.54159999999999997</c:v>
                </c:pt>
                <c:pt idx="2">
                  <c:v>0.1164</c:v>
                </c:pt>
                <c:pt idx="3">
                  <c:v>1.37E-2</c:v>
                </c:pt>
                <c:pt idx="4" formatCode="0.0%">
                  <c:v>3.2000000000000002E-3</c:v>
                </c:pt>
                <c:pt idx="5">
                  <c:v>3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1817</c:v>
                </c:pt>
                <c:pt idx="1">
                  <c:v>0.53129999999999999</c:v>
                </c:pt>
                <c:pt idx="2">
                  <c:v>0.18210000000000001</c:v>
                </c:pt>
                <c:pt idx="3">
                  <c:v>5.7500000000000002E-2</c:v>
                </c:pt>
                <c:pt idx="4">
                  <c:v>0</c:v>
                </c:pt>
                <c:pt idx="5">
                  <c:v>4.73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31659999999999999</c:v>
                </c:pt>
                <c:pt idx="1">
                  <c:v>0.44719999999999999</c:v>
                </c:pt>
                <c:pt idx="2">
                  <c:v>0.13789999999999999</c:v>
                </c:pt>
                <c:pt idx="3">
                  <c:v>6.1999999999999998E-3</c:v>
                </c:pt>
                <c:pt idx="4">
                  <c:v>5.7000000000000002E-3</c:v>
                </c:pt>
                <c:pt idx="5">
                  <c:v>8.64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Догляд за дитиною, декретна відпустка</c:v>
                </c:pt>
                <c:pt idx="1">
                  <c:v>Займаєтесь своїм хобі, собою, живете собі у задоволення</c:v>
                </c:pt>
                <c:pt idx="2">
                  <c:v>Ведете домашнє господарство</c:v>
                </c:pt>
                <c:pt idx="3">
                  <c:v>Інше</c:v>
                </c:pt>
                <c:pt idx="4">
                  <c:v>Важко сказат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55430000000000001</c:v>
                </c:pt>
                <c:pt idx="1">
                  <c:v>5.4300000000000001E-2</c:v>
                </c:pt>
                <c:pt idx="2">
                  <c:v>0</c:v>
                </c:pt>
                <c:pt idx="3">
                  <c:v>6.5600000000000006E-2</c:v>
                </c:pt>
                <c:pt idx="4">
                  <c:v>0.3257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7</c:f>
              <c:strCache>
                <c:ptCount val="6"/>
                <c:pt idx="0">
                  <c:v>Швидко розвиватись у позитивному напрямку</c:v>
                </c:pt>
                <c:pt idx="1">
                  <c:v>Повільно розвиватись у позитивному напрямку</c:v>
                </c:pt>
                <c:pt idx="2">
                  <c:v>Нічого не зміниться, стагнація</c:v>
                </c:pt>
                <c:pt idx="3">
                  <c:v>Повільно змінюватися у негативному напрямку</c:v>
                </c:pt>
                <c:pt idx="4">
                  <c:v>Швидко змінюватися у негативному напрямку</c:v>
                </c:pt>
                <c:pt idx="5">
                  <c:v>Важко сказати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9509999999999997</c:v>
                </c:pt>
                <c:pt idx="1">
                  <c:v>0.5917</c:v>
                </c:pt>
                <c:pt idx="2">
                  <c:v>9.1300000000000006E-2</c:v>
                </c:pt>
                <c:pt idx="3">
                  <c:v>8.0999999999999996E-3</c:v>
                </c:pt>
                <c:pt idx="4" formatCode="0.0%">
                  <c:v>2.7000000000000001E-3</c:v>
                </c:pt>
                <c:pt idx="5">
                  <c:v>1.1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69610000000000005</c:v>
                </c:pt>
                <c:pt idx="1">
                  <c:v>0.66959999999999997</c:v>
                </c:pt>
                <c:pt idx="2">
                  <c:v>0.66269999999999996</c:v>
                </c:pt>
                <c:pt idx="3">
                  <c:v>0.61250000000000004</c:v>
                </c:pt>
                <c:pt idx="4">
                  <c:v>0.60240000000000005</c:v>
                </c:pt>
                <c:pt idx="5">
                  <c:v>0.57440000000000002</c:v>
                </c:pt>
                <c:pt idx="6">
                  <c:v>0.53959999999999997</c:v>
                </c:pt>
                <c:pt idx="7">
                  <c:v>0.53700000000000003</c:v>
                </c:pt>
                <c:pt idx="8">
                  <c:v>0.50309999999999999</c:v>
                </c:pt>
                <c:pt idx="9">
                  <c:v>0.50229999999999997</c:v>
                </c:pt>
                <c:pt idx="10">
                  <c:v>0.50009999999999999</c:v>
                </c:pt>
                <c:pt idx="11">
                  <c:v>0.49309999999999998</c:v>
                </c:pt>
                <c:pt idx="12">
                  <c:v>0.4829</c:v>
                </c:pt>
                <c:pt idx="13">
                  <c:v>0.47620000000000001</c:v>
                </c:pt>
                <c:pt idx="14">
                  <c:v>0.47420000000000001</c:v>
                </c:pt>
                <c:pt idx="15">
                  <c:v>0.42970000000000003</c:v>
                </c:pt>
                <c:pt idx="16">
                  <c:v>2.0299999999999999E-2</c:v>
                </c:pt>
                <c:pt idx="17">
                  <c:v>7.4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68230000000000002</c:v>
                </c:pt>
                <c:pt idx="1">
                  <c:v>0.70309999999999995</c:v>
                </c:pt>
                <c:pt idx="2">
                  <c:v>0.75449999999999995</c:v>
                </c:pt>
                <c:pt idx="3">
                  <c:v>0.61529999999999996</c:v>
                </c:pt>
                <c:pt idx="4">
                  <c:v>0.60370000000000001</c:v>
                </c:pt>
                <c:pt idx="5">
                  <c:v>0.49180000000000001</c:v>
                </c:pt>
                <c:pt idx="6">
                  <c:v>0.49480000000000002</c:v>
                </c:pt>
                <c:pt idx="7">
                  <c:v>0.58989999999999998</c:v>
                </c:pt>
                <c:pt idx="8">
                  <c:v>0.52639999999999998</c:v>
                </c:pt>
                <c:pt idx="9">
                  <c:v>0.48230000000000001</c:v>
                </c:pt>
                <c:pt idx="10">
                  <c:v>0.38990000000000002</c:v>
                </c:pt>
                <c:pt idx="11">
                  <c:v>0.56030000000000002</c:v>
                </c:pt>
                <c:pt idx="12">
                  <c:v>0.47589999999999999</c:v>
                </c:pt>
                <c:pt idx="13">
                  <c:v>0.50819999999999999</c:v>
                </c:pt>
                <c:pt idx="14">
                  <c:v>0.54100000000000004</c:v>
                </c:pt>
                <c:pt idx="15">
                  <c:v>0.49869999999999998</c:v>
                </c:pt>
                <c:pt idx="16">
                  <c:v>3.6200000000000003E-2</c:v>
                </c:pt>
                <c:pt idx="17">
                  <c:v>1.88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59840000000000004</c:v>
                </c:pt>
                <c:pt idx="1">
                  <c:v>0.59519999999999995</c:v>
                </c:pt>
                <c:pt idx="2">
                  <c:v>0.5343</c:v>
                </c:pt>
                <c:pt idx="3">
                  <c:v>0.56540000000000001</c:v>
                </c:pt>
                <c:pt idx="4">
                  <c:v>0.48089999999999999</c:v>
                </c:pt>
                <c:pt idx="5">
                  <c:v>0.52669999999999995</c:v>
                </c:pt>
                <c:pt idx="6">
                  <c:v>0.44869999999999999</c:v>
                </c:pt>
                <c:pt idx="7">
                  <c:v>0.40529999999999999</c:v>
                </c:pt>
                <c:pt idx="8">
                  <c:v>0.40029999999999999</c:v>
                </c:pt>
                <c:pt idx="9">
                  <c:v>0.40389999999999998</c:v>
                </c:pt>
                <c:pt idx="10">
                  <c:v>0.43280000000000002</c:v>
                </c:pt>
                <c:pt idx="11">
                  <c:v>0.41270000000000001</c:v>
                </c:pt>
                <c:pt idx="12">
                  <c:v>0.4506</c:v>
                </c:pt>
                <c:pt idx="13">
                  <c:v>0.43140000000000001</c:v>
                </c:pt>
                <c:pt idx="14">
                  <c:v>0.3458</c:v>
                </c:pt>
                <c:pt idx="15">
                  <c:v>0.3861</c:v>
                </c:pt>
                <c:pt idx="16">
                  <c:v>3.2500000000000001E-2</c:v>
                </c:pt>
                <c:pt idx="1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Покращення благоустрою і умов для життя у місті</c:v>
                </c:pt>
                <c:pt idx="1">
                  <c:v>Будівництво нового, сучасного житла у місті</c:v>
                </c:pt>
                <c:pt idx="2">
                  <c:v>Добрий екологічний стан, зелені зони</c:v>
                </c:pt>
                <c:pt idx="3">
                  <c:v>Відкриття нових підприємств і бізнесів</c:v>
                </c:pt>
                <c:pt idx="4">
                  <c:v>Розвиненість інфраструктури для виховання і навчання дітей</c:v>
                </c:pt>
                <c:pt idx="5">
                  <c:v>Відкриття і розвиток кафе, ресторанів</c:v>
                </c:pt>
                <c:pt idx="6">
                  <c:v>Проведення різних культурних заходів</c:v>
                </c:pt>
                <c:pt idx="7">
                  <c:v>Якісні заклади охорони здоров’я</c:v>
                </c:pt>
                <c:pt idx="8">
                  <c:v>Висока якість освіти у закладах міста</c:v>
                </c:pt>
                <c:pt idx="9">
                  <c:v>Релокація бізнесів</c:v>
                </c:pt>
                <c:pt idx="10">
                  <c:v>Проведення різних спортивних заходів у місті</c:v>
                </c:pt>
                <c:pt idx="11">
                  <c:v>Збільшення пропозицій роботи у місті</c:v>
                </c:pt>
                <c:pt idx="12">
                  <c:v>Відкриття і розвиток торгівельних центрів</c:v>
                </c:pt>
                <c:pt idx="13">
                  <c:v>Проведення різних розважальних заходів у місті</c:v>
                </c:pt>
                <c:pt idx="14">
                  <c:v>Релокація навчальних закладів з окупованих і прифронтових регіонів</c:v>
                </c:pt>
                <c:pt idx="15">
                  <c:v>Збільшення заробітної платні у місті</c:v>
                </c:pt>
                <c:pt idx="16">
                  <c:v>Інше</c:v>
                </c:pt>
                <c:pt idx="17">
                  <c:v>Важко сказати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74119999999999997</c:v>
                </c:pt>
                <c:pt idx="1">
                  <c:v>0.69630000000000003</c:v>
                </c:pt>
                <c:pt idx="2">
                  <c:v>0.70299999999999996</c:v>
                </c:pt>
                <c:pt idx="3">
                  <c:v>0.63270000000000004</c:v>
                </c:pt>
                <c:pt idx="4">
                  <c:v>0.65529999999999999</c:v>
                </c:pt>
                <c:pt idx="5">
                  <c:v>0.60950000000000004</c:v>
                </c:pt>
                <c:pt idx="6">
                  <c:v>0.58709999999999996</c:v>
                </c:pt>
                <c:pt idx="7">
                  <c:v>0.58540000000000003</c:v>
                </c:pt>
                <c:pt idx="8">
                  <c:v>0.54400000000000004</c:v>
                </c:pt>
                <c:pt idx="9">
                  <c:v>0.54890000000000005</c:v>
                </c:pt>
                <c:pt idx="10">
                  <c:v>0.54859999999999998</c:v>
                </c:pt>
                <c:pt idx="11">
                  <c:v>0.51649999999999996</c:v>
                </c:pt>
                <c:pt idx="12">
                  <c:v>0.49819999999999998</c:v>
                </c:pt>
                <c:pt idx="13">
                  <c:v>0.49030000000000001</c:v>
                </c:pt>
                <c:pt idx="14">
                  <c:v>0.51870000000000005</c:v>
                </c:pt>
                <c:pt idx="15">
                  <c:v>0.43680000000000002</c:v>
                </c:pt>
                <c:pt idx="16">
                  <c:v>1.23E-2</c:v>
                </c:pt>
                <c:pt idx="17">
                  <c:v>8.800000000000000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2889999999999997</c:v>
                </c:pt>
                <c:pt idx="1">
                  <c:v>0.1333</c:v>
                </c:pt>
                <c:pt idx="2">
                  <c:v>3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3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0"/>
              <c:layout>
                <c:manualLayout>
                  <c:x val="-0.28249007895954581"/>
                  <c:y val="-0.1858630045524477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71309999999999996</c:v>
                </c:pt>
                <c:pt idx="1">
                  <c:v>0.2397</c:v>
                </c:pt>
                <c:pt idx="2">
                  <c:v>4.73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3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0"/>
              <c:layout>
                <c:manualLayout>
                  <c:x val="-0.29814300360215118"/>
                  <c:y val="-0.1567216708159920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76380000000000003</c:v>
                </c:pt>
                <c:pt idx="1">
                  <c:v>0.14979999999999999</c:v>
                </c:pt>
                <c:pt idx="2">
                  <c:v>8.64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3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FEB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0"/>
              <c:layout>
                <c:manualLayout>
                  <c:x val="-0.35138714704069302"/>
                  <c:y val="-0.2226321682153806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8680000000000003</c:v>
                </c:pt>
                <c:pt idx="1">
                  <c:v>0.1021</c:v>
                </c:pt>
                <c:pt idx="2">
                  <c:v>1.1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3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6720000000000002</c:v>
                </c:pt>
                <c:pt idx="1">
                  <c:v>0.52690000000000003</c:v>
                </c:pt>
                <c:pt idx="2">
                  <c:v>0.47620000000000001</c:v>
                </c:pt>
                <c:pt idx="3">
                  <c:v>0.45989999999999998</c:v>
                </c:pt>
                <c:pt idx="4">
                  <c:v>0.42309999999999998</c:v>
                </c:pt>
                <c:pt idx="5">
                  <c:v>0.27950000000000003</c:v>
                </c:pt>
                <c:pt idx="6">
                  <c:v>0.27439999999999998</c:v>
                </c:pt>
                <c:pt idx="7">
                  <c:v>0.22839999999999999</c:v>
                </c:pt>
                <c:pt idx="8">
                  <c:v>0.22159999999999999</c:v>
                </c:pt>
                <c:pt idx="9">
                  <c:v>0.2213</c:v>
                </c:pt>
                <c:pt idx="10">
                  <c:v>0.16259999999999999</c:v>
                </c:pt>
                <c:pt idx="11">
                  <c:v>8.72E-2</c:v>
                </c:pt>
                <c:pt idx="12">
                  <c:v>8.43E-2</c:v>
                </c:pt>
                <c:pt idx="13">
                  <c:v>6.5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9</c:f>
              <c:strCache>
                <c:ptCount val="8"/>
                <c:pt idx="0">
                  <c:v>місто Вінниця</c:v>
                </c:pt>
                <c:pt idx="1">
                  <c:v>село Вінницькі Хутори</c:v>
                </c:pt>
                <c:pt idx="2">
                  <c:v>село Щітки</c:v>
                </c:pt>
                <c:pt idx="3">
                  <c:v>селище Десна</c:v>
                </c:pt>
                <c:pt idx="4">
                  <c:v>село Писарівка</c:v>
                </c:pt>
                <c:pt idx="5">
                  <c:v>село Малі Крушлинці</c:v>
                </c:pt>
                <c:pt idx="6">
                  <c:v>село Гавришівка</c:v>
                </c:pt>
                <c:pt idx="7">
                  <c:v>село Великі Крушлинці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0.95850000000000002</c:v>
                </c:pt>
                <c:pt idx="1">
                  <c:v>7.3000000000000001E-3</c:v>
                </c:pt>
                <c:pt idx="2">
                  <c:v>6.1000000000000004E-3</c:v>
                </c:pt>
                <c:pt idx="3">
                  <c:v>1.34E-2</c:v>
                </c:pt>
                <c:pt idx="4">
                  <c:v>0</c:v>
                </c:pt>
                <c:pt idx="5">
                  <c:v>7.3000000000000001E-3</c:v>
                </c:pt>
                <c:pt idx="6">
                  <c:v>7.3000000000000001E-3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Догляд за дитиною, декретна відпустка</c:v>
                </c:pt>
                <c:pt idx="1">
                  <c:v>Займаєтесь своїм хобі, собою, живете собі у задоволення</c:v>
                </c:pt>
                <c:pt idx="2">
                  <c:v>Ведете домашнє господарство</c:v>
                </c:pt>
                <c:pt idx="3">
                  <c:v>Інше</c:v>
                </c:pt>
                <c:pt idx="4">
                  <c:v>Важко сказат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43569999999999998</c:v>
                </c:pt>
                <c:pt idx="1">
                  <c:v>8.7099999999999997E-2</c:v>
                </c:pt>
                <c:pt idx="2">
                  <c:v>0</c:v>
                </c:pt>
                <c:pt idx="3">
                  <c:v>9.9599999999999994E-2</c:v>
                </c:pt>
                <c:pt idx="4">
                  <c:v>0.377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88570000000000004</c:v>
                </c:pt>
                <c:pt idx="1">
                  <c:v>0.65559999999999996</c:v>
                </c:pt>
                <c:pt idx="2">
                  <c:v>0.82110000000000005</c:v>
                </c:pt>
                <c:pt idx="3">
                  <c:v>0.57799999999999996</c:v>
                </c:pt>
                <c:pt idx="4">
                  <c:v>0.57140000000000002</c:v>
                </c:pt>
                <c:pt idx="5">
                  <c:v>0.30149999999999999</c:v>
                </c:pt>
                <c:pt idx="6">
                  <c:v>0.47370000000000001</c:v>
                </c:pt>
                <c:pt idx="7">
                  <c:v>0.24010000000000001</c:v>
                </c:pt>
                <c:pt idx="8">
                  <c:v>0.24010000000000001</c:v>
                </c:pt>
                <c:pt idx="9">
                  <c:v>0.30649999999999999</c:v>
                </c:pt>
                <c:pt idx="10">
                  <c:v>0.17530000000000001</c:v>
                </c:pt>
                <c:pt idx="11">
                  <c:v>0.1227</c:v>
                </c:pt>
                <c:pt idx="12">
                  <c:v>6.1400000000000003E-2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6049999999999998</c:v>
                </c:pt>
                <c:pt idx="1">
                  <c:v>0.40179999999999999</c:v>
                </c:pt>
                <c:pt idx="2">
                  <c:v>0.373</c:v>
                </c:pt>
                <c:pt idx="3">
                  <c:v>0.36080000000000001</c:v>
                </c:pt>
                <c:pt idx="4">
                  <c:v>0.36969999999999997</c:v>
                </c:pt>
                <c:pt idx="5">
                  <c:v>0.2535</c:v>
                </c:pt>
                <c:pt idx="6">
                  <c:v>0.22309999999999999</c:v>
                </c:pt>
                <c:pt idx="7">
                  <c:v>0.23910000000000001</c:v>
                </c:pt>
                <c:pt idx="8">
                  <c:v>0.27450000000000002</c:v>
                </c:pt>
                <c:pt idx="9">
                  <c:v>0.23300000000000001</c:v>
                </c:pt>
                <c:pt idx="10">
                  <c:v>0.1782</c:v>
                </c:pt>
                <c:pt idx="11">
                  <c:v>6.9500000000000006E-2</c:v>
                </c:pt>
                <c:pt idx="12">
                  <c:v>3.15E-2</c:v>
                </c:pt>
                <c:pt idx="13">
                  <c:v>0.1029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Корупція</c:v>
                </c:pt>
                <c:pt idx="1">
                  <c:v>Скорочення або відсутність росту заробітної плати</c:v>
                </c:pt>
                <c:pt idx="2">
                  <c:v>Низька якість комунальних послуг, благоустрою</c:v>
                </c:pt>
                <c:pt idx="3">
                  <c:v>Складно знайти достойну роботу</c:v>
                </c:pt>
                <c:pt idx="4">
                  <c:v>Закриття підприємств і бізнесів</c:v>
                </c:pt>
                <c:pt idx="5">
                  <c:v>Відсутність активного культурного життя</c:v>
                </c:pt>
                <c:pt idx="6">
                  <c:v>Низька якість професійної і вищої освіти у місті</c:v>
                </c:pt>
                <c:pt idx="7">
                  <c:v>Низька якість охорони здоров’я у місті</c:v>
                </c:pt>
                <c:pt idx="8">
                  <c:v>Погана інфраструктура для виховання і навчання дітей</c:v>
                </c:pt>
                <c:pt idx="9">
                  <c:v>Поганий екологічний стан</c:v>
                </c:pt>
                <c:pt idx="10">
                  <c:v>Відсутність можливостей для дозвілля</c:v>
                </c:pt>
                <c:pt idx="11">
                  <c:v>Відсутність якісного житла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56189999999999996</c:v>
                </c:pt>
                <c:pt idx="1">
                  <c:v>0.55510000000000004</c:v>
                </c:pt>
                <c:pt idx="2">
                  <c:v>0.37869999999999998</c:v>
                </c:pt>
                <c:pt idx="3">
                  <c:v>0.47410000000000002</c:v>
                </c:pt>
                <c:pt idx="4">
                  <c:v>0.38800000000000001</c:v>
                </c:pt>
                <c:pt idx="5">
                  <c:v>0.28770000000000001</c:v>
                </c:pt>
                <c:pt idx="6">
                  <c:v>0.21190000000000001</c:v>
                </c:pt>
                <c:pt idx="7">
                  <c:v>0.21460000000000001</c:v>
                </c:pt>
                <c:pt idx="8">
                  <c:v>0.17280000000000001</c:v>
                </c:pt>
                <c:pt idx="9">
                  <c:v>0.1696</c:v>
                </c:pt>
                <c:pt idx="10">
                  <c:v>0.14449999999999999</c:v>
                </c:pt>
                <c:pt idx="11">
                  <c:v>8.2500000000000004E-2</c:v>
                </c:pt>
                <c:pt idx="12">
                  <c:v>0.1353</c:v>
                </c:pt>
                <c:pt idx="13">
                  <c:v>7.0599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3D-4BD2-96CD-09205BE71A5D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3D-4BD2-96CD-09205BE71A5D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3D-4BD2-96CD-09205BE71A5D}"/>
              </c:ext>
            </c:extLst>
          </c:dPt>
          <c:dLbls>
            <c:dLbl>
              <c:idx val="1"/>
              <c:layout>
                <c:manualLayout>
                  <c:x val="0.17911013949138213"/>
                  <c:y val="0.3499763008174249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B3D-4BD2-96CD-09205BE71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2889999999999997</c:v>
                </c:pt>
                <c:pt idx="1">
                  <c:v>0.1333</c:v>
                </c:pt>
                <c:pt idx="2">
                  <c:v>3.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D-4BD2-96CD-09205BE71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4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4B-45C2-872D-DB73FBF9C4B4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4B-45C2-872D-DB73FBF9C4B4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4B-45C2-872D-DB73FBF9C4B4}"/>
              </c:ext>
            </c:extLst>
          </c:dPt>
          <c:dLbls>
            <c:dLbl>
              <c:idx val="1"/>
              <c:layout>
                <c:manualLayout>
                  <c:x val="0.27463254951527111"/>
                  <c:y val="0.5199647897858885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F4B-45C2-872D-DB73FBF9C4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71309999999999996</c:v>
                </c:pt>
                <c:pt idx="1">
                  <c:v>0.2397</c:v>
                </c:pt>
                <c:pt idx="2">
                  <c:v>4.73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4B-45C2-872D-DB73FBF9C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4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20-4C72-8F86-D50C21950536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20-4C72-8F86-D50C2195053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20-4C72-8F86-D50C21950536}"/>
              </c:ext>
            </c:extLst>
          </c:dPt>
          <c:dLbls>
            <c:dLbl>
              <c:idx val="1"/>
              <c:layout>
                <c:manualLayout>
                  <c:x val="0.23725389524493157"/>
                  <c:y val="0.4599688525029013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220-4C72-8F86-D50C219505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76380000000000003</c:v>
                </c:pt>
                <c:pt idx="1">
                  <c:v>0.14979999999999999</c:v>
                </c:pt>
                <c:pt idx="2">
                  <c:v>8.64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20-4C72-8F86-D50C21950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4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22895215021211E-2"/>
          <c:y val="0"/>
          <c:w val="0.98277710478497882"/>
          <c:h val="0.99893722877593549"/>
        </c:manualLayout>
      </c:layout>
      <c:pieChart>
        <c:varyColors val="1"/>
        <c:ser>
          <c:idx val="0"/>
          <c:order val="0"/>
          <c:tx>
            <c:strRef>
              <c:f>Аркуш1!$B$1</c:f>
              <c:strCache>
                <c:ptCount val="1"/>
                <c:pt idx="0">
                  <c:v>Стовпець1</c:v>
                </c:pt>
              </c:strCache>
            </c:strRef>
          </c:tx>
          <c:dPt>
            <c:idx val="0"/>
            <c:bubble3D val="0"/>
            <c:spPr>
              <a:solidFill>
                <a:srgbClr val="E3F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AC-4C51-8F04-D0DEFC76AA1B}"/>
              </c:ext>
            </c:extLst>
          </c:dPt>
          <c:dPt>
            <c:idx val="1"/>
            <c:bubble3D val="0"/>
            <c:spPr>
              <a:solidFill>
                <a:srgbClr val="FF79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AC-4C51-8F04-D0DEFC76AA1B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AC-4C51-8F04-D0DEFC76AA1B}"/>
              </c:ext>
            </c:extLst>
          </c:dPt>
          <c:dLbls>
            <c:dLbl>
              <c:idx val="1"/>
              <c:layout>
                <c:manualLayout>
                  <c:x val="0.14173230277691026"/>
                  <c:y val="0.4249712224211588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DAC-4C51-8F04-D0DEFC76A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:$A$4</c:f>
              <c:strCache>
                <c:ptCount val="3"/>
                <c:pt idx="0">
                  <c:v>Позитивний напрямок</c:v>
                </c:pt>
                <c:pt idx="1">
                  <c:v>Стагнація чи негативний напрямок</c:v>
                </c:pt>
                <c:pt idx="2">
                  <c:v>Важко сказати</c:v>
                </c:pt>
              </c:strCache>
            </c:strRef>
          </c:cat>
          <c:val>
            <c:numRef>
              <c:f>Аркуш1!$B$2:$B$4</c:f>
              <c:numCache>
                <c:formatCode>0%</c:formatCode>
                <c:ptCount val="3"/>
                <c:pt idx="0">
                  <c:v>0.88680000000000003</c:v>
                </c:pt>
                <c:pt idx="1">
                  <c:v>0.1021</c:v>
                </c:pt>
                <c:pt idx="2">
                  <c:v>1.1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C-4C51-8F04-D0DEFC76A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4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9B-4806-A400-32476AB6894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9B-4806-A400-32476AB68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3962</c:v>
                </c:pt>
                <c:pt idx="1">
                  <c:v>0.34439999999999998</c:v>
                </c:pt>
                <c:pt idx="2">
                  <c:v>0.28970000000000001</c:v>
                </c:pt>
                <c:pt idx="3">
                  <c:v>0.1774</c:v>
                </c:pt>
                <c:pt idx="4">
                  <c:v>0.12959999999999999</c:v>
                </c:pt>
                <c:pt idx="5">
                  <c:v>0.124</c:v>
                </c:pt>
                <c:pt idx="6">
                  <c:v>0.1162</c:v>
                </c:pt>
                <c:pt idx="7">
                  <c:v>0.1145</c:v>
                </c:pt>
                <c:pt idx="8">
                  <c:v>0.1071</c:v>
                </c:pt>
                <c:pt idx="9">
                  <c:v>8.2699999999999996E-2</c:v>
                </c:pt>
                <c:pt idx="10">
                  <c:v>6.6299999999999998E-2</c:v>
                </c:pt>
                <c:pt idx="11">
                  <c:v>5.9299999999999999E-2</c:v>
                </c:pt>
                <c:pt idx="12">
                  <c:v>5.3199999999999997E-2</c:v>
                </c:pt>
                <c:pt idx="13">
                  <c:v>4.6899999999999997E-2</c:v>
                </c:pt>
                <c:pt idx="14">
                  <c:v>3.95E-2</c:v>
                </c:pt>
                <c:pt idx="15">
                  <c:v>3.95E-2</c:v>
                </c:pt>
                <c:pt idx="16">
                  <c:v>3.8600000000000002E-2</c:v>
                </c:pt>
                <c:pt idx="17">
                  <c:v>3.2300000000000002E-2</c:v>
                </c:pt>
                <c:pt idx="18">
                  <c:v>2.9600000000000001E-2</c:v>
                </c:pt>
                <c:pt idx="19">
                  <c:v>2.9000000000000001E-2</c:v>
                </c:pt>
                <c:pt idx="20">
                  <c:v>2.8199999999999999E-2</c:v>
                </c:pt>
                <c:pt idx="21">
                  <c:v>2.7900000000000001E-2</c:v>
                </c:pt>
                <c:pt idx="22">
                  <c:v>2.4199999999999999E-2</c:v>
                </c:pt>
                <c:pt idx="23">
                  <c:v>2.41E-2</c:v>
                </c:pt>
                <c:pt idx="24">
                  <c:v>2.3599999999999999E-2</c:v>
                </c:pt>
                <c:pt idx="25">
                  <c:v>2.0500000000000001E-2</c:v>
                </c:pt>
                <c:pt idx="26">
                  <c:v>2.0400000000000001E-2</c:v>
                </c:pt>
                <c:pt idx="27">
                  <c:v>1.9699999999999999E-2</c:v>
                </c:pt>
                <c:pt idx="28">
                  <c:v>1.95E-2</c:v>
                </c:pt>
                <c:pt idx="29">
                  <c:v>1.72E-2</c:v>
                </c:pt>
                <c:pt idx="30">
                  <c:v>0.1462</c:v>
                </c:pt>
                <c:pt idx="31">
                  <c:v>7.14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B-4806-A400-32476AB68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6-406B-BBE8-A10380AF8A0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6-406B-BBE8-A10380AF8A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28299999999999997</c:v>
                </c:pt>
                <c:pt idx="1">
                  <c:v>0.2276</c:v>
                </c:pt>
                <c:pt idx="2">
                  <c:v>0.2606</c:v>
                </c:pt>
                <c:pt idx="3">
                  <c:v>0.1777</c:v>
                </c:pt>
                <c:pt idx="4">
                  <c:v>0.1027</c:v>
                </c:pt>
                <c:pt idx="5">
                  <c:v>9.3399999999999997E-2</c:v>
                </c:pt>
                <c:pt idx="6">
                  <c:v>0.1234</c:v>
                </c:pt>
                <c:pt idx="7">
                  <c:v>0.1273</c:v>
                </c:pt>
                <c:pt idx="8">
                  <c:v>0.188</c:v>
                </c:pt>
                <c:pt idx="9">
                  <c:v>8.2699999999999996E-2</c:v>
                </c:pt>
                <c:pt idx="10">
                  <c:v>6.83E-2</c:v>
                </c:pt>
                <c:pt idx="11">
                  <c:v>7.1499999999999994E-2</c:v>
                </c:pt>
                <c:pt idx="12">
                  <c:v>4.2599999999999999E-2</c:v>
                </c:pt>
                <c:pt idx="13">
                  <c:v>3.0200000000000001E-2</c:v>
                </c:pt>
                <c:pt idx="14">
                  <c:v>6.3E-2</c:v>
                </c:pt>
                <c:pt idx="15">
                  <c:v>2.86E-2</c:v>
                </c:pt>
                <c:pt idx="16">
                  <c:v>2.3099999999999999E-2</c:v>
                </c:pt>
                <c:pt idx="17">
                  <c:v>1.3100000000000001E-2</c:v>
                </c:pt>
                <c:pt idx="18">
                  <c:v>4.8399999999999999E-2</c:v>
                </c:pt>
                <c:pt idx="19">
                  <c:v>1.35E-2</c:v>
                </c:pt>
                <c:pt idx="20">
                  <c:v>2.3099999999999999E-2</c:v>
                </c:pt>
                <c:pt idx="21">
                  <c:v>0.12230000000000001</c:v>
                </c:pt>
                <c:pt idx="22">
                  <c:v>1.3100000000000001E-2</c:v>
                </c:pt>
                <c:pt idx="23">
                  <c:v>0.02</c:v>
                </c:pt>
                <c:pt idx="24">
                  <c:v>4.3499999999999997E-2</c:v>
                </c:pt>
                <c:pt idx="25">
                  <c:v>0</c:v>
                </c:pt>
                <c:pt idx="26">
                  <c:v>2.0799999999999999E-2</c:v>
                </c:pt>
                <c:pt idx="27">
                  <c:v>3.8699999999999998E-2</c:v>
                </c:pt>
                <c:pt idx="28">
                  <c:v>0</c:v>
                </c:pt>
                <c:pt idx="29">
                  <c:v>3.2300000000000002E-2</c:v>
                </c:pt>
                <c:pt idx="30">
                  <c:v>0.1406</c:v>
                </c:pt>
                <c:pt idx="31">
                  <c:v>0.1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B6-406B-BBE8-A10380AF8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31-49AE-A848-B2E25F3578B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31-49AE-A848-B2E25F3578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26050000000000001</c:v>
                </c:pt>
                <c:pt idx="1">
                  <c:v>0.2452</c:v>
                </c:pt>
                <c:pt idx="2">
                  <c:v>0.32490000000000002</c:v>
                </c:pt>
                <c:pt idx="3">
                  <c:v>0.21210000000000001</c:v>
                </c:pt>
                <c:pt idx="4">
                  <c:v>0.1235</c:v>
                </c:pt>
                <c:pt idx="5">
                  <c:v>0.21859999999999999</c:v>
                </c:pt>
                <c:pt idx="6">
                  <c:v>0.10440000000000001</c:v>
                </c:pt>
                <c:pt idx="7">
                  <c:v>7.2900000000000006E-2</c:v>
                </c:pt>
                <c:pt idx="8">
                  <c:v>9.9599999999999994E-2</c:v>
                </c:pt>
                <c:pt idx="9">
                  <c:v>6.2E-2</c:v>
                </c:pt>
                <c:pt idx="10">
                  <c:v>6.9500000000000006E-2</c:v>
                </c:pt>
                <c:pt idx="11">
                  <c:v>3.7499999999999999E-2</c:v>
                </c:pt>
                <c:pt idx="12">
                  <c:v>6.54E-2</c:v>
                </c:pt>
                <c:pt idx="13">
                  <c:v>3.8800000000000001E-2</c:v>
                </c:pt>
                <c:pt idx="14">
                  <c:v>2.1399999999999999E-2</c:v>
                </c:pt>
                <c:pt idx="15">
                  <c:v>2.46E-2</c:v>
                </c:pt>
                <c:pt idx="16">
                  <c:v>2.7699999999999999E-2</c:v>
                </c:pt>
                <c:pt idx="17">
                  <c:v>1.2699999999999999E-2</c:v>
                </c:pt>
                <c:pt idx="18">
                  <c:v>3.5099999999999999E-2</c:v>
                </c:pt>
                <c:pt idx="19">
                  <c:v>2.9600000000000001E-2</c:v>
                </c:pt>
                <c:pt idx="20">
                  <c:v>1.0500000000000001E-2</c:v>
                </c:pt>
                <c:pt idx="21">
                  <c:v>1.09E-2</c:v>
                </c:pt>
                <c:pt idx="22">
                  <c:v>3.2000000000000001E-2</c:v>
                </c:pt>
                <c:pt idx="23">
                  <c:v>1.37E-2</c:v>
                </c:pt>
                <c:pt idx="24">
                  <c:v>8.6999999999999994E-3</c:v>
                </c:pt>
                <c:pt idx="25">
                  <c:v>1.8100000000000002E-2</c:v>
                </c:pt>
                <c:pt idx="26">
                  <c:v>5.3E-3</c:v>
                </c:pt>
                <c:pt idx="27">
                  <c:v>3.6700000000000003E-2</c:v>
                </c:pt>
                <c:pt idx="28">
                  <c:v>1.43E-2</c:v>
                </c:pt>
                <c:pt idx="29" formatCode="0.0%">
                  <c:v>4.3E-3</c:v>
                </c:pt>
                <c:pt idx="30">
                  <c:v>0.21110000000000001</c:v>
                </c:pt>
                <c:pt idx="31">
                  <c:v>8.93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1-49AE-A848-B2E25F357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1</c:f>
              <c:strCache>
                <c:ptCount val="20"/>
                <c:pt idx="0">
                  <c:v>Інформатика (ІТ) (комп’ютерне програмування, оброблення дани</c:v>
                </c:pt>
                <c:pt idx="1">
                  <c:v>Гуртова й роздрібна торгівля, ремонт автомобілів</c:v>
                </c:pt>
                <c:pt idx="2">
                  <c:v>Охорона здоров'я, соціальна робота</c:v>
                </c:pt>
                <c:pt idx="3">
                  <c:v>Освіта</c:v>
                </c:pt>
                <c:pt idx="4">
                  <c:v>Надання послуг</c:v>
                </c:pt>
                <c:pt idx="5">
                  <c:v>Будівництво</c:v>
                </c:pt>
                <c:pt idx="6">
                  <c:v>Фінансові й страхові послуги</c:v>
                </c:pt>
                <c:pt idx="7">
                  <c:v>Професійні, наукові, технічні послуги, бізнес-консультації</c:v>
                </c:pt>
                <c:pt idx="8">
                  <c:v>Публічне управління і оборона, державний соціальний захист</c:v>
                </c:pt>
                <c:pt idx="9">
                  <c:v>Готельний і ресторанний бізнес</c:v>
                </c:pt>
                <c:pt idx="10">
                  <c:v>Зв’язок</c:v>
                </c:pt>
                <c:pt idx="11">
                  <c:v>Сільське, лісове, рибне господарство</c:v>
                </c:pt>
                <c:pt idx="12">
                  <c:v>Харчова промисловість</c:v>
                </c:pt>
                <c:pt idx="13">
                  <c:v>Транспорт і складське господарство</c:v>
                </c:pt>
                <c:pt idx="14">
                  <c:v>Б'юті-сфера</c:v>
                </c:pt>
                <c:pt idx="15">
                  <c:v>Переробна промисловість</c:v>
                </c:pt>
                <c:pt idx="16">
                  <c:v>Виробництво й постачання електроенергії, газу, води, тепла</c:v>
                </c:pt>
                <c:pt idx="17">
                  <c:v>Послуги у сфері нерухомості</c:v>
                </c:pt>
                <c:pt idx="18">
                  <c:v>Інше</c:v>
                </c:pt>
                <c:pt idx="19">
                  <c:v>Важко сказати</c:v>
                </c:pt>
              </c:strCache>
            </c:strRef>
          </c:cat>
          <c:val>
            <c:numRef>
              <c:f>Лист1!$B$2:$B$21</c:f>
              <c:numCache>
                <c:formatCode>0%</c:formatCode>
                <c:ptCount val="20"/>
                <c:pt idx="0">
                  <c:v>0.2087</c:v>
                </c:pt>
                <c:pt idx="1">
                  <c:v>0.18090000000000001</c:v>
                </c:pt>
                <c:pt idx="2">
                  <c:v>0.1099</c:v>
                </c:pt>
                <c:pt idx="3">
                  <c:v>6.6600000000000006E-2</c:v>
                </c:pt>
                <c:pt idx="4">
                  <c:v>4.3499999999999997E-2</c:v>
                </c:pt>
                <c:pt idx="5">
                  <c:v>3.7100000000000001E-2</c:v>
                </c:pt>
                <c:pt idx="6">
                  <c:v>3.5700000000000003E-2</c:v>
                </c:pt>
                <c:pt idx="7">
                  <c:v>3.3500000000000002E-2</c:v>
                </c:pt>
                <c:pt idx="8">
                  <c:v>3.1699999999999999E-2</c:v>
                </c:pt>
                <c:pt idx="9">
                  <c:v>2.81E-2</c:v>
                </c:pt>
                <c:pt idx="10">
                  <c:v>2.3699999999999999E-2</c:v>
                </c:pt>
                <c:pt idx="11">
                  <c:v>2.0500000000000001E-2</c:v>
                </c:pt>
                <c:pt idx="12">
                  <c:v>0.02</c:v>
                </c:pt>
                <c:pt idx="13">
                  <c:v>1.9900000000000001E-2</c:v>
                </c:pt>
                <c:pt idx="14">
                  <c:v>1.9800000000000002E-2</c:v>
                </c:pt>
                <c:pt idx="15">
                  <c:v>1.5299999999999999E-2</c:v>
                </c:pt>
                <c:pt idx="16">
                  <c:v>1.4500000000000001E-2</c:v>
                </c:pt>
                <c:pt idx="17" formatCode="0.0%">
                  <c:v>2.3E-3</c:v>
                </c:pt>
                <c:pt idx="18">
                  <c:v>6.8500000000000005E-2</c:v>
                </c:pt>
                <c:pt idx="19">
                  <c:v>1.98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7F6-41C6-95F2-D245F4CAF8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7F6-41C6-95F2-D245F4CAF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49159999999999998</c:v>
                </c:pt>
                <c:pt idx="1">
                  <c:v>0.42170000000000002</c:v>
                </c:pt>
                <c:pt idx="2">
                  <c:v>0.27800000000000002</c:v>
                </c:pt>
                <c:pt idx="3">
                  <c:v>0.15939999999999999</c:v>
                </c:pt>
                <c:pt idx="4">
                  <c:v>0.13880000000000001</c:v>
                </c:pt>
                <c:pt idx="5">
                  <c:v>8.2000000000000003E-2</c:v>
                </c:pt>
                <c:pt idx="6">
                  <c:v>0.1208</c:v>
                </c:pt>
                <c:pt idx="7">
                  <c:v>0.13320000000000001</c:v>
                </c:pt>
                <c:pt idx="8">
                  <c:v>9.2899999999999996E-2</c:v>
                </c:pt>
                <c:pt idx="9">
                  <c:v>9.3399999999999997E-2</c:v>
                </c:pt>
                <c:pt idx="10">
                  <c:v>6.4100000000000004E-2</c:v>
                </c:pt>
                <c:pt idx="11">
                  <c:v>6.7900000000000002E-2</c:v>
                </c:pt>
                <c:pt idx="12">
                  <c:v>4.9299999999999997E-2</c:v>
                </c:pt>
                <c:pt idx="13">
                  <c:v>5.4899999999999997E-2</c:v>
                </c:pt>
                <c:pt idx="14">
                  <c:v>4.36E-2</c:v>
                </c:pt>
                <c:pt idx="15">
                  <c:v>4.9599999999999998E-2</c:v>
                </c:pt>
                <c:pt idx="16">
                  <c:v>4.7699999999999999E-2</c:v>
                </c:pt>
                <c:pt idx="17">
                  <c:v>4.6800000000000001E-2</c:v>
                </c:pt>
                <c:pt idx="18">
                  <c:v>2.2499999999999999E-2</c:v>
                </c:pt>
                <c:pt idx="19">
                  <c:v>3.2099999999999997E-2</c:v>
                </c:pt>
                <c:pt idx="20">
                  <c:v>3.8399999999999997E-2</c:v>
                </c:pt>
                <c:pt idx="21">
                  <c:v>1.5599999999999999E-2</c:v>
                </c:pt>
                <c:pt idx="22">
                  <c:v>2.2700000000000001E-2</c:v>
                </c:pt>
                <c:pt idx="23">
                  <c:v>3.04E-2</c:v>
                </c:pt>
                <c:pt idx="24">
                  <c:v>2.69E-2</c:v>
                </c:pt>
                <c:pt idx="25">
                  <c:v>2.64E-2</c:v>
                </c:pt>
                <c:pt idx="26">
                  <c:v>2.81E-2</c:v>
                </c:pt>
                <c:pt idx="27">
                  <c:v>6.7000000000000002E-3</c:v>
                </c:pt>
                <c:pt idx="28">
                  <c:v>2.6599999999999999E-2</c:v>
                </c:pt>
                <c:pt idx="29">
                  <c:v>2.0500000000000001E-2</c:v>
                </c:pt>
                <c:pt idx="30">
                  <c:v>0.1138</c:v>
                </c:pt>
                <c:pt idx="31">
                  <c:v>5.26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F6-41C6-95F2-D245F4CAF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9B-4806-A400-32476AB6894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9B-4806-A400-32476AB68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3962</c:v>
                </c:pt>
                <c:pt idx="1">
                  <c:v>0.34439999999999998</c:v>
                </c:pt>
                <c:pt idx="2">
                  <c:v>0.28970000000000001</c:v>
                </c:pt>
                <c:pt idx="3">
                  <c:v>0.1774</c:v>
                </c:pt>
                <c:pt idx="4">
                  <c:v>0.12959999999999999</c:v>
                </c:pt>
                <c:pt idx="5">
                  <c:v>0.124</c:v>
                </c:pt>
                <c:pt idx="6">
                  <c:v>0.1162</c:v>
                </c:pt>
                <c:pt idx="7">
                  <c:v>0.1145</c:v>
                </c:pt>
                <c:pt idx="8">
                  <c:v>0.1071</c:v>
                </c:pt>
                <c:pt idx="9">
                  <c:v>8.2699999999999996E-2</c:v>
                </c:pt>
                <c:pt idx="10">
                  <c:v>6.6299999999999998E-2</c:v>
                </c:pt>
                <c:pt idx="11">
                  <c:v>5.9299999999999999E-2</c:v>
                </c:pt>
                <c:pt idx="12">
                  <c:v>5.3199999999999997E-2</c:v>
                </c:pt>
                <c:pt idx="13">
                  <c:v>4.6899999999999997E-2</c:v>
                </c:pt>
                <c:pt idx="14">
                  <c:v>3.95E-2</c:v>
                </c:pt>
                <c:pt idx="15">
                  <c:v>3.95E-2</c:v>
                </c:pt>
                <c:pt idx="16">
                  <c:v>3.8600000000000002E-2</c:v>
                </c:pt>
                <c:pt idx="17">
                  <c:v>3.2300000000000002E-2</c:v>
                </c:pt>
                <c:pt idx="18">
                  <c:v>2.9600000000000001E-2</c:v>
                </c:pt>
                <c:pt idx="19">
                  <c:v>2.9000000000000001E-2</c:v>
                </c:pt>
                <c:pt idx="20">
                  <c:v>2.8199999999999999E-2</c:v>
                </c:pt>
                <c:pt idx="21">
                  <c:v>2.7900000000000001E-2</c:v>
                </c:pt>
                <c:pt idx="22">
                  <c:v>2.4199999999999999E-2</c:v>
                </c:pt>
                <c:pt idx="23">
                  <c:v>2.41E-2</c:v>
                </c:pt>
                <c:pt idx="24">
                  <c:v>2.3599999999999999E-2</c:v>
                </c:pt>
                <c:pt idx="25">
                  <c:v>2.0500000000000001E-2</c:v>
                </c:pt>
                <c:pt idx="26">
                  <c:v>2.0400000000000001E-2</c:v>
                </c:pt>
                <c:pt idx="27">
                  <c:v>1.9699999999999999E-2</c:v>
                </c:pt>
                <c:pt idx="28">
                  <c:v>1.95E-2</c:v>
                </c:pt>
                <c:pt idx="29">
                  <c:v>1.72E-2</c:v>
                </c:pt>
                <c:pt idx="30">
                  <c:v>0.1462</c:v>
                </c:pt>
                <c:pt idx="31">
                  <c:v>7.14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B-4806-A400-32476AB68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6-406B-BBE8-A10380AF8A0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6-406B-BBE8-A10380AF8A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42880000000000001</c:v>
                </c:pt>
                <c:pt idx="1">
                  <c:v>0.21709999999999999</c:v>
                </c:pt>
                <c:pt idx="2">
                  <c:v>0.2457</c:v>
                </c:pt>
                <c:pt idx="3">
                  <c:v>0.15310000000000001</c:v>
                </c:pt>
                <c:pt idx="4">
                  <c:v>9.4399999999999998E-2</c:v>
                </c:pt>
                <c:pt idx="5">
                  <c:v>0.1109</c:v>
                </c:pt>
                <c:pt idx="6">
                  <c:v>0.12970000000000001</c:v>
                </c:pt>
                <c:pt idx="7">
                  <c:v>8.0399999999999999E-2</c:v>
                </c:pt>
                <c:pt idx="8">
                  <c:v>0.20280000000000001</c:v>
                </c:pt>
                <c:pt idx="9">
                  <c:v>8.9300000000000004E-2</c:v>
                </c:pt>
                <c:pt idx="10">
                  <c:v>3.6400000000000002E-2</c:v>
                </c:pt>
                <c:pt idx="11">
                  <c:v>3.8399999999999997E-2</c:v>
                </c:pt>
                <c:pt idx="12">
                  <c:v>9.4200000000000006E-2</c:v>
                </c:pt>
                <c:pt idx="13">
                  <c:v>4.2099999999999999E-2</c:v>
                </c:pt>
                <c:pt idx="14">
                  <c:v>0.05</c:v>
                </c:pt>
                <c:pt idx="15">
                  <c:v>7.8600000000000003E-2</c:v>
                </c:pt>
                <c:pt idx="16">
                  <c:v>1.47E-2</c:v>
                </c:pt>
                <c:pt idx="17">
                  <c:v>2.69E-2</c:v>
                </c:pt>
                <c:pt idx="18">
                  <c:v>1.34E-2</c:v>
                </c:pt>
                <c:pt idx="19">
                  <c:v>1.47E-2</c:v>
                </c:pt>
                <c:pt idx="20">
                  <c:v>1.34E-2</c:v>
                </c:pt>
                <c:pt idx="21">
                  <c:v>7.46E-2</c:v>
                </c:pt>
                <c:pt idx="22">
                  <c:v>5.2200000000000003E-2</c:v>
                </c:pt>
                <c:pt idx="23">
                  <c:v>0</c:v>
                </c:pt>
                <c:pt idx="24">
                  <c:v>0</c:v>
                </c:pt>
                <c:pt idx="25">
                  <c:v>1.3899999999999999E-2</c:v>
                </c:pt>
                <c:pt idx="26">
                  <c:v>1.47E-2</c:v>
                </c:pt>
                <c:pt idx="27">
                  <c:v>2.58E-2</c:v>
                </c:pt>
                <c:pt idx="28">
                  <c:v>2.7300000000000001E-2</c:v>
                </c:pt>
                <c:pt idx="29">
                  <c:v>2.2800000000000001E-2</c:v>
                </c:pt>
                <c:pt idx="30">
                  <c:v>0.1542</c:v>
                </c:pt>
                <c:pt idx="31">
                  <c:v>9.2899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B6-406B-BBE8-A10380AF8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31-49AE-A848-B2E25F3578B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31-49AE-A848-B2E25F3578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30659999999999998</c:v>
                </c:pt>
                <c:pt idx="1">
                  <c:v>0.22040000000000001</c:v>
                </c:pt>
                <c:pt idx="2">
                  <c:v>0.3584</c:v>
                </c:pt>
                <c:pt idx="3">
                  <c:v>0.216</c:v>
                </c:pt>
                <c:pt idx="4">
                  <c:v>0.1113</c:v>
                </c:pt>
                <c:pt idx="5">
                  <c:v>0.21029999999999999</c:v>
                </c:pt>
                <c:pt idx="6">
                  <c:v>8.77E-2</c:v>
                </c:pt>
                <c:pt idx="7">
                  <c:v>5.2600000000000001E-2</c:v>
                </c:pt>
                <c:pt idx="8">
                  <c:v>7.0900000000000005E-2</c:v>
                </c:pt>
                <c:pt idx="9">
                  <c:v>8.7300000000000003E-2</c:v>
                </c:pt>
                <c:pt idx="10">
                  <c:v>5.74E-2</c:v>
                </c:pt>
                <c:pt idx="11">
                  <c:v>5.16E-2</c:v>
                </c:pt>
                <c:pt idx="12">
                  <c:v>7.4700000000000003E-2</c:v>
                </c:pt>
                <c:pt idx="13">
                  <c:v>3.3700000000000001E-2</c:v>
                </c:pt>
                <c:pt idx="14">
                  <c:v>3.4500000000000003E-2</c:v>
                </c:pt>
                <c:pt idx="15">
                  <c:v>1.29E-2</c:v>
                </c:pt>
                <c:pt idx="16">
                  <c:v>5.2200000000000003E-2</c:v>
                </c:pt>
                <c:pt idx="17">
                  <c:v>3.4799999999999998E-2</c:v>
                </c:pt>
                <c:pt idx="18">
                  <c:v>2.6700000000000002E-2</c:v>
                </c:pt>
                <c:pt idx="19">
                  <c:v>3.4500000000000003E-2</c:v>
                </c:pt>
                <c:pt idx="20">
                  <c:v>2.5600000000000001E-2</c:v>
                </c:pt>
                <c:pt idx="21">
                  <c:v>2.7E-2</c:v>
                </c:pt>
                <c:pt idx="22">
                  <c:v>1.14E-2</c:v>
                </c:pt>
                <c:pt idx="23" formatCode="0.0%">
                  <c:v>4.7000000000000002E-3</c:v>
                </c:pt>
                <c:pt idx="24">
                  <c:v>2.4799999999999999E-2</c:v>
                </c:pt>
                <c:pt idx="25">
                  <c:v>2.01E-2</c:v>
                </c:pt>
                <c:pt idx="26">
                  <c:v>1.32E-2</c:v>
                </c:pt>
                <c:pt idx="27">
                  <c:v>2.0299999999999999E-2</c:v>
                </c:pt>
                <c:pt idx="28">
                  <c:v>1.9699999999999999E-2</c:v>
                </c:pt>
                <c:pt idx="29">
                  <c:v>8.6999999999999994E-3</c:v>
                </c:pt>
                <c:pt idx="30">
                  <c:v>0.24399999999999999</c:v>
                </c:pt>
                <c:pt idx="31">
                  <c:v>8.45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1-49AE-A848-B2E25F357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7F6-41C6-95F2-D245F4CAF8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7F6-41C6-95F2-D245F4CAF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3</c:f>
              <c:strCache>
                <c:ptCount val="32"/>
                <c:pt idx="0">
                  <c:v>Безпека / Безпечне</c:v>
                </c:pt>
                <c:pt idx="1">
                  <c:v>Комфорт / Комфортне / Затишне</c:v>
                </c:pt>
                <c:pt idx="2">
                  <c:v>Розвинене / Розвивається / Сучасне / Перспективне</c:v>
                </c:pt>
                <c:pt idx="3">
                  <c:v>Спокійне / Тихе / Мирне / Без війни</c:v>
                </c:pt>
                <c:pt idx="4">
                  <c:v>Зелене / Зелені зони / Екологічне</c:v>
                </c:pt>
                <c:pt idx="5">
                  <c:v>Інноваційне / Технологічне / Прогресивне / Креативне</c:v>
                </c:pt>
                <c:pt idx="6">
                  <c:v>Чисте / Доглянуте</c:v>
                </c:pt>
                <c:pt idx="7">
                  <c:v>Інфраструктура</c:v>
                </c:pt>
                <c:pt idx="8">
                  <c:v>З можливостями (реалізації себе / розвитку / кар'єри / бізнесу)</c:v>
                </c:pt>
                <c:pt idx="9">
                  <c:v>Робота / Працевлаштування / Висока зарплата</c:v>
                </c:pt>
                <c:pt idx="10">
                  <c:v>Гарне / Красиве / Привабливе</c:v>
                </c:pt>
                <c:pt idx="11">
                  <c:v>Дозвілля</c:v>
                </c:pt>
                <c:pt idx="12">
                  <c:v>Сильна економіка / Достаток / Благополуччя</c:v>
                </c:pt>
                <c:pt idx="13">
                  <c:v>Зручне</c:v>
                </c:pt>
                <c:pt idx="14">
                  <c:v>Доступне</c:v>
                </c:pt>
                <c:pt idx="15">
                  <c:v>Людиноорієнтоване</c:v>
                </c:pt>
                <c:pt idx="16">
                  <c:v>Цікаве</c:v>
                </c:pt>
                <c:pt idx="17">
                  <c:v>Маленьке / Невелике / Компактне</c:v>
                </c:pt>
                <c:pt idx="18">
                  <c:v>Активне / Драйвове / Енергійне</c:v>
                </c:pt>
                <c:pt idx="19">
                  <c:v>Добре / Дружнє / Позитивне</c:v>
                </c:pt>
                <c:pt idx="20">
                  <c:v>Освіта / Навчальні заклади (якісні / доступні)</c:v>
                </c:pt>
                <c:pt idx="21">
                  <c:v>Велике</c:v>
                </c:pt>
                <c:pt idx="22">
                  <c:v>Люди (добрі / позитивні / хороші)</c:v>
                </c:pt>
                <c:pt idx="23">
                  <c:v>Інклюзивність / Безбар'єрність</c:v>
                </c:pt>
                <c:pt idx="24">
                  <c:v>Культура / Історія</c:v>
                </c:pt>
                <c:pt idx="25">
                  <c:v>Толерантне</c:v>
                </c:pt>
                <c:pt idx="26">
                  <c:v>Власне житло</c:v>
                </c:pt>
                <c:pt idx="27">
                  <c:v>Без корупції</c:v>
                </c:pt>
                <c:pt idx="28">
                  <c:v>Стабільність / Надійність</c:v>
                </c:pt>
                <c:pt idx="29">
                  <c:v>Якісна охорона здоров'я / Медицина</c:v>
                </c:pt>
                <c:pt idx="30">
                  <c:v>Інше</c:v>
                </c:pt>
                <c:pt idx="31">
                  <c:v>Важко сказати</c:v>
                </c:pt>
              </c:strCache>
            </c:strRef>
          </c:cat>
          <c:val>
            <c:numRef>
              <c:f>Лист1!$B$2:$B$33</c:f>
              <c:numCache>
                <c:formatCode>0%</c:formatCode>
                <c:ptCount val="32"/>
                <c:pt idx="0">
                  <c:v>0.43469999999999998</c:v>
                </c:pt>
                <c:pt idx="1">
                  <c:v>0.43469999999999998</c:v>
                </c:pt>
                <c:pt idx="2">
                  <c:v>0.26419999999999999</c:v>
                </c:pt>
                <c:pt idx="3">
                  <c:v>0.16300000000000001</c:v>
                </c:pt>
                <c:pt idx="4">
                  <c:v>0.14649999999999999</c:v>
                </c:pt>
                <c:pt idx="5">
                  <c:v>8.3099999999999993E-2</c:v>
                </c:pt>
                <c:pt idx="6">
                  <c:v>0.1278</c:v>
                </c:pt>
                <c:pt idx="7">
                  <c:v>0.15329999999999999</c:v>
                </c:pt>
                <c:pt idx="8">
                  <c:v>0.1048</c:v>
                </c:pt>
                <c:pt idx="9">
                  <c:v>7.9000000000000001E-2</c:v>
                </c:pt>
                <c:pt idx="10">
                  <c:v>7.7200000000000005E-2</c:v>
                </c:pt>
                <c:pt idx="11">
                  <c:v>6.7799999999999999E-2</c:v>
                </c:pt>
                <c:pt idx="12">
                  <c:v>3.3599999999999998E-2</c:v>
                </c:pt>
                <c:pt idx="13">
                  <c:v>5.4699999999999999E-2</c:v>
                </c:pt>
                <c:pt idx="14">
                  <c:v>3.9800000000000002E-2</c:v>
                </c:pt>
                <c:pt idx="15">
                  <c:v>4.4600000000000001E-2</c:v>
                </c:pt>
                <c:pt idx="16">
                  <c:v>3.6900000000000002E-2</c:v>
                </c:pt>
                <c:pt idx="17">
                  <c:v>3.2300000000000002E-2</c:v>
                </c:pt>
                <c:pt idx="18">
                  <c:v>3.4500000000000003E-2</c:v>
                </c:pt>
                <c:pt idx="19">
                  <c:v>2.92E-2</c:v>
                </c:pt>
                <c:pt idx="20">
                  <c:v>3.2599999999999997E-2</c:v>
                </c:pt>
                <c:pt idx="21">
                  <c:v>1.8200000000000001E-2</c:v>
                </c:pt>
                <c:pt idx="22">
                  <c:v>2.47E-2</c:v>
                </c:pt>
                <c:pt idx="23">
                  <c:v>3.9199999999999999E-2</c:v>
                </c:pt>
                <c:pt idx="24">
                  <c:v>2.81E-2</c:v>
                </c:pt>
                <c:pt idx="25">
                  <c:v>2.2200000000000001E-2</c:v>
                </c:pt>
                <c:pt idx="26">
                  <c:v>2.52E-2</c:v>
                </c:pt>
                <c:pt idx="27">
                  <c:v>1.8100000000000002E-2</c:v>
                </c:pt>
                <c:pt idx="28">
                  <c:v>1.78E-2</c:v>
                </c:pt>
                <c:pt idx="29">
                  <c:v>2.0299999999999999E-2</c:v>
                </c:pt>
                <c:pt idx="30">
                  <c:v>9.4799999999999995E-2</c:v>
                </c:pt>
                <c:pt idx="31">
                  <c:v>6.01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F6-41C6-95F2-D245F4CAF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Володіння іноземною мовою</c:v>
                </c:pt>
                <c:pt idx="1">
                  <c:v>Професійні навички</c:v>
                </c:pt>
                <c:pt idx="2">
                  <c:v>Соціальні та особистісні навички (комунікаційні, робота в команді, критичне мислення, тощо)</c:v>
                </c:pt>
                <c:pt idx="3">
                  <c:v>Комп’ютерні навички</c:v>
                </c:pt>
                <c:pt idx="4">
                  <c:v>Творчі, креативні навички</c:v>
                </c:pt>
                <c:pt idx="5">
                  <c:v>Підприємницькі навички</c:v>
                </c:pt>
                <c:pt idx="6">
                  <c:v>Інше</c:v>
                </c:pt>
                <c:pt idx="7">
                  <c:v>Важко сказати</c:v>
                </c:pt>
                <c:pt idx="8">
                  <c:v>Жодне з переліченого, навичок достатньо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1599999999999999</c:v>
                </c:pt>
                <c:pt idx="1">
                  <c:v>0.51449999999999996</c:v>
                </c:pt>
                <c:pt idx="2">
                  <c:v>0.4919</c:v>
                </c:pt>
                <c:pt idx="3">
                  <c:v>0.38819999999999999</c:v>
                </c:pt>
                <c:pt idx="4">
                  <c:v>0.3725</c:v>
                </c:pt>
                <c:pt idx="5">
                  <c:v>0.37</c:v>
                </c:pt>
                <c:pt idx="6">
                  <c:v>2.1299999999999999E-2</c:v>
                </c:pt>
                <c:pt idx="7">
                  <c:v>5.7999999999999996E-3</c:v>
                </c:pt>
                <c:pt idx="8">
                  <c:v>1.28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Володіння іноземною мовою</c:v>
                </c:pt>
                <c:pt idx="1">
                  <c:v>Професійні навички</c:v>
                </c:pt>
                <c:pt idx="2">
                  <c:v>Соціальні та особистісні навички (комунікаційні, робота в команді, критичне мислення, тощо)</c:v>
                </c:pt>
                <c:pt idx="3">
                  <c:v>Комп’ютерні навички</c:v>
                </c:pt>
                <c:pt idx="4">
                  <c:v>Творчі, креативні навички</c:v>
                </c:pt>
                <c:pt idx="5">
                  <c:v>Підприємницькі навички</c:v>
                </c:pt>
                <c:pt idx="6">
                  <c:v>Інше</c:v>
                </c:pt>
                <c:pt idx="7">
                  <c:v>Важко сказати</c:v>
                </c:pt>
                <c:pt idx="8">
                  <c:v>Жодне з переліченого, навичок достатньо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54710000000000003</c:v>
                </c:pt>
                <c:pt idx="1">
                  <c:v>0.40570000000000001</c:v>
                </c:pt>
                <c:pt idx="2">
                  <c:v>0.49409999999999998</c:v>
                </c:pt>
                <c:pt idx="3">
                  <c:v>0.39860000000000001</c:v>
                </c:pt>
                <c:pt idx="4">
                  <c:v>0.37819999999999998</c:v>
                </c:pt>
                <c:pt idx="5">
                  <c:v>0.31869999999999998</c:v>
                </c:pt>
                <c:pt idx="6">
                  <c:v>8.5000000000000006E-3</c:v>
                </c:pt>
                <c:pt idx="7">
                  <c:v>1.0500000000000001E-2</c:v>
                </c:pt>
                <c:pt idx="8">
                  <c:v>2.94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Володіння іноземною мовою</c:v>
                </c:pt>
                <c:pt idx="1">
                  <c:v>Професійні навички</c:v>
                </c:pt>
                <c:pt idx="2">
                  <c:v>Соціальні та особистісні навички (комунікаційні, робота в команді, критичне мислення, тощо)</c:v>
                </c:pt>
                <c:pt idx="3">
                  <c:v>Комп’ютерні навички</c:v>
                </c:pt>
                <c:pt idx="4">
                  <c:v>Творчі, креативні навички</c:v>
                </c:pt>
                <c:pt idx="5">
                  <c:v>Підприємницькі навички</c:v>
                </c:pt>
                <c:pt idx="6">
                  <c:v>Інше</c:v>
                </c:pt>
                <c:pt idx="7">
                  <c:v>Важко сказати</c:v>
                </c:pt>
                <c:pt idx="8">
                  <c:v>Жодне з переліченого, навичок достатньо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58209999999999995</c:v>
                </c:pt>
                <c:pt idx="1">
                  <c:v>0.5444</c:v>
                </c:pt>
                <c:pt idx="2">
                  <c:v>0.52149999999999996</c:v>
                </c:pt>
                <c:pt idx="3">
                  <c:v>0.35830000000000001</c:v>
                </c:pt>
                <c:pt idx="4">
                  <c:v>0.37319999999999998</c:v>
                </c:pt>
                <c:pt idx="5">
                  <c:v>0.33850000000000002</c:v>
                </c:pt>
                <c:pt idx="6">
                  <c:v>1.9900000000000001E-2</c:v>
                </c:pt>
                <c:pt idx="7">
                  <c:v>9.4000000000000004E-3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Володіння іноземною мовою</c:v>
                </c:pt>
                <c:pt idx="1">
                  <c:v>Професійні навички</c:v>
                </c:pt>
                <c:pt idx="2">
                  <c:v>Соціальні та особистісні навички (комунікаційні, робота в команді, критичне мислення, тощо)</c:v>
                </c:pt>
                <c:pt idx="3">
                  <c:v>Комп’ютерні навички</c:v>
                </c:pt>
                <c:pt idx="4">
                  <c:v>Творчі, креативні навички</c:v>
                </c:pt>
                <c:pt idx="5">
                  <c:v>Підприємницькі навички</c:v>
                </c:pt>
                <c:pt idx="6">
                  <c:v>Інше</c:v>
                </c:pt>
                <c:pt idx="7">
                  <c:v>Важко сказати</c:v>
                </c:pt>
                <c:pt idx="8">
                  <c:v>Жодне з переліченого, навичок достатньо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8210000000000004</c:v>
                </c:pt>
                <c:pt idx="1">
                  <c:v>0.54810000000000003</c:v>
                </c:pt>
                <c:pt idx="2">
                  <c:v>0.5554</c:v>
                </c:pt>
                <c:pt idx="3">
                  <c:v>0.40439999999999998</c:v>
                </c:pt>
                <c:pt idx="4">
                  <c:v>0.33329999999999999</c:v>
                </c:pt>
                <c:pt idx="5">
                  <c:v>0.4229</c:v>
                </c:pt>
                <c:pt idx="6">
                  <c:v>1.8200000000000001E-2</c:v>
                </c:pt>
                <c:pt idx="7">
                  <c:v>7.3000000000000001E-3</c:v>
                </c:pt>
                <c:pt idx="8">
                  <c:v>6.1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Володіння іноземною мовою</c:v>
                </c:pt>
                <c:pt idx="1">
                  <c:v>Професійні навички</c:v>
                </c:pt>
                <c:pt idx="2">
                  <c:v>Соціальні та особистісні навички (комунікаційні, робота в команді, критичне мислення, тощо)</c:v>
                </c:pt>
                <c:pt idx="3">
                  <c:v>Комп’ютерні навички</c:v>
                </c:pt>
                <c:pt idx="4">
                  <c:v>Творчі, креативні навички</c:v>
                </c:pt>
                <c:pt idx="5">
                  <c:v>Підприємницькі навички</c:v>
                </c:pt>
                <c:pt idx="6">
                  <c:v>Інше</c:v>
                </c:pt>
                <c:pt idx="7">
                  <c:v>Важко сказати</c:v>
                </c:pt>
                <c:pt idx="8">
                  <c:v>Жодне з переліченого, навичок достатньо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3519999999999999</c:v>
                </c:pt>
                <c:pt idx="1">
                  <c:v>0.55130000000000001</c:v>
                </c:pt>
                <c:pt idx="2">
                  <c:v>0.43719999999999998</c:v>
                </c:pt>
                <c:pt idx="3">
                  <c:v>0.38490000000000002</c:v>
                </c:pt>
                <c:pt idx="4">
                  <c:v>0.39300000000000002</c:v>
                </c:pt>
                <c:pt idx="5">
                  <c:v>0.38490000000000002</c:v>
                </c:pt>
                <c:pt idx="6">
                  <c:v>3.2199999999999999E-2</c:v>
                </c:pt>
                <c:pt idx="7">
                  <c:v>0</c:v>
                </c:pt>
                <c:pt idx="8">
                  <c:v>1.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1</c:f>
              <c:strCache>
                <c:ptCount val="20"/>
                <c:pt idx="0">
                  <c:v>Інформатика (ІТ) (комп’ютерне програмування, оброблення дани</c:v>
                </c:pt>
                <c:pt idx="1">
                  <c:v>Гуртова й роздрібна торгівля, ремонт автомобілів</c:v>
                </c:pt>
                <c:pt idx="2">
                  <c:v>Охорона здоров'я, соціальна робота</c:v>
                </c:pt>
                <c:pt idx="3">
                  <c:v>Освіта</c:v>
                </c:pt>
                <c:pt idx="4">
                  <c:v>Надання послуг</c:v>
                </c:pt>
                <c:pt idx="5">
                  <c:v>Будівництво</c:v>
                </c:pt>
                <c:pt idx="6">
                  <c:v>Фінансові й страхові послуги</c:v>
                </c:pt>
                <c:pt idx="7">
                  <c:v>Професійні, наукові, технічні послуги, бізнес-консультації</c:v>
                </c:pt>
                <c:pt idx="8">
                  <c:v>Публічне управління і оборона, державний соціальний захист</c:v>
                </c:pt>
                <c:pt idx="9">
                  <c:v>Готельний і ресторанний бізнес</c:v>
                </c:pt>
                <c:pt idx="10">
                  <c:v>Зв’язок</c:v>
                </c:pt>
                <c:pt idx="11">
                  <c:v>Сільське, лісове, рибне господарство</c:v>
                </c:pt>
                <c:pt idx="12">
                  <c:v>Харчова промисловість</c:v>
                </c:pt>
                <c:pt idx="13">
                  <c:v>Транспорт і складське господарство</c:v>
                </c:pt>
                <c:pt idx="14">
                  <c:v>Б'юті-сфера</c:v>
                </c:pt>
                <c:pt idx="15">
                  <c:v>Переробна промисловість</c:v>
                </c:pt>
                <c:pt idx="16">
                  <c:v>Виробництво й постачання електроенергії, газу, води, тепла</c:v>
                </c:pt>
                <c:pt idx="17">
                  <c:v>Послуги у сфері нерухомості</c:v>
                </c:pt>
                <c:pt idx="18">
                  <c:v>Інше</c:v>
                </c:pt>
                <c:pt idx="19">
                  <c:v>Важко сказати</c:v>
                </c:pt>
              </c:strCache>
            </c:strRef>
          </c:cat>
          <c:val>
            <c:numRef>
              <c:f>Лист1!$B$2:$B$21</c:f>
              <c:numCache>
                <c:formatCode>0%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21629999999999999</c:v>
                </c:pt>
                <c:pt idx="6">
                  <c:v>0</c:v>
                </c:pt>
                <c:pt idx="7">
                  <c:v>0.17549999999999999</c:v>
                </c:pt>
                <c:pt idx="8">
                  <c:v>0</c:v>
                </c:pt>
                <c:pt idx="9">
                  <c:v>0.1754999999999999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.21629999999999999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.21629999999999999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1</c:f>
              <c:strCache>
                <c:ptCount val="10"/>
                <c:pt idx="0">
                  <c:v>Вступити до закладу вищої освіти (університет)</c:v>
                </c:pt>
                <c:pt idx="1">
                  <c:v>Виїхати за кордон на навчання</c:v>
                </c:pt>
                <c:pt idx="2">
                  <c:v>Закінчити короткі професійні курси (3-6 місяців)</c:v>
                </c:pt>
                <c:pt idx="3">
                  <c:v>Створити і розвивати власний або сімейний бізнес</c:v>
                </c:pt>
                <c:pt idx="4">
                  <c:v>Присвятити себе особистому життю</c:v>
                </c:pt>
                <c:pt idx="5">
                  <c:v>Вступити до закладу проф-тех освіти (коледж, училище)</c:v>
                </c:pt>
                <c:pt idx="6">
                  <c:v>Знайти роботу</c:v>
                </c:pt>
                <c:pt idx="7">
                  <c:v>Виїхати за кордон на роботу</c:v>
                </c:pt>
                <c:pt idx="8">
                  <c:v>Взяти паузу, щоб визначитись щодо майбутніх планів</c:v>
                </c:pt>
                <c:pt idx="9">
                  <c:v>Важко сказати</c:v>
                </c:pt>
              </c:strCache>
            </c:strRef>
          </c:cat>
          <c:val>
            <c:numRef>
              <c:f>Лист1!$B$2:$B$11</c:f>
              <c:numCache>
                <c:formatCode>0%</c:formatCode>
                <c:ptCount val="10"/>
                <c:pt idx="0">
                  <c:v>0.60419999999999996</c:v>
                </c:pt>
                <c:pt idx="1">
                  <c:v>0.2417</c:v>
                </c:pt>
                <c:pt idx="2">
                  <c:v>0.1875</c:v>
                </c:pt>
                <c:pt idx="3">
                  <c:v>0.1542</c:v>
                </c:pt>
                <c:pt idx="4">
                  <c:v>0.1479</c:v>
                </c:pt>
                <c:pt idx="5">
                  <c:v>0.1208</c:v>
                </c:pt>
                <c:pt idx="6">
                  <c:v>9.3799999999999994E-2</c:v>
                </c:pt>
                <c:pt idx="7">
                  <c:v>9.3799999999999994E-2</c:v>
                </c:pt>
                <c:pt idx="8">
                  <c:v>9.3799999999999994E-2</c:v>
                </c:pt>
                <c:pt idx="9">
                  <c:v>0.16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Вступити до закладу вищої освіти (університет)</c:v>
                </c:pt>
                <c:pt idx="1">
                  <c:v>Створити і розвивати власний або сімейний бізнес</c:v>
                </c:pt>
                <c:pt idx="2">
                  <c:v>Знайти роботу за отриманим фахом</c:v>
                </c:pt>
                <c:pt idx="3">
                  <c:v>Знайти роботу за іншою, непрофільною професією</c:v>
                </c:pt>
                <c:pt idx="4">
                  <c:v>Присвятити себе особистому життю</c:v>
                </c:pt>
                <c:pt idx="5">
                  <c:v>Виїхати за кордон на навчання</c:v>
                </c:pt>
                <c:pt idx="6">
                  <c:v>Взяти паузу, щоб визначитись щодо майбутніх планів</c:v>
                </c:pt>
                <c:pt idx="7">
                  <c:v>Виїхати за кордон на роботу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4703</c:v>
                </c:pt>
                <c:pt idx="1">
                  <c:v>0.30009999999999998</c:v>
                </c:pt>
                <c:pt idx="2">
                  <c:v>0.2762</c:v>
                </c:pt>
                <c:pt idx="3">
                  <c:v>0.23269999999999999</c:v>
                </c:pt>
                <c:pt idx="4">
                  <c:v>0.1605</c:v>
                </c:pt>
                <c:pt idx="5">
                  <c:v>0.1348</c:v>
                </c:pt>
                <c:pt idx="6">
                  <c:v>0.1139</c:v>
                </c:pt>
                <c:pt idx="7">
                  <c:v>0.1091</c:v>
                </c:pt>
                <c:pt idx="8">
                  <c:v>0.1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Ні, не працюєте</c:v>
                </c:pt>
                <c:pt idx="1">
                  <c:v>Так, роботу за іншою, непрофільною професією</c:v>
                </c:pt>
                <c:pt idx="2">
                  <c:v>Так, роботу за фахом</c:v>
                </c:pt>
                <c:pt idx="3">
                  <c:v>Ведете власний бізнес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78810000000000002</c:v>
                </c:pt>
                <c:pt idx="1">
                  <c:v>0.1139</c:v>
                </c:pt>
                <c:pt idx="2">
                  <c:v>7.22E-2</c:v>
                </c:pt>
                <c:pt idx="3">
                  <c:v>2.57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4CC-481D-8881-A5255288876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у проф-техі, дозволять бути успішними на ринку праці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7270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CC-481D-8881-A5255288876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у проф-техі, дозволять бути успішними на ринку праці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2728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CC-481D-8881-A52552888769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9968553459119617E-2"/>
                  <c:y val="0.18129461941944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4CC-481D-8881-A525528887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у проф-техі, дозволять бути успішними на ринку праці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44CC-481D-8881-A52552888769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2202863923158785E-16"/>
                  <c:y val="-0.2014367036707477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4CC-481D-8881-A525528887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у проф-техі, дозволять бути успішними на ринку праці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44CC-481D-8881-A525528887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B60-42DC-83DB-6E8FA3C24117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у проф-техі, дозволять бути успішними на ринку праці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0B60-42DC-83DB-6E8FA3C2411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у проф-техі, дозволять бути успішними на ринку праці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0B60-42DC-83DB-6E8FA3C2411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у проф-техі, дозволять бути успішними на ринку праці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0B60-42DC-83DB-6E8FA3C24117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B60-42DC-83DB-6E8FA3C2411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у проф-техі, дозволять бути успішними на ринку праці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5-0B60-42DC-83DB-6E8FA3C241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7.4981107122614771E-2"/>
          <c:w val="1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Знайти роботу за отриманим фахом</c:v>
                </c:pt>
                <c:pt idx="1">
                  <c:v>Створити і розвивати власний або сімейний бізнес</c:v>
                </c:pt>
                <c:pt idx="2">
                  <c:v>Присвятити себе особистому життю</c:v>
                </c:pt>
                <c:pt idx="3">
                  <c:v>Продовжити навчання в аспірантурі</c:v>
                </c:pt>
                <c:pt idx="4">
                  <c:v>Взяти паузу, щоб визначитись щодо майбутніх планів</c:v>
                </c:pt>
                <c:pt idx="5">
                  <c:v>Знайти роботу за іншою, непрофільною професією</c:v>
                </c:pt>
                <c:pt idx="6">
                  <c:v>Виїхати за кордон на навчання</c:v>
                </c:pt>
                <c:pt idx="7">
                  <c:v>Виїхати за кордон на роботу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52700000000000002</c:v>
                </c:pt>
                <c:pt idx="1">
                  <c:v>0.40179999999999999</c:v>
                </c:pt>
                <c:pt idx="2">
                  <c:v>0.27139999999999997</c:v>
                </c:pt>
                <c:pt idx="3">
                  <c:v>0.20280000000000001</c:v>
                </c:pt>
                <c:pt idx="4">
                  <c:v>0.1804</c:v>
                </c:pt>
                <c:pt idx="5">
                  <c:v>0.15190000000000001</c:v>
                </c:pt>
                <c:pt idx="6">
                  <c:v>3.2399999999999998E-2</c:v>
                </c:pt>
                <c:pt idx="7">
                  <c:v>1.6500000000000001E-2</c:v>
                </c:pt>
                <c:pt idx="8">
                  <c:v>7.52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Знайти роботу за отриманим фахом</c:v>
                </c:pt>
                <c:pt idx="1">
                  <c:v>Створити і розвивати власний або сімейний бізнес</c:v>
                </c:pt>
                <c:pt idx="2">
                  <c:v>Присвятити себе особистому життю</c:v>
                </c:pt>
                <c:pt idx="3">
                  <c:v>Продовжити навчання в аспірантурі</c:v>
                </c:pt>
                <c:pt idx="4">
                  <c:v>Взяти паузу, щоб визначитись щодо майбутніх планів</c:v>
                </c:pt>
                <c:pt idx="5">
                  <c:v>Знайти роботу за іншою, непрофільною професією</c:v>
                </c:pt>
                <c:pt idx="6">
                  <c:v>Виїхати за кордон на навчання</c:v>
                </c:pt>
                <c:pt idx="7">
                  <c:v>Виїхати за кордон на роботу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3329999999999997</c:v>
                </c:pt>
                <c:pt idx="1">
                  <c:v>0.50539999999999996</c:v>
                </c:pt>
                <c:pt idx="2">
                  <c:v>0.23119999999999999</c:v>
                </c:pt>
                <c:pt idx="3">
                  <c:v>0.14949999999999999</c:v>
                </c:pt>
                <c:pt idx="4">
                  <c:v>0.14949999999999999</c:v>
                </c:pt>
                <c:pt idx="5">
                  <c:v>9.2499999999999999E-2</c:v>
                </c:pt>
                <c:pt idx="6">
                  <c:v>0</c:v>
                </c:pt>
                <c:pt idx="7">
                  <c:v>0</c:v>
                </c:pt>
                <c:pt idx="8">
                  <c:v>0.1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Знайти роботу за отриманим фахом</c:v>
                </c:pt>
                <c:pt idx="1">
                  <c:v>Створити і розвивати власний або сімейний бізнес</c:v>
                </c:pt>
                <c:pt idx="2">
                  <c:v>Присвятити себе особистому життю</c:v>
                </c:pt>
                <c:pt idx="3">
                  <c:v>Продовжити навчання в аспірантурі</c:v>
                </c:pt>
                <c:pt idx="4">
                  <c:v>Взяти паузу, щоб визначитись щодо майбутніх планів</c:v>
                </c:pt>
                <c:pt idx="5">
                  <c:v>Знайти роботу за іншою, непрофільною професією</c:v>
                </c:pt>
                <c:pt idx="6">
                  <c:v>Виїхати за кордон на навчання</c:v>
                </c:pt>
                <c:pt idx="7">
                  <c:v>Виїхати за кордон на роботу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4783</c:v>
                </c:pt>
                <c:pt idx="1">
                  <c:v>0.27029999999999998</c:v>
                </c:pt>
                <c:pt idx="2">
                  <c:v>0.27379999999999999</c:v>
                </c:pt>
                <c:pt idx="3">
                  <c:v>0.26669999999999999</c:v>
                </c:pt>
                <c:pt idx="4">
                  <c:v>0.24790000000000001</c:v>
                </c:pt>
                <c:pt idx="5">
                  <c:v>0.20449999999999999</c:v>
                </c:pt>
                <c:pt idx="6">
                  <c:v>6.93E-2</c:v>
                </c:pt>
                <c:pt idx="7">
                  <c:v>0</c:v>
                </c:pt>
                <c:pt idx="8">
                  <c:v>3.64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731-4B60-90D8-916C66A6741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731-4B60-90D8-916C66A67414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Знайти роботу за отриманим фахом</c:v>
                </c:pt>
                <c:pt idx="1">
                  <c:v>Створити і розвивати власний або сімейний бізнес</c:v>
                </c:pt>
                <c:pt idx="2">
                  <c:v>Присвятити себе особистому життю</c:v>
                </c:pt>
                <c:pt idx="3">
                  <c:v>Продовжити навчання в аспірантурі</c:v>
                </c:pt>
                <c:pt idx="4">
                  <c:v>Взяти паузу, щоб визначитись щодо майбутніх планів</c:v>
                </c:pt>
                <c:pt idx="5">
                  <c:v>Знайти роботу за іншою, непрофільною професією</c:v>
                </c:pt>
                <c:pt idx="6">
                  <c:v>Виїхати за кордон на навчання</c:v>
                </c:pt>
                <c:pt idx="7">
                  <c:v>Виїхати за кордон на роботу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29780000000000001</c:v>
                </c:pt>
                <c:pt idx="1">
                  <c:v>0.56740000000000002</c:v>
                </c:pt>
                <c:pt idx="2">
                  <c:v>0.43259999999999998</c:v>
                </c:pt>
                <c:pt idx="3">
                  <c:v>0.1348</c:v>
                </c:pt>
                <c:pt idx="4">
                  <c:v>0</c:v>
                </c:pt>
                <c:pt idx="5">
                  <c:v>0.16289999999999999</c:v>
                </c:pt>
                <c:pt idx="6">
                  <c:v>0</c:v>
                </c:pt>
                <c:pt idx="7">
                  <c:v>0.16289999999999999</c:v>
                </c:pt>
                <c:pt idx="8">
                  <c:v>0.13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731-4B60-90D8-916C66A674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і, не працюєте</c:v>
                </c:pt>
                <c:pt idx="1">
                  <c:v>Так, роботу за іншою, непрофільною професією</c:v>
                </c:pt>
                <c:pt idx="2">
                  <c:v>Так, роботу за фахом</c:v>
                </c:pt>
                <c:pt idx="3">
                  <c:v>Ведете власний бізнес</c:v>
                </c:pt>
                <c:pt idx="4">
                  <c:v>Важко сказат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62450000000000006</c:v>
                </c:pt>
                <c:pt idx="1">
                  <c:v>0.2379</c:v>
                </c:pt>
                <c:pt idx="2">
                  <c:v>0.107</c:v>
                </c:pt>
                <c:pt idx="3">
                  <c:v>1.7000000000000001E-2</c:v>
                </c:pt>
                <c:pt idx="4">
                  <c:v>1.35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1</c:f>
              <c:strCache>
                <c:ptCount val="20"/>
                <c:pt idx="0">
                  <c:v>Інформатика (ІТ) (комп’ютерне програмування, оброблення дани</c:v>
                </c:pt>
                <c:pt idx="1">
                  <c:v>Гуртова й роздрібна торгівля, ремонт автомобілів</c:v>
                </c:pt>
                <c:pt idx="2">
                  <c:v>Охорона здоров'я, соціальна робота</c:v>
                </c:pt>
                <c:pt idx="3">
                  <c:v>Освіта</c:v>
                </c:pt>
                <c:pt idx="4">
                  <c:v>Надання послуг</c:v>
                </c:pt>
                <c:pt idx="5">
                  <c:v>Будівництво</c:v>
                </c:pt>
                <c:pt idx="6">
                  <c:v>Фінансові й страхові послуги</c:v>
                </c:pt>
                <c:pt idx="7">
                  <c:v>Професійні, наукові, технічні послуги, бізнес-консультації</c:v>
                </c:pt>
                <c:pt idx="8">
                  <c:v>Публічне управління і оборона, державний соціальний захист</c:v>
                </c:pt>
                <c:pt idx="9">
                  <c:v>Готельний і ресторанний бізнес</c:v>
                </c:pt>
                <c:pt idx="10">
                  <c:v>Зв’язок</c:v>
                </c:pt>
                <c:pt idx="11">
                  <c:v>Сільське, лісове, рибне господарство</c:v>
                </c:pt>
                <c:pt idx="12">
                  <c:v>Харчова промисловість</c:v>
                </c:pt>
                <c:pt idx="13">
                  <c:v>Транспорт і складське господарство</c:v>
                </c:pt>
                <c:pt idx="14">
                  <c:v>Б'юті-сфера</c:v>
                </c:pt>
                <c:pt idx="15">
                  <c:v>Переробна промисловість</c:v>
                </c:pt>
                <c:pt idx="16">
                  <c:v>Виробництво й постачання електроенергії, газу, води, тепла</c:v>
                </c:pt>
                <c:pt idx="17">
                  <c:v>Послуги у сфері нерухомості</c:v>
                </c:pt>
                <c:pt idx="18">
                  <c:v>Інше</c:v>
                </c:pt>
                <c:pt idx="19">
                  <c:v>Важко сказати</c:v>
                </c:pt>
              </c:strCache>
            </c:strRef>
          </c:cat>
          <c:val>
            <c:numRef>
              <c:f>Лист1!$B$2:$B$21</c:f>
              <c:numCache>
                <c:formatCode>0%</c:formatCode>
                <c:ptCount val="20"/>
                <c:pt idx="0">
                  <c:v>0.2422</c:v>
                </c:pt>
                <c:pt idx="1">
                  <c:v>0.1711</c:v>
                </c:pt>
                <c:pt idx="2">
                  <c:v>8.0399999999999999E-2</c:v>
                </c:pt>
                <c:pt idx="3">
                  <c:v>6.6000000000000003E-2</c:v>
                </c:pt>
                <c:pt idx="4">
                  <c:v>5.1700000000000003E-2</c:v>
                </c:pt>
                <c:pt idx="5">
                  <c:v>3.56E-2</c:v>
                </c:pt>
                <c:pt idx="6">
                  <c:v>3.2099999999999997E-2</c:v>
                </c:pt>
                <c:pt idx="7">
                  <c:v>3.2099999999999997E-2</c:v>
                </c:pt>
                <c:pt idx="8">
                  <c:v>1.78E-2</c:v>
                </c:pt>
                <c:pt idx="9">
                  <c:v>4.99E-2</c:v>
                </c:pt>
                <c:pt idx="10">
                  <c:v>0</c:v>
                </c:pt>
                <c:pt idx="11">
                  <c:v>3.39E-2</c:v>
                </c:pt>
                <c:pt idx="12">
                  <c:v>1.61E-2</c:v>
                </c:pt>
                <c:pt idx="13">
                  <c:v>0</c:v>
                </c:pt>
                <c:pt idx="14">
                  <c:v>3.2099999999999997E-2</c:v>
                </c:pt>
                <c:pt idx="15">
                  <c:v>1.78E-2</c:v>
                </c:pt>
                <c:pt idx="16">
                  <c:v>0</c:v>
                </c:pt>
                <c:pt idx="17">
                  <c:v>0</c:v>
                </c:pt>
                <c:pt idx="18">
                  <c:v>6.9500000000000006E-2</c:v>
                </c:pt>
                <c:pt idx="19">
                  <c:v>5.17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і, не працюєте</c:v>
                </c:pt>
                <c:pt idx="1">
                  <c:v>Так, роботу за іншою, непрофільною професією</c:v>
                </c:pt>
                <c:pt idx="2">
                  <c:v>Так, роботу за фахом</c:v>
                </c:pt>
                <c:pt idx="3">
                  <c:v>Ведете власний бізнес</c:v>
                </c:pt>
                <c:pt idx="4">
                  <c:v>Важко сказат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71179999999999999</c:v>
                </c:pt>
                <c:pt idx="1">
                  <c:v>0.14949999999999999</c:v>
                </c:pt>
                <c:pt idx="2">
                  <c:v>0.13869999999999999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і, не працюєте</c:v>
                </c:pt>
                <c:pt idx="1">
                  <c:v>Так, роботу за іншою, непрофільною професією</c:v>
                </c:pt>
                <c:pt idx="2">
                  <c:v>Так, роботу за фахом</c:v>
                </c:pt>
                <c:pt idx="3">
                  <c:v>Ведете власний бізнес</c:v>
                </c:pt>
                <c:pt idx="4">
                  <c:v>Важко сказат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62039999999999995</c:v>
                </c:pt>
                <c:pt idx="1">
                  <c:v>0.30669999999999997</c:v>
                </c:pt>
                <c:pt idx="2">
                  <c:v>3.6400000000000002E-2</c:v>
                </c:pt>
                <c:pt idx="3">
                  <c:v>3.6400000000000002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4CC-481D-8881-A5255288876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527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CC-481D-8881-A5255288876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443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CC-481D-8881-A52552888769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9968553459119617E-2"/>
                  <c:y val="0.18129461941944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4CC-481D-8881-A525528887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  <c:pt idx="0">
                  <c:v>1.5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CC-481D-8881-A52552888769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2202863923158785E-16"/>
                  <c:y val="-0.2014367036707477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4CC-481D-8881-A525528887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  <c:pt idx="0">
                  <c:v>1.35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4CC-481D-8881-A525528887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9A8-4A12-80B8-3F837233DB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5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A8-4A12-80B8-3F837233DBF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4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A8-4A12-80B8-3F837233DBF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9968553459119617E-2"/>
                  <c:y val="0.201438289786524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A8-4A12-80B8-3F837233DB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79A8-4A12-80B8-3F837233DBF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2202863923158785E-16"/>
                  <c:y val="-0.2014367036707477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9A8-4A12-80B8-3F837233DB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79A8-4A12-80B8-3F837233DB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E9B-4696-B13F-2FA34421F19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5875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9B-4696-B13F-2FA34421F19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379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E9B-4696-B13F-2FA34421F19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331236897274633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E9B-4696-B13F-2FA34421F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  <c:pt idx="0">
                  <c:v>3.28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9B-4696-B13F-2FA34421F19B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5-0E9B-4696-B13F-2FA34421F1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B60-42DC-83DB-6E8FA3C24117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0B60-42DC-83DB-6E8FA3C2411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0B60-42DC-83DB-6E8FA3C2411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0B60-42DC-83DB-6E8FA3C24117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B60-42DC-83DB-6E8FA3C2411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5-0B60-42DC-83DB-6E8FA3C241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7.4981107122614771E-2"/>
          <c:w val="1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8C-407F-BFF4-84A54AA5B81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8C-407F-BFF4-84A54AA5B81B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Ні, не працюєте</c:v>
                </c:pt>
                <c:pt idx="1">
                  <c:v>Так, роботу за іншою, непрофільною професією</c:v>
                </c:pt>
                <c:pt idx="2">
                  <c:v>Так, роботу за фахом</c:v>
                </c:pt>
                <c:pt idx="3">
                  <c:v>Ведете власний бізнес</c:v>
                </c:pt>
                <c:pt idx="4">
                  <c:v>Важко сказат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26960000000000001</c:v>
                </c:pt>
                <c:pt idx="1">
                  <c:v>0.29780000000000001</c:v>
                </c:pt>
                <c:pt idx="2">
                  <c:v>0.29780000000000001</c:v>
                </c:pt>
                <c:pt idx="3">
                  <c:v>0</c:v>
                </c:pt>
                <c:pt idx="4">
                  <c:v>0.13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8C-407F-BFF4-84A54AA5B8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081-4952-A437-5AA5417C8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297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81-4952-A437-5AA5417C8CE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5674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81-4952-A437-5AA5417C8CE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331236897274633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081-4952-A437-5AA5417C8C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F081-4952-A437-5AA5417C8CE8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Знання і навички, отриманні під час навчання в університеті, дозволять бути успішними на ринку праці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  <c:pt idx="0">
                  <c:v>0.13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081-4952-A437-5AA5417C8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8</c:f>
              <c:strCache>
                <c:ptCount val="17"/>
                <c:pt idx="0">
                  <c:v>Відвідували кафе, ресторани, бари</c:v>
                </c:pt>
                <c:pt idx="1">
                  <c:v>Відвідували кінотеатри</c:v>
                </c:pt>
                <c:pt idx="2">
                  <c:v>Подорожували по Україні</c:v>
                </c:pt>
                <c:pt idx="3">
                  <c:v>Були на масових розважальних заходах (фестивалі, парки розваг)</c:v>
                </c:pt>
                <c:pt idx="4">
                  <c:v>Відвідували концерти, музичні заходи</c:v>
                </c:pt>
                <c:pt idx="5">
                  <c:v>Були у театрі</c:v>
                </c:pt>
                <c:pt idx="6">
                  <c:v>Були на спортивних подіях, змаганнях</c:v>
                </c:pt>
                <c:pt idx="7">
                  <c:v>Відвідували музеї, виставки</c:v>
                </c:pt>
                <c:pt idx="8">
                  <c:v>Були на презентаціях книг, наприклад у книгарнях</c:v>
                </c:pt>
                <c:pt idx="9">
                  <c:v>Подорожували за кордон</c:v>
                </c:pt>
                <c:pt idx="10">
                  <c:v>Відвідували бібліотеки</c:v>
                </c:pt>
                <c:pt idx="11">
                  <c:v>Прогулянки / Відвідування парків / Відпочинок на природі / Басейн</c:v>
                </c:pt>
                <c:pt idx="12">
                  <c:v>Розваги (зоопарк / планетарій)</c:v>
                </c:pt>
                <c:pt idx="13">
                  <c:v>Торгівельні центри / Розжавальні заклади / Дитячі майданчики</c:v>
                </c:pt>
                <c:pt idx="14">
                  <c:v>Інше</c:v>
                </c:pt>
                <c:pt idx="15">
                  <c:v>Важко сказати</c:v>
                </c:pt>
                <c:pt idx="16">
                  <c:v>Жодне з переліченого</c:v>
                </c:pt>
              </c:strCache>
            </c:strRef>
          </c:cat>
          <c:val>
            <c:numRef>
              <c:f>Лист1!$B$2:$B$18</c:f>
              <c:numCache>
                <c:formatCode>0%</c:formatCode>
                <c:ptCount val="17"/>
                <c:pt idx="0">
                  <c:v>0.65249999999999997</c:v>
                </c:pt>
                <c:pt idx="1">
                  <c:v>0.45379999999999998</c:v>
                </c:pt>
                <c:pt idx="2">
                  <c:v>0.35220000000000001</c:v>
                </c:pt>
                <c:pt idx="3">
                  <c:v>0.27089999999999997</c:v>
                </c:pt>
                <c:pt idx="4">
                  <c:v>0.26629999999999998</c:v>
                </c:pt>
                <c:pt idx="5">
                  <c:v>0.2427</c:v>
                </c:pt>
                <c:pt idx="6">
                  <c:v>0.2177</c:v>
                </c:pt>
                <c:pt idx="7">
                  <c:v>0.2039</c:v>
                </c:pt>
                <c:pt idx="8">
                  <c:v>0.1275</c:v>
                </c:pt>
                <c:pt idx="9">
                  <c:v>0.11849999999999999</c:v>
                </c:pt>
                <c:pt idx="10">
                  <c:v>0.1069</c:v>
                </c:pt>
                <c:pt idx="11">
                  <c:v>3.1800000000000002E-2</c:v>
                </c:pt>
                <c:pt idx="12">
                  <c:v>1.14E-2</c:v>
                </c:pt>
                <c:pt idx="13">
                  <c:v>1.0999999999999999E-2</c:v>
                </c:pt>
                <c:pt idx="14">
                  <c:v>2.93E-2</c:v>
                </c:pt>
                <c:pt idx="15">
                  <c:v>1.26E-2</c:v>
                </c:pt>
                <c:pt idx="16">
                  <c:v>7.5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8</c:f>
              <c:strCache>
                <c:ptCount val="17"/>
                <c:pt idx="0">
                  <c:v>Відвідували кафе, ресторани, бари</c:v>
                </c:pt>
                <c:pt idx="1">
                  <c:v>Відвідували кінотеатри</c:v>
                </c:pt>
                <c:pt idx="2">
                  <c:v>Подорожували по Україні</c:v>
                </c:pt>
                <c:pt idx="3">
                  <c:v>Були на масових розважальних заходах (фестивалі, парки розваг)</c:v>
                </c:pt>
                <c:pt idx="4">
                  <c:v>Відвідували концерти, музичні заходи</c:v>
                </c:pt>
                <c:pt idx="5">
                  <c:v>Були у театрі</c:v>
                </c:pt>
                <c:pt idx="6">
                  <c:v>Були на спортивних подіях, змаганнях</c:v>
                </c:pt>
                <c:pt idx="7">
                  <c:v>Відвідували музеї, виставки</c:v>
                </c:pt>
                <c:pt idx="8">
                  <c:v>Були на презентаціях книг, наприклад у книгарнях</c:v>
                </c:pt>
                <c:pt idx="9">
                  <c:v>Подорожували за кордон</c:v>
                </c:pt>
                <c:pt idx="10">
                  <c:v>Відвідували бібліотеки</c:v>
                </c:pt>
                <c:pt idx="11">
                  <c:v>Прогулянки / Відвідування парків / Відпочинок на природі / Басейн</c:v>
                </c:pt>
                <c:pt idx="12">
                  <c:v>Розваги (зоопарк / планетарій)</c:v>
                </c:pt>
                <c:pt idx="13">
                  <c:v>Торгівельні центри / Розжавальні заклади / Дитячі майданчики</c:v>
                </c:pt>
                <c:pt idx="14">
                  <c:v>Інше</c:v>
                </c:pt>
                <c:pt idx="15">
                  <c:v>Важко сказати</c:v>
                </c:pt>
                <c:pt idx="16">
                  <c:v>Жодне з переліченого</c:v>
                </c:pt>
              </c:strCache>
            </c:strRef>
          </c:cat>
          <c:val>
            <c:numRef>
              <c:f>Лист1!$B$2:$B$18</c:f>
              <c:numCache>
                <c:formatCode>0%</c:formatCode>
                <c:ptCount val="17"/>
                <c:pt idx="0">
                  <c:v>0.58240000000000003</c:v>
                </c:pt>
                <c:pt idx="1">
                  <c:v>0.5111</c:v>
                </c:pt>
                <c:pt idx="2">
                  <c:v>0.32129999999999997</c:v>
                </c:pt>
                <c:pt idx="3">
                  <c:v>0.23630000000000001</c:v>
                </c:pt>
                <c:pt idx="4">
                  <c:v>0.24079999999999999</c:v>
                </c:pt>
                <c:pt idx="5">
                  <c:v>0.19040000000000001</c:v>
                </c:pt>
                <c:pt idx="6">
                  <c:v>0.22120000000000001</c:v>
                </c:pt>
                <c:pt idx="7">
                  <c:v>0.22839999999999999</c:v>
                </c:pt>
                <c:pt idx="8">
                  <c:v>0.13089999999999999</c:v>
                </c:pt>
                <c:pt idx="9">
                  <c:v>0.16689999999999999</c:v>
                </c:pt>
                <c:pt idx="10">
                  <c:v>0.121</c:v>
                </c:pt>
                <c:pt idx="11">
                  <c:v>8.5000000000000006E-3</c:v>
                </c:pt>
                <c:pt idx="12">
                  <c:v>0</c:v>
                </c:pt>
                <c:pt idx="13">
                  <c:v>8.5000000000000006E-3</c:v>
                </c:pt>
                <c:pt idx="14">
                  <c:v>1.0500000000000001E-2</c:v>
                </c:pt>
                <c:pt idx="15">
                  <c:v>3.7999999999999999E-2</c:v>
                </c:pt>
                <c:pt idx="16">
                  <c:v>8.500000000000000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1</c:f>
              <c:strCache>
                <c:ptCount val="20"/>
                <c:pt idx="0">
                  <c:v>Інформатика (ІТ) (комп’ютерне програмування, оброблення дани</c:v>
                </c:pt>
                <c:pt idx="1">
                  <c:v>Гуртова й роздрібна торгівля, ремонт автомобілів</c:v>
                </c:pt>
                <c:pt idx="2">
                  <c:v>Охорона здоров'я, соціальна робота</c:v>
                </c:pt>
                <c:pt idx="3">
                  <c:v>Освіта</c:v>
                </c:pt>
                <c:pt idx="4">
                  <c:v>Надання послуг</c:v>
                </c:pt>
                <c:pt idx="5">
                  <c:v>Будівництво</c:v>
                </c:pt>
                <c:pt idx="6">
                  <c:v>Фінансові й страхові послуги</c:v>
                </c:pt>
                <c:pt idx="7">
                  <c:v>Професійні, наукові, технічні послуги, бізнес-консультації</c:v>
                </c:pt>
                <c:pt idx="8">
                  <c:v>Публічне управління і оборона, державний соціальний захист</c:v>
                </c:pt>
                <c:pt idx="9">
                  <c:v>Готельний і ресторанний бізнес</c:v>
                </c:pt>
                <c:pt idx="10">
                  <c:v>Зв’язок</c:v>
                </c:pt>
                <c:pt idx="11">
                  <c:v>Сільське, лісове, рибне господарство</c:v>
                </c:pt>
                <c:pt idx="12">
                  <c:v>Харчова промисловість</c:v>
                </c:pt>
                <c:pt idx="13">
                  <c:v>Транспорт і складське господарство</c:v>
                </c:pt>
                <c:pt idx="14">
                  <c:v>Б'юті-сфера</c:v>
                </c:pt>
                <c:pt idx="15">
                  <c:v>Переробна промисловість</c:v>
                </c:pt>
                <c:pt idx="16">
                  <c:v>Виробництво й постачання електроенергії, газу, води, тепла</c:v>
                </c:pt>
                <c:pt idx="17">
                  <c:v>Послуги у сфері нерухомості</c:v>
                </c:pt>
                <c:pt idx="18">
                  <c:v>Інше</c:v>
                </c:pt>
                <c:pt idx="19">
                  <c:v>Важко сказати</c:v>
                </c:pt>
              </c:strCache>
            </c:strRef>
          </c:cat>
          <c:val>
            <c:numRef>
              <c:f>Лист1!$B$2:$B$21</c:f>
              <c:numCache>
                <c:formatCode>0%</c:formatCode>
                <c:ptCount val="20"/>
                <c:pt idx="0">
                  <c:v>0.23580000000000001</c:v>
                </c:pt>
                <c:pt idx="1">
                  <c:v>0.1525</c:v>
                </c:pt>
                <c:pt idx="2">
                  <c:v>0.1225</c:v>
                </c:pt>
                <c:pt idx="3">
                  <c:v>6.7799999999999999E-2</c:v>
                </c:pt>
                <c:pt idx="4">
                  <c:v>4.1300000000000003E-2</c:v>
                </c:pt>
                <c:pt idx="5">
                  <c:v>0</c:v>
                </c:pt>
                <c:pt idx="6">
                  <c:v>3.6499999999999998E-2</c:v>
                </c:pt>
                <c:pt idx="7">
                  <c:v>3.6499999999999998E-2</c:v>
                </c:pt>
                <c:pt idx="8">
                  <c:v>1.8200000000000001E-2</c:v>
                </c:pt>
                <c:pt idx="9">
                  <c:v>8.3000000000000001E-3</c:v>
                </c:pt>
                <c:pt idx="10">
                  <c:v>4.99E-2</c:v>
                </c:pt>
                <c:pt idx="11">
                  <c:v>1.8200000000000001E-2</c:v>
                </c:pt>
                <c:pt idx="12">
                  <c:v>2.8199999999999999E-2</c:v>
                </c:pt>
                <c:pt idx="13">
                  <c:v>0.03</c:v>
                </c:pt>
                <c:pt idx="14">
                  <c:v>2.4799999999999999E-2</c:v>
                </c:pt>
                <c:pt idx="15">
                  <c:v>0.03</c:v>
                </c:pt>
                <c:pt idx="16">
                  <c:v>8.3000000000000001E-3</c:v>
                </c:pt>
                <c:pt idx="17">
                  <c:v>0</c:v>
                </c:pt>
                <c:pt idx="18">
                  <c:v>8.1199999999999994E-2</c:v>
                </c:pt>
                <c:pt idx="19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8</c:f>
              <c:strCache>
                <c:ptCount val="17"/>
                <c:pt idx="0">
                  <c:v>Відвідували кафе, ресторани, бари</c:v>
                </c:pt>
                <c:pt idx="1">
                  <c:v>Відвідували кінотеатри</c:v>
                </c:pt>
                <c:pt idx="2">
                  <c:v>Подорожували по Україні</c:v>
                </c:pt>
                <c:pt idx="3">
                  <c:v>Були на масових розважальних заходах (фестивалі, парки розваг)</c:v>
                </c:pt>
                <c:pt idx="4">
                  <c:v>Відвідували концерти, музичні заходи</c:v>
                </c:pt>
                <c:pt idx="5">
                  <c:v>Були у театрі</c:v>
                </c:pt>
                <c:pt idx="6">
                  <c:v>Були на спортивних подіях, змаганнях</c:v>
                </c:pt>
                <c:pt idx="7">
                  <c:v>Відвідували музеї, виставки</c:v>
                </c:pt>
                <c:pt idx="8">
                  <c:v>Були на презентаціях книг, наприклад у книгарнях</c:v>
                </c:pt>
                <c:pt idx="9">
                  <c:v>Подорожували за кордон</c:v>
                </c:pt>
                <c:pt idx="10">
                  <c:v>Відвідували бібліотеки</c:v>
                </c:pt>
                <c:pt idx="11">
                  <c:v>Прогулянки / Відвідування парків / Відпочинок на природі / Басейн</c:v>
                </c:pt>
                <c:pt idx="12">
                  <c:v>Розваги (зоопарк / планетарій)</c:v>
                </c:pt>
                <c:pt idx="13">
                  <c:v>Торгівельні центри / Розжавальні заклади / Дитячі майданчики</c:v>
                </c:pt>
                <c:pt idx="14">
                  <c:v>Інше</c:v>
                </c:pt>
                <c:pt idx="15">
                  <c:v>Важко сказати</c:v>
                </c:pt>
                <c:pt idx="16">
                  <c:v>Жодне з переліченого</c:v>
                </c:pt>
              </c:strCache>
            </c:strRef>
          </c:cat>
          <c:val>
            <c:numRef>
              <c:f>Лист1!$B$2:$B$18</c:f>
              <c:numCache>
                <c:formatCode>0%</c:formatCode>
                <c:ptCount val="17"/>
                <c:pt idx="0">
                  <c:v>0.69620000000000004</c:v>
                </c:pt>
                <c:pt idx="1">
                  <c:v>0.5151</c:v>
                </c:pt>
                <c:pt idx="2">
                  <c:v>0.3836</c:v>
                </c:pt>
                <c:pt idx="3">
                  <c:v>0.24060000000000001</c:v>
                </c:pt>
                <c:pt idx="4">
                  <c:v>0.2059</c:v>
                </c:pt>
                <c:pt idx="5">
                  <c:v>0.2248</c:v>
                </c:pt>
                <c:pt idx="6">
                  <c:v>0.13900000000000001</c:v>
                </c:pt>
                <c:pt idx="7">
                  <c:v>0.26650000000000001</c:v>
                </c:pt>
                <c:pt idx="8">
                  <c:v>7.7399999999999997E-2</c:v>
                </c:pt>
                <c:pt idx="9">
                  <c:v>5.7500000000000002E-2</c:v>
                </c:pt>
                <c:pt idx="10">
                  <c:v>9.5200000000000007E-2</c:v>
                </c:pt>
                <c:pt idx="11">
                  <c:v>5.0099999999999999E-2</c:v>
                </c:pt>
                <c:pt idx="12">
                  <c:v>9.4000000000000004E-3</c:v>
                </c:pt>
                <c:pt idx="13">
                  <c:v>1.9900000000000001E-2</c:v>
                </c:pt>
                <c:pt idx="14">
                  <c:v>3.9699999999999999E-2</c:v>
                </c:pt>
                <c:pt idx="15">
                  <c:v>2.0899999999999998E-2</c:v>
                </c:pt>
                <c:pt idx="16">
                  <c:v>8.1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8</c:f>
              <c:strCache>
                <c:ptCount val="17"/>
                <c:pt idx="0">
                  <c:v>Відвідували кафе, ресторани, бари</c:v>
                </c:pt>
                <c:pt idx="1">
                  <c:v>Відвідували кінотеатри</c:v>
                </c:pt>
                <c:pt idx="2">
                  <c:v>Подорожували по Україні</c:v>
                </c:pt>
                <c:pt idx="3">
                  <c:v>Були на масових розважальних заходах (фестивалі, парки розваг)</c:v>
                </c:pt>
                <c:pt idx="4">
                  <c:v>Відвідували концерти, музичні заходи</c:v>
                </c:pt>
                <c:pt idx="5">
                  <c:v>Були у театрі</c:v>
                </c:pt>
                <c:pt idx="6">
                  <c:v>Були на спортивних подіях, змаганнях</c:v>
                </c:pt>
                <c:pt idx="7">
                  <c:v>Відвідували музеї, виставки</c:v>
                </c:pt>
                <c:pt idx="8">
                  <c:v>Були на презентаціях книг, наприклад у книгарнях</c:v>
                </c:pt>
                <c:pt idx="9">
                  <c:v>Подорожували за кордон</c:v>
                </c:pt>
                <c:pt idx="10">
                  <c:v>Відвідували бібліотеки</c:v>
                </c:pt>
                <c:pt idx="11">
                  <c:v>Прогулянки / Відвідування парків / Відпочинок на природі / Басейн</c:v>
                </c:pt>
                <c:pt idx="12">
                  <c:v>Розваги (зоопарк / планетарій)</c:v>
                </c:pt>
                <c:pt idx="13">
                  <c:v>Торгівельні центри / Розжавальні заклади / Дитячі майданчики</c:v>
                </c:pt>
                <c:pt idx="14">
                  <c:v>Інше</c:v>
                </c:pt>
                <c:pt idx="15">
                  <c:v>Важко сказати</c:v>
                </c:pt>
                <c:pt idx="16">
                  <c:v>Жодне з переліченого</c:v>
                </c:pt>
              </c:strCache>
            </c:strRef>
          </c:cat>
          <c:val>
            <c:numRef>
              <c:f>Лист1!$B$2:$B$18</c:f>
              <c:numCache>
                <c:formatCode>0%</c:formatCode>
                <c:ptCount val="17"/>
                <c:pt idx="0">
                  <c:v>0.7016</c:v>
                </c:pt>
                <c:pt idx="1">
                  <c:v>0.4274</c:v>
                </c:pt>
                <c:pt idx="2">
                  <c:v>0.41049999999999998</c:v>
                </c:pt>
                <c:pt idx="3">
                  <c:v>0.32750000000000001</c:v>
                </c:pt>
                <c:pt idx="4">
                  <c:v>0.26050000000000001</c:v>
                </c:pt>
                <c:pt idx="5">
                  <c:v>0.26779999999999998</c:v>
                </c:pt>
                <c:pt idx="6">
                  <c:v>0.18129999999999999</c:v>
                </c:pt>
                <c:pt idx="7">
                  <c:v>0.19600000000000001</c:v>
                </c:pt>
                <c:pt idx="8">
                  <c:v>0.16189999999999999</c:v>
                </c:pt>
                <c:pt idx="9">
                  <c:v>9.3600000000000003E-2</c:v>
                </c:pt>
                <c:pt idx="10">
                  <c:v>0.11559999999999999</c:v>
                </c:pt>
                <c:pt idx="11">
                  <c:v>4.1500000000000002E-2</c:v>
                </c:pt>
                <c:pt idx="12">
                  <c:v>1.8200000000000001E-2</c:v>
                </c:pt>
                <c:pt idx="13">
                  <c:v>0</c:v>
                </c:pt>
                <c:pt idx="14">
                  <c:v>4.1500000000000002E-2</c:v>
                </c:pt>
                <c:pt idx="15">
                  <c:v>0</c:v>
                </c:pt>
                <c:pt idx="16">
                  <c:v>5.60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8</c:f>
              <c:strCache>
                <c:ptCount val="17"/>
                <c:pt idx="0">
                  <c:v>Відвідували кафе, ресторани, бари</c:v>
                </c:pt>
                <c:pt idx="1">
                  <c:v>Відвідували кінотеатри</c:v>
                </c:pt>
                <c:pt idx="2">
                  <c:v>Подорожували по Україні</c:v>
                </c:pt>
                <c:pt idx="3">
                  <c:v>Були на масових розважальних заходах (фестивалі, парки розваг)</c:v>
                </c:pt>
                <c:pt idx="4">
                  <c:v>Відвідували концерти, музичні заходи</c:v>
                </c:pt>
                <c:pt idx="5">
                  <c:v>Були у театрі</c:v>
                </c:pt>
                <c:pt idx="6">
                  <c:v>Були на спортивних подіях, змаганнях</c:v>
                </c:pt>
                <c:pt idx="7">
                  <c:v>Відвідували музеї, виставки</c:v>
                </c:pt>
                <c:pt idx="8">
                  <c:v>Були на презентаціях книг, наприклад у книгарнях</c:v>
                </c:pt>
                <c:pt idx="9">
                  <c:v>Подорожували за кордон</c:v>
                </c:pt>
                <c:pt idx="10">
                  <c:v>Відвідували бібліотеки</c:v>
                </c:pt>
                <c:pt idx="11">
                  <c:v>Прогулянки / Відвідування парків / Відпочинок на природі / Басейн</c:v>
                </c:pt>
                <c:pt idx="12">
                  <c:v>Розваги (зоопарк / планетарій)</c:v>
                </c:pt>
                <c:pt idx="13">
                  <c:v>Торгівельні центри / Розжавальні заклади / Дитячі майданчики</c:v>
                </c:pt>
                <c:pt idx="14">
                  <c:v>Інше</c:v>
                </c:pt>
                <c:pt idx="15">
                  <c:v>Важко сказати</c:v>
                </c:pt>
                <c:pt idx="16">
                  <c:v>Жодне з переліченого</c:v>
                </c:pt>
              </c:strCache>
            </c:strRef>
          </c:cat>
          <c:val>
            <c:numRef>
              <c:f>Лист1!$B$2:$B$18</c:f>
              <c:numCache>
                <c:formatCode>0%</c:formatCode>
                <c:ptCount val="17"/>
                <c:pt idx="0">
                  <c:v>0.64770000000000005</c:v>
                </c:pt>
                <c:pt idx="1">
                  <c:v>0.40500000000000003</c:v>
                </c:pt>
                <c:pt idx="2">
                  <c:v>0.3216</c:v>
                </c:pt>
                <c:pt idx="3">
                  <c:v>0.27179999999999999</c:v>
                </c:pt>
                <c:pt idx="4">
                  <c:v>0.31409999999999999</c:v>
                </c:pt>
                <c:pt idx="5">
                  <c:v>0.26929999999999998</c:v>
                </c:pt>
                <c:pt idx="6">
                  <c:v>0.27389999999999998</c:v>
                </c:pt>
                <c:pt idx="7">
                  <c:v>0.1643</c:v>
                </c:pt>
                <c:pt idx="8">
                  <c:v>0.12659999999999999</c:v>
                </c:pt>
                <c:pt idx="9">
                  <c:v>0.13009999999999999</c:v>
                </c:pt>
                <c:pt idx="10">
                  <c:v>9.7500000000000003E-2</c:v>
                </c:pt>
                <c:pt idx="11">
                  <c:v>3.27E-2</c:v>
                </c:pt>
                <c:pt idx="12">
                  <c:v>1.5599999999999999E-2</c:v>
                </c:pt>
                <c:pt idx="13">
                  <c:v>1.5599999999999999E-2</c:v>
                </c:pt>
                <c:pt idx="14">
                  <c:v>2.9100000000000001E-2</c:v>
                </c:pt>
                <c:pt idx="15">
                  <c:v>0</c:v>
                </c:pt>
                <c:pt idx="16">
                  <c:v>0.129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еформальні лекції, воркшопи, навчальні курси</c:v>
                </c:pt>
                <c:pt idx="1">
                  <c:v>Займались волонтерством</c:v>
                </c:pt>
                <c:pt idx="2">
                  <c:v>Курси підвищення кваліфікації по роботі</c:v>
                </c:pt>
                <c:pt idx="3">
                  <c:v>Спільноти за інтересами: зустрічі, спілкування, обмін ідеями</c:v>
                </c:pt>
                <c:pt idx="4">
                  <c:v>Психологічна допомога або консультації</c:v>
                </c:pt>
                <c:pt idx="5">
                  <c:v>Допомога у професійній орієнтації</c:v>
                </c:pt>
                <c:pt idx="6">
                  <c:v>Брали участь у громадських ініціативах для розвитку міста</c:v>
                </c:pt>
                <c:pt idx="7">
                  <c:v>Курси іноземних мов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34589999999999999</c:v>
                </c:pt>
                <c:pt idx="1">
                  <c:v>0.33529999999999999</c:v>
                </c:pt>
                <c:pt idx="2">
                  <c:v>0.30890000000000001</c:v>
                </c:pt>
                <c:pt idx="3">
                  <c:v>0.26819999999999999</c:v>
                </c:pt>
                <c:pt idx="4">
                  <c:v>0.16700000000000001</c:v>
                </c:pt>
                <c:pt idx="5">
                  <c:v>0.1084</c:v>
                </c:pt>
                <c:pt idx="6">
                  <c:v>0.10340000000000001</c:v>
                </c:pt>
                <c:pt idx="7">
                  <c:v>8.3999999999999995E-3</c:v>
                </c:pt>
                <c:pt idx="8">
                  <c:v>2.6800000000000001E-2</c:v>
                </c:pt>
                <c:pt idx="9">
                  <c:v>2.35E-2</c:v>
                </c:pt>
                <c:pt idx="10">
                  <c:v>0.19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еформальні лекції, воркшопи, навчальні курси</c:v>
                </c:pt>
                <c:pt idx="1">
                  <c:v>Займались волонтерством</c:v>
                </c:pt>
                <c:pt idx="2">
                  <c:v>Курси підвищення кваліфікації по роботі</c:v>
                </c:pt>
                <c:pt idx="3">
                  <c:v>Спільноти за інтересами: зустрічі, спілкування, обмін ідеями</c:v>
                </c:pt>
                <c:pt idx="4">
                  <c:v>Психологічна допомога або консультації</c:v>
                </c:pt>
                <c:pt idx="5">
                  <c:v>Допомога у професійній орієнтації</c:v>
                </c:pt>
                <c:pt idx="6">
                  <c:v>Брали участь у громадських ініціативах для розвитку міста</c:v>
                </c:pt>
                <c:pt idx="7">
                  <c:v>Курси іноземних мов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21529999999999999</c:v>
                </c:pt>
                <c:pt idx="1">
                  <c:v>0.26369999999999999</c:v>
                </c:pt>
                <c:pt idx="2">
                  <c:v>0.12889999999999999</c:v>
                </c:pt>
                <c:pt idx="3">
                  <c:v>0.2762</c:v>
                </c:pt>
                <c:pt idx="4">
                  <c:v>0.13350000000000001</c:v>
                </c:pt>
                <c:pt idx="5">
                  <c:v>9.2899999999999996E-2</c:v>
                </c:pt>
                <c:pt idx="6">
                  <c:v>0.12239999999999999</c:v>
                </c:pt>
                <c:pt idx="7">
                  <c:v>0</c:v>
                </c:pt>
                <c:pt idx="8">
                  <c:v>3.1399999999999997E-2</c:v>
                </c:pt>
                <c:pt idx="9">
                  <c:v>6.3500000000000001E-2</c:v>
                </c:pt>
                <c:pt idx="10">
                  <c:v>0.185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еформальні лекції, воркшопи, навчальні курси</c:v>
                </c:pt>
                <c:pt idx="1">
                  <c:v>Займались волонтерством</c:v>
                </c:pt>
                <c:pt idx="2">
                  <c:v>Курси підвищення кваліфікації по роботі</c:v>
                </c:pt>
                <c:pt idx="3">
                  <c:v>Спільноти за інтересами: зустрічі, спілкування, обмін ідеями</c:v>
                </c:pt>
                <c:pt idx="4">
                  <c:v>Психологічна допомога або консультації</c:v>
                </c:pt>
                <c:pt idx="5">
                  <c:v>Допомога у професійній орієнтації</c:v>
                </c:pt>
                <c:pt idx="6">
                  <c:v>Брали участь у громадських ініціативах для розвитку міста</c:v>
                </c:pt>
                <c:pt idx="7">
                  <c:v>Курси іноземних мов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3523</c:v>
                </c:pt>
                <c:pt idx="1">
                  <c:v>0.33139999999999997</c:v>
                </c:pt>
                <c:pt idx="2">
                  <c:v>0.2591</c:v>
                </c:pt>
                <c:pt idx="3">
                  <c:v>0.25609999999999999</c:v>
                </c:pt>
                <c:pt idx="4">
                  <c:v>0.16420000000000001</c:v>
                </c:pt>
                <c:pt idx="5">
                  <c:v>0.14430000000000001</c:v>
                </c:pt>
                <c:pt idx="6">
                  <c:v>0.11609999999999999</c:v>
                </c:pt>
                <c:pt idx="7">
                  <c:v>1.04E-2</c:v>
                </c:pt>
                <c:pt idx="8">
                  <c:v>0</c:v>
                </c:pt>
                <c:pt idx="9">
                  <c:v>5.0099999999999999E-2</c:v>
                </c:pt>
                <c:pt idx="10">
                  <c:v>0.156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еформальні лекції, воркшопи, навчальні курси</c:v>
                </c:pt>
                <c:pt idx="1">
                  <c:v>Займались волонтерством</c:v>
                </c:pt>
                <c:pt idx="2">
                  <c:v>Курси підвищення кваліфікації по роботі</c:v>
                </c:pt>
                <c:pt idx="3">
                  <c:v>Спільноти за інтересами: зустрічі, спілкування, обмін ідеями</c:v>
                </c:pt>
                <c:pt idx="4">
                  <c:v>Психологічна допомога або консультації</c:v>
                </c:pt>
                <c:pt idx="5">
                  <c:v>Допомога у професійній орієнтації</c:v>
                </c:pt>
                <c:pt idx="6">
                  <c:v>Брали участь у громадських ініціативах для розвитку міста</c:v>
                </c:pt>
                <c:pt idx="7">
                  <c:v>Курси іноземних мов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44790000000000002</c:v>
                </c:pt>
                <c:pt idx="1">
                  <c:v>0.3569</c:v>
                </c:pt>
                <c:pt idx="2">
                  <c:v>0.3508</c:v>
                </c:pt>
                <c:pt idx="3">
                  <c:v>0.30780000000000002</c:v>
                </c:pt>
                <c:pt idx="4">
                  <c:v>0.19980000000000001</c:v>
                </c:pt>
                <c:pt idx="5">
                  <c:v>0.1206</c:v>
                </c:pt>
                <c:pt idx="6">
                  <c:v>6.2199999999999998E-2</c:v>
                </c:pt>
                <c:pt idx="7">
                  <c:v>7.3000000000000001E-3</c:v>
                </c:pt>
                <c:pt idx="8">
                  <c:v>4.02E-2</c:v>
                </c:pt>
                <c:pt idx="9">
                  <c:v>0</c:v>
                </c:pt>
                <c:pt idx="10">
                  <c:v>0.179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еформальні лекції, воркшопи, навчальні курси</c:v>
                </c:pt>
                <c:pt idx="1">
                  <c:v>Займались волонтерством</c:v>
                </c:pt>
                <c:pt idx="2">
                  <c:v>Курси підвищення кваліфікації по роботі</c:v>
                </c:pt>
                <c:pt idx="3">
                  <c:v>Спільноти за інтересами: зустрічі, спілкування, обмін ідеями</c:v>
                </c:pt>
                <c:pt idx="4">
                  <c:v>Психологічна допомога або консультації</c:v>
                </c:pt>
                <c:pt idx="5">
                  <c:v>Допомога у професійній орієнтації</c:v>
                </c:pt>
                <c:pt idx="6">
                  <c:v>Брали участь у громадських ініціативах для розвитку міста</c:v>
                </c:pt>
                <c:pt idx="7">
                  <c:v>Курси іноземних мов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36480000000000001</c:v>
                </c:pt>
                <c:pt idx="1">
                  <c:v>0.37040000000000001</c:v>
                </c:pt>
                <c:pt idx="2">
                  <c:v>0.42309999999999998</c:v>
                </c:pt>
                <c:pt idx="3">
                  <c:v>0.2437</c:v>
                </c:pt>
                <c:pt idx="4">
                  <c:v>0.16980000000000001</c:v>
                </c:pt>
                <c:pt idx="5">
                  <c:v>9.4500000000000001E-2</c:v>
                </c:pt>
                <c:pt idx="6">
                  <c:v>0.111</c:v>
                </c:pt>
                <c:pt idx="7">
                  <c:v>1.3599999999999999E-2</c:v>
                </c:pt>
                <c:pt idx="8">
                  <c:v>2.76E-2</c:v>
                </c:pt>
                <c:pt idx="9">
                  <c:v>0</c:v>
                </c:pt>
                <c:pt idx="10">
                  <c:v>0.219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авчання і консультації з бізнес-планування, ведення фінансового обліку</c:v>
                </c:pt>
                <c:pt idx="1">
                  <c:v>Менторство, консультації від успішних бізнесменів</c:v>
                </c:pt>
                <c:pt idx="2">
                  <c:v>Юридичні консультації щодо створення і ведення бізнесу</c:v>
                </c:pt>
                <c:pt idx="3">
                  <c:v>Хаб/простір для зустрічей підприємців, обміну досвідом, проведення заходів</c:v>
                </c:pt>
                <c:pt idx="4">
                  <c:v>Гранти на закупівлю обладнання</c:v>
                </c:pt>
                <c:pt idx="5">
                  <c:v>Навчання і консультації щодо залучення інвесторів</c:v>
                </c:pt>
                <c:pt idx="6">
                  <c:v>Навчання і консультації щодо маркетингу і збуту</c:v>
                </c:pt>
                <c:pt idx="7">
                  <c:v>Кредити за пільговою ставкою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45860000000000001</c:v>
                </c:pt>
                <c:pt idx="1">
                  <c:v>0.44800000000000001</c:v>
                </c:pt>
                <c:pt idx="2">
                  <c:v>0.42770000000000002</c:v>
                </c:pt>
                <c:pt idx="3">
                  <c:v>0.37980000000000003</c:v>
                </c:pt>
                <c:pt idx="4">
                  <c:v>0.36330000000000001</c:v>
                </c:pt>
                <c:pt idx="5">
                  <c:v>0.35260000000000002</c:v>
                </c:pt>
                <c:pt idx="6">
                  <c:v>0.32400000000000001</c:v>
                </c:pt>
                <c:pt idx="7">
                  <c:v>0.25769999999999998</c:v>
                </c:pt>
                <c:pt idx="8">
                  <c:v>3.7600000000000001E-2</c:v>
                </c:pt>
                <c:pt idx="9">
                  <c:v>2.92E-2</c:v>
                </c:pt>
                <c:pt idx="10">
                  <c:v>3.96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авчання і консультації з бізнес-планування, ведення фінансового обліку</c:v>
                </c:pt>
                <c:pt idx="1">
                  <c:v>Менторство, консультації від успішних бізнесменів</c:v>
                </c:pt>
                <c:pt idx="2">
                  <c:v>Юридичні консультації щодо створення і ведення бізнесу</c:v>
                </c:pt>
                <c:pt idx="3">
                  <c:v>Хаб/простір для зустрічей підприємців, обміну досвідом, проведення заходів</c:v>
                </c:pt>
                <c:pt idx="4">
                  <c:v>Гранти на закупівлю обладнання</c:v>
                </c:pt>
                <c:pt idx="5">
                  <c:v>Навчання і консультації щодо залучення інвесторів</c:v>
                </c:pt>
                <c:pt idx="6">
                  <c:v>Навчання і консультації щодо маркетингу і збуту</c:v>
                </c:pt>
                <c:pt idx="7">
                  <c:v>Кредити за пільговою ставкою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52310000000000001</c:v>
                </c:pt>
                <c:pt idx="1">
                  <c:v>0.3427</c:v>
                </c:pt>
                <c:pt idx="2">
                  <c:v>0.3357</c:v>
                </c:pt>
                <c:pt idx="3">
                  <c:v>0.40279999999999999</c:v>
                </c:pt>
                <c:pt idx="4">
                  <c:v>0.26150000000000001</c:v>
                </c:pt>
                <c:pt idx="5">
                  <c:v>0.28249999999999997</c:v>
                </c:pt>
                <c:pt idx="6">
                  <c:v>0.39579999999999999</c:v>
                </c:pt>
                <c:pt idx="7">
                  <c:v>3.7100000000000001E-2</c:v>
                </c:pt>
                <c:pt idx="8">
                  <c:v>0</c:v>
                </c:pt>
                <c:pt idx="9">
                  <c:v>9.7199999999999995E-2</c:v>
                </c:pt>
                <c:pt idx="10">
                  <c:v>6.71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1</c:f>
              <c:strCache>
                <c:ptCount val="20"/>
                <c:pt idx="0">
                  <c:v>Інформатика (ІТ) (комп’ютерне програмування, оброблення дани</c:v>
                </c:pt>
                <c:pt idx="1">
                  <c:v>Гуртова й роздрібна торгівля, ремонт автомобілів</c:v>
                </c:pt>
                <c:pt idx="2">
                  <c:v>Охорона здоров'я, соціальна робота</c:v>
                </c:pt>
                <c:pt idx="3">
                  <c:v>Освіта</c:v>
                </c:pt>
                <c:pt idx="4">
                  <c:v>Надання послуг</c:v>
                </c:pt>
                <c:pt idx="5">
                  <c:v>Будівництво</c:v>
                </c:pt>
                <c:pt idx="6">
                  <c:v>Фінансові й страхові послуги</c:v>
                </c:pt>
                <c:pt idx="7">
                  <c:v>Професійні, наукові, технічні послуги, бізнес-консультації</c:v>
                </c:pt>
                <c:pt idx="8">
                  <c:v>Публічне управління і оборона, державний соціальний захист</c:v>
                </c:pt>
                <c:pt idx="9">
                  <c:v>Готельний і ресторанний бізнес</c:v>
                </c:pt>
                <c:pt idx="10">
                  <c:v>Зв’язок</c:v>
                </c:pt>
                <c:pt idx="11">
                  <c:v>Сільське, лісове, рибне господарство</c:v>
                </c:pt>
                <c:pt idx="12">
                  <c:v>Харчова промисловість</c:v>
                </c:pt>
                <c:pt idx="13">
                  <c:v>Транспорт і складське господарство</c:v>
                </c:pt>
                <c:pt idx="14">
                  <c:v>Б'юті-сфера</c:v>
                </c:pt>
                <c:pt idx="15">
                  <c:v>Переробна промисловість</c:v>
                </c:pt>
                <c:pt idx="16">
                  <c:v>Виробництво й постачання електроенергії, газу, води, тепла</c:v>
                </c:pt>
                <c:pt idx="17">
                  <c:v>Послуги у сфері нерухомості</c:v>
                </c:pt>
                <c:pt idx="18">
                  <c:v>Інше</c:v>
                </c:pt>
                <c:pt idx="19">
                  <c:v>Важко сказати</c:v>
                </c:pt>
              </c:strCache>
            </c:strRef>
          </c:cat>
          <c:val>
            <c:numRef>
              <c:f>Лист1!$B$2:$B$21</c:f>
              <c:numCache>
                <c:formatCode>0%</c:formatCode>
                <c:ptCount val="20"/>
                <c:pt idx="0">
                  <c:v>0.18970000000000001</c:v>
                </c:pt>
                <c:pt idx="1">
                  <c:v>0.2084</c:v>
                </c:pt>
                <c:pt idx="2">
                  <c:v>0.11700000000000001</c:v>
                </c:pt>
                <c:pt idx="3">
                  <c:v>6.88E-2</c:v>
                </c:pt>
                <c:pt idx="4">
                  <c:v>4.3700000000000003E-2</c:v>
                </c:pt>
                <c:pt idx="5">
                  <c:v>5.21E-2</c:v>
                </c:pt>
                <c:pt idx="6">
                  <c:v>3.7900000000000003E-2</c:v>
                </c:pt>
                <c:pt idx="7">
                  <c:v>2.64E-2</c:v>
                </c:pt>
                <c:pt idx="8">
                  <c:v>4.5699999999999998E-2</c:v>
                </c:pt>
                <c:pt idx="9">
                  <c:v>2.64E-2</c:v>
                </c:pt>
                <c:pt idx="10">
                  <c:v>1.7399999999999999E-2</c:v>
                </c:pt>
                <c:pt idx="11">
                  <c:v>1.7999999999999999E-2</c:v>
                </c:pt>
                <c:pt idx="12">
                  <c:v>1.7399999999999999E-2</c:v>
                </c:pt>
                <c:pt idx="13">
                  <c:v>1.29E-2</c:v>
                </c:pt>
                <c:pt idx="14">
                  <c:v>1.35E-2</c:v>
                </c:pt>
                <c:pt idx="15">
                  <c:v>6.4000000000000003E-3</c:v>
                </c:pt>
                <c:pt idx="16">
                  <c:v>2.3800000000000002E-2</c:v>
                </c:pt>
                <c:pt idx="17" formatCode="0.0%">
                  <c:v>4.4999999999999997E-3</c:v>
                </c:pt>
                <c:pt idx="18">
                  <c:v>5.4699999999999999E-2</c:v>
                </c:pt>
                <c:pt idx="19">
                  <c:v>1.5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авчання і консультації з бізнес-планування, ведення фінансового обліку</c:v>
                </c:pt>
                <c:pt idx="1">
                  <c:v>Менторство, консультації від успішних бізнесменів</c:v>
                </c:pt>
                <c:pt idx="2">
                  <c:v>Юридичні консультації щодо створення і ведення бізнесу</c:v>
                </c:pt>
                <c:pt idx="3">
                  <c:v>Хаб/простір для зустрічей підприємців, обміну досвідом, проведення заходів</c:v>
                </c:pt>
                <c:pt idx="4">
                  <c:v>Гранти на закупівлю обладнання</c:v>
                </c:pt>
                <c:pt idx="5">
                  <c:v>Навчання і консультації щодо залучення інвесторів</c:v>
                </c:pt>
                <c:pt idx="6">
                  <c:v>Навчання і консультації щодо маркетингу і збуту</c:v>
                </c:pt>
                <c:pt idx="7">
                  <c:v>Кредити за пільговою ставкою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45669999999999999</c:v>
                </c:pt>
                <c:pt idx="1">
                  <c:v>0.54800000000000004</c:v>
                </c:pt>
                <c:pt idx="2">
                  <c:v>0.55259999999999998</c:v>
                </c:pt>
                <c:pt idx="3">
                  <c:v>0.41799999999999998</c:v>
                </c:pt>
                <c:pt idx="4">
                  <c:v>0.37459999999999999</c:v>
                </c:pt>
                <c:pt idx="5">
                  <c:v>0.36070000000000002</c:v>
                </c:pt>
                <c:pt idx="6">
                  <c:v>0.13469999999999999</c:v>
                </c:pt>
                <c:pt idx="7">
                  <c:v>0.13930000000000001</c:v>
                </c:pt>
                <c:pt idx="8">
                  <c:v>4.8000000000000001E-2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авчання і консультації з бізнес-планування, ведення фінансового обліку</c:v>
                </c:pt>
                <c:pt idx="1">
                  <c:v>Менторство, консультації від успішних бізнесменів</c:v>
                </c:pt>
                <c:pt idx="2">
                  <c:v>Юридичні консультації щодо створення і ведення бізнесу</c:v>
                </c:pt>
                <c:pt idx="3">
                  <c:v>Хаб/простір для зустрічей підприємців, обміну досвідом, проведення заходів</c:v>
                </c:pt>
                <c:pt idx="4">
                  <c:v>Гранти на закупівлю обладнання</c:v>
                </c:pt>
                <c:pt idx="5">
                  <c:v>Навчання і консультації щодо залучення інвесторів</c:v>
                </c:pt>
                <c:pt idx="6">
                  <c:v>Навчання і консультації щодо маркетингу і збуту</c:v>
                </c:pt>
                <c:pt idx="7">
                  <c:v>Кредити за пільговою ставкою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46860000000000002</c:v>
                </c:pt>
                <c:pt idx="1">
                  <c:v>0.47449999999999998</c:v>
                </c:pt>
                <c:pt idx="2">
                  <c:v>0.55989999999999995</c:v>
                </c:pt>
                <c:pt idx="3">
                  <c:v>0.42820000000000003</c:v>
                </c:pt>
                <c:pt idx="4">
                  <c:v>0.28589999999999999</c:v>
                </c:pt>
                <c:pt idx="5">
                  <c:v>0.44009999999999999</c:v>
                </c:pt>
                <c:pt idx="6">
                  <c:v>0.44600000000000001</c:v>
                </c:pt>
                <c:pt idx="7">
                  <c:v>0.3891</c:v>
                </c:pt>
                <c:pt idx="8">
                  <c:v>6.2899999999999998E-2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Навчання і консультації з бізнес-планування, ведення фінансового обліку</c:v>
                </c:pt>
                <c:pt idx="1">
                  <c:v>Менторство, консультації від успішних бізнесменів</c:v>
                </c:pt>
                <c:pt idx="2">
                  <c:v>Юридичні консультації щодо створення і ведення бізнесу</c:v>
                </c:pt>
                <c:pt idx="3">
                  <c:v>Хаб/простір для зустрічей підприємців, обміну досвідом, проведення заходів</c:v>
                </c:pt>
                <c:pt idx="4">
                  <c:v>Гранти на закупівлю обладнання</c:v>
                </c:pt>
                <c:pt idx="5">
                  <c:v>Навчання і консультації щодо залучення інвесторів</c:v>
                </c:pt>
                <c:pt idx="6">
                  <c:v>Навчання і консультації щодо маркетингу і збуту</c:v>
                </c:pt>
                <c:pt idx="7">
                  <c:v>Кредити за пільговою ставкою</c:v>
                </c:pt>
                <c:pt idx="8">
                  <c:v>Інше</c:v>
                </c:pt>
                <c:pt idx="9">
                  <c:v>Важко сказати</c:v>
                </c:pt>
                <c:pt idx="10">
                  <c:v>Жодне з переліченого</c:v>
                </c:pt>
              </c:strCache>
            </c:strRef>
          </c:cat>
          <c:val>
            <c:numRef>
              <c:f>Лист1!$B$2:$B$12</c:f>
              <c:numCache>
                <c:formatCode>0%</c:formatCode>
                <c:ptCount val="11"/>
                <c:pt idx="0">
                  <c:v>0.39290000000000003</c:v>
                </c:pt>
                <c:pt idx="1">
                  <c:v>0.47860000000000003</c:v>
                </c:pt>
                <c:pt idx="2">
                  <c:v>0.36270000000000002</c:v>
                </c:pt>
                <c:pt idx="3">
                  <c:v>0.30730000000000002</c:v>
                </c:pt>
                <c:pt idx="4">
                  <c:v>0.50380000000000003</c:v>
                </c:pt>
                <c:pt idx="5">
                  <c:v>0.35520000000000002</c:v>
                </c:pt>
                <c:pt idx="6">
                  <c:v>0.26950000000000002</c:v>
                </c:pt>
                <c:pt idx="7">
                  <c:v>0.43330000000000002</c:v>
                </c:pt>
                <c:pt idx="8">
                  <c:v>5.04E-2</c:v>
                </c:pt>
                <c:pt idx="9">
                  <c:v>0</c:v>
                </c:pt>
                <c:pt idx="10">
                  <c:v>6.04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Залучати інвесторів у місто, які будуть створювати робочі місця</c:v>
                </c:pt>
                <c:pt idx="1">
                  <c:v>Надавати гранти для початку і розвитку бізнесу</c:v>
                </c:pt>
                <c:pt idx="2">
                  <c:v>Будувати доступне соціальне житло для молоді</c:v>
                </c:pt>
                <c:pt idx="3">
                  <c:v>Надавати пільгові кредити на придбання житла</c:v>
                </c:pt>
                <c:pt idx="4">
                  <c:v>Надавати гранти на навчання</c:v>
                </c:pt>
                <c:pt idx="5">
                  <c:v>Залучати молодь до планування розвитку міста</c:v>
                </c:pt>
                <c:pt idx="6">
                  <c:v>Залучати молодь до роботи у міських органах влади</c:v>
                </c:pt>
                <c:pt idx="7">
                  <c:v>Підтримувати молодіжні об’єднання</c:v>
                </c:pt>
                <c:pt idx="8">
                  <c:v>Створювати простори для зустрічі молоді (хаби)</c:v>
                </c:pt>
                <c:pt idx="9">
                  <c:v>Розвивати систему психологічної підтримки для молоді</c:v>
                </c:pt>
                <c:pt idx="10">
                  <c:v>Організувати бізнес-інкубатори, хаби для підприємців</c:v>
                </c:pt>
                <c:pt idx="11">
                  <c:v>Організувати заходи всеукраїнського рівня із залученням відомих людей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0329999999999995</c:v>
                </c:pt>
                <c:pt idx="1">
                  <c:v>0.51829999999999998</c:v>
                </c:pt>
                <c:pt idx="2">
                  <c:v>0.51090000000000002</c:v>
                </c:pt>
                <c:pt idx="3">
                  <c:v>0.47770000000000001</c:v>
                </c:pt>
                <c:pt idx="4">
                  <c:v>0.43830000000000002</c:v>
                </c:pt>
                <c:pt idx="5">
                  <c:v>0.35809999999999997</c:v>
                </c:pt>
                <c:pt idx="6">
                  <c:v>0.27529999999999999</c:v>
                </c:pt>
                <c:pt idx="7">
                  <c:v>0.26340000000000002</c:v>
                </c:pt>
                <c:pt idx="8">
                  <c:v>0.2361</c:v>
                </c:pt>
                <c:pt idx="9">
                  <c:v>0.22639999999999999</c:v>
                </c:pt>
                <c:pt idx="10">
                  <c:v>0.21579999999999999</c:v>
                </c:pt>
                <c:pt idx="11">
                  <c:v>0.20499999999999999</c:v>
                </c:pt>
                <c:pt idx="12">
                  <c:v>2.0400000000000001E-2</c:v>
                </c:pt>
                <c:pt idx="13">
                  <c:v>1.4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Залучати інвесторів у місто, які будуть створювати робочі місця</c:v>
                </c:pt>
                <c:pt idx="1">
                  <c:v>Надавати гранти для початку і розвитку бізнесу</c:v>
                </c:pt>
                <c:pt idx="2">
                  <c:v>Будувати доступне соціальне житло для молоді</c:v>
                </c:pt>
                <c:pt idx="3">
                  <c:v>Надавати пільгові кредити на придбання житла</c:v>
                </c:pt>
                <c:pt idx="4">
                  <c:v>Надавати гранти на навчання</c:v>
                </c:pt>
                <c:pt idx="5">
                  <c:v>Залучати молодь до планування розвитку міста</c:v>
                </c:pt>
                <c:pt idx="6">
                  <c:v>Залучати молодь до роботи у міських органах влади</c:v>
                </c:pt>
                <c:pt idx="7">
                  <c:v>Підтримувати молодіжні об’єднання</c:v>
                </c:pt>
                <c:pt idx="8">
                  <c:v>Створювати простори для зустрічі молоді (хаби)</c:v>
                </c:pt>
                <c:pt idx="9">
                  <c:v>Розвивати систему психологічної підтримки для молоді</c:v>
                </c:pt>
                <c:pt idx="10">
                  <c:v>Організувати бізнес-інкубатори, хаби для підприємців</c:v>
                </c:pt>
                <c:pt idx="11">
                  <c:v>Організувати заходи всеукраїнського рівня із залученням відомих людей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37959999999999999</c:v>
                </c:pt>
                <c:pt idx="1">
                  <c:v>0.41360000000000002</c:v>
                </c:pt>
                <c:pt idx="2">
                  <c:v>0.432</c:v>
                </c:pt>
                <c:pt idx="3">
                  <c:v>0.2722</c:v>
                </c:pt>
                <c:pt idx="4">
                  <c:v>0.46860000000000002</c:v>
                </c:pt>
                <c:pt idx="5">
                  <c:v>0.35610000000000003</c:v>
                </c:pt>
                <c:pt idx="6">
                  <c:v>0.28010000000000002</c:v>
                </c:pt>
                <c:pt idx="7">
                  <c:v>0.41760000000000003</c:v>
                </c:pt>
                <c:pt idx="8">
                  <c:v>0.25580000000000003</c:v>
                </c:pt>
                <c:pt idx="9">
                  <c:v>0.2853</c:v>
                </c:pt>
                <c:pt idx="10">
                  <c:v>0.17730000000000001</c:v>
                </c:pt>
                <c:pt idx="11">
                  <c:v>0.2238</c:v>
                </c:pt>
                <c:pt idx="12">
                  <c:v>8.5000000000000006E-3</c:v>
                </c:pt>
                <c:pt idx="13">
                  <c:v>4.44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Залучати інвесторів у місто, які будуть створювати робочі місця</c:v>
                </c:pt>
                <c:pt idx="1">
                  <c:v>Надавати гранти для початку і розвитку бізнесу</c:v>
                </c:pt>
                <c:pt idx="2">
                  <c:v>Будувати доступне соціальне житло для молоді</c:v>
                </c:pt>
                <c:pt idx="3">
                  <c:v>Надавати пільгові кредити на придбання житла</c:v>
                </c:pt>
                <c:pt idx="4">
                  <c:v>Надавати гранти на навчання</c:v>
                </c:pt>
                <c:pt idx="5">
                  <c:v>Залучати молодь до планування розвитку міста</c:v>
                </c:pt>
                <c:pt idx="6">
                  <c:v>Залучати молодь до роботи у міських органах влади</c:v>
                </c:pt>
                <c:pt idx="7">
                  <c:v>Підтримувати молодіжні об’єднання</c:v>
                </c:pt>
                <c:pt idx="8">
                  <c:v>Створювати простори для зустрічі молоді (хаби)</c:v>
                </c:pt>
                <c:pt idx="9">
                  <c:v>Розвивати систему психологічної підтримки для молоді</c:v>
                </c:pt>
                <c:pt idx="10">
                  <c:v>Організувати бізнес-інкубатори, хаби для підприємців</c:v>
                </c:pt>
                <c:pt idx="11">
                  <c:v>Організувати заходи всеукраїнського рівня із залученням відомих людей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0299999999999998</c:v>
                </c:pt>
                <c:pt idx="1">
                  <c:v>0.46600000000000003</c:v>
                </c:pt>
                <c:pt idx="2">
                  <c:v>0.40649999999999997</c:v>
                </c:pt>
                <c:pt idx="3">
                  <c:v>0.40339999999999998</c:v>
                </c:pt>
                <c:pt idx="4">
                  <c:v>0.41920000000000002</c:v>
                </c:pt>
                <c:pt idx="5">
                  <c:v>0.36780000000000002</c:v>
                </c:pt>
                <c:pt idx="6">
                  <c:v>0.27489999999999998</c:v>
                </c:pt>
                <c:pt idx="7">
                  <c:v>0.27689999999999998</c:v>
                </c:pt>
                <c:pt idx="8">
                  <c:v>0.26950000000000002</c:v>
                </c:pt>
                <c:pt idx="9">
                  <c:v>0.2268</c:v>
                </c:pt>
                <c:pt idx="10">
                  <c:v>0.2069</c:v>
                </c:pt>
                <c:pt idx="11">
                  <c:v>0.30420000000000003</c:v>
                </c:pt>
                <c:pt idx="12">
                  <c:v>4.1700000000000001E-2</c:v>
                </c:pt>
                <c:pt idx="13">
                  <c:v>9.4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4CC-481D-8881-A5255288876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280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CC-481D-8881-A5255288876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630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CC-481D-8881-A52552888769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9968553459119617E-2"/>
                  <c:y val="0.18129461941944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4CC-481D-8881-A525528887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  <c:pt idx="0">
                  <c:v>6.79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CC-481D-8881-A52552888769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2202863923158785E-16"/>
                  <c:y val="-0.2014367036707477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4CC-481D-8881-A525528887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  <c:pt idx="0">
                  <c:v>1.05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4CC-481D-8881-A52552888769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Не знає про діяльність міської влади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F$2</c:f>
              <c:numCache>
                <c:formatCode>0%</c:formatCode>
                <c:ptCount val="1"/>
                <c:pt idx="0">
                  <c:v>1.02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E3-417A-B00D-D73B913EEA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9A8-4A12-80B8-3F837233DB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4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A8-4A12-80B8-3F837233DBF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4771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A8-4A12-80B8-3F837233DBF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9968553459119617E-2"/>
                  <c:y val="0.201438289786524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00"/>
                  </a:pPr>
                  <a:endParaRPr lang="uk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A8-4A12-80B8-3F837233DB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  <c:pt idx="0">
                  <c:v>3.7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A8-4A12-80B8-3F837233DBF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2202863923158785E-16"/>
                  <c:y val="-0.2014367036707477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9A8-4A12-80B8-3F837233DB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  <c:pt idx="0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9A8-4A12-80B8-3F837233DBF3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Не знає про діяльність міської влади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F$2</c:f>
              <c:numCache>
                <c:formatCode>0%</c:formatCode>
                <c:ptCount val="1"/>
                <c:pt idx="0">
                  <c:v>2.94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D1-485A-B5A6-2FB298741E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E9B-4696-B13F-2FA34421F19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378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9B-4696-B13F-2FA34421F19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5810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E9B-4696-B13F-2FA34421F19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331234567901249E-2"/>
                  <c:y val="0.1990872823037010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E9B-4696-B13F-2FA34421F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  <c:pt idx="0">
                  <c:v>3.03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9B-4696-B13F-2FA34421F19B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0.1990755255278792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1E8-4184-AA71-6DBDCDD9C6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  <c:pt idx="0">
                  <c:v>1.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E9B-4696-B13F-2FA34421F19B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Не знає про діяльність міської влади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F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51E8-4184-AA71-6DBDCDD9C6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19631115101247E-3"/>
          <c:y val="2.6673698631288319E-2"/>
          <c:w val="0.99670803688848986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B60-42DC-83DB-6E8FA3C24117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0B60-42DC-83DB-6E8FA3C2411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0B60-42DC-83DB-6E8FA3C2411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0B60-42DC-83DB-6E8FA3C24117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B60-42DC-83DB-6E8FA3C2411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5-0B60-42DC-83DB-6E8FA3C24117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Не знають про діяльність міської влади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F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C757-4D45-9AFA-F47378652F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7.4981107122614771E-2"/>
          <c:w val="0.89999990573074329"/>
          <c:h val="0.9250194301956342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3.3399999999999999E-2</c:v>
                </c:pt>
                <c:pt idx="1">
                  <c:v>3.7900000000000003E-2</c:v>
                </c:pt>
                <c:pt idx="2">
                  <c:v>6.0499999999999998E-2</c:v>
                </c:pt>
                <c:pt idx="3">
                  <c:v>0.14649999999999999</c:v>
                </c:pt>
                <c:pt idx="4">
                  <c:v>0.46400000000000002</c:v>
                </c:pt>
                <c:pt idx="5">
                  <c:v>2.01E-2</c:v>
                </c:pt>
                <c:pt idx="6">
                  <c:v>0.237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8C-407F-BFF4-84A54AA5B81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8C-407F-BFF4-84A54AA5B81B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Залучати інвесторів у місто, які будуть створювати робочі місця</c:v>
                </c:pt>
                <c:pt idx="1">
                  <c:v>Надавати гранти для початку і розвитку бізнесу</c:v>
                </c:pt>
                <c:pt idx="2">
                  <c:v>Будувати доступне соціальне житло для молоді</c:v>
                </c:pt>
                <c:pt idx="3">
                  <c:v>Надавати пільгові кредити на придбання житла</c:v>
                </c:pt>
                <c:pt idx="4">
                  <c:v>Надавати гранти на навчання</c:v>
                </c:pt>
                <c:pt idx="5">
                  <c:v>Залучати молодь до планування розвитку міста</c:v>
                </c:pt>
                <c:pt idx="6">
                  <c:v>Залучати молодь до роботи у міських органах влади</c:v>
                </c:pt>
                <c:pt idx="7">
                  <c:v>Підтримувати молодіжні об’єднання</c:v>
                </c:pt>
                <c:pt idx="8">
                  <c:v>Створювати простори для зустрічі молоді (хаби)</c:v>
                </c:pt>
                <c:pt idx="9">
                  <c:v>Розвивати систему психологічної підтримки для молоді</c:v>
                </c:pt>
                <c:pt idx="10">
                  <c:v>Організувати бізнес-інкубатори, хаби для підприємців</c:v>
                </c:pt>
                <c:pt idx="11">
                  <c:v>Організувати заходи всеукраїнського рівня із залученням відомих людей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71779999999999999</c:v>
                </c:pt>
                <c:pt idx="1">
                  <c:v>0.58450000000000002</c:v>
                </c:pt>
                <c:pt idx="2">
                  <c:v>0.53410000000000002</c:v>
                </c:pt>
                <c:pt idx="3">
                  <c:v>0.50780000000000003</c:v>
                </c:pt>
                <c:pt idx="4">
                  <c:v>0.45779999999999998</c:v>
                </c:pt>
                <c:pt idx="5">
                  <c:v>0.35199999999999998</c:v>
                </c:pt>
                <c:pt idx="6">
                  <c:v>0.29459999999999997</c:v>
                </c:pt>
                <c:pt idx="7">
                  <c:v>0.20330000000000001</c:v>
                </c:pt>
                <c:pt idx="8">
                  <c:v>0.26079999999999998</c:v>
                </c:pt>
                <c:pt idx="9">
                  <c:v>0.2107</c:v>
                </c:pt>
                <c:pt idx="10">
                  <c:v>0.1953</c:v>
                </c:pt>
                <c:pt idx="11">
                  <c:v>0.17430000000000001</c:v>
                </c:pt>
                <c:pt idx="12">
                  <c:v>2.1999999999999999E-2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8C-407F-BFF4-84A54AA5B8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081-4952-A437-5AA5417C8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1839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81-4952-A437-5AA5417C8CE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6882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81-4952-A437-5AA5417C8CE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331234567901249E-2"/>
                  <c:y val="0.1493130123994795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081-4952-A437-5AA5417C8C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  <c:pt idx="0">
                  <c:v>0.1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081-4952-A437-5AA5417C8CE8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0.223964619942626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0DD-4ECA-BCB0-4F53C9ECF4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  <c:pt idx="0">
                  <c:v>2.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081-4952-A437-5AA5417C8CE8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Не знає про діяльність міської влади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F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B0DD-4ECA-BCB0-4F53C9ECF4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rgbClr val="2EC44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428-4C25-80DC-816D1BBB3A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28-4C25-80DC-816D1BBB3A5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718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28-4C25-80DC-816D1BBB3A5D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0"/>
              <c:layout>
                <c:manualLayout>
                  <c:x val="-1.9968553459119617E-2"/>
                  <c:y val="0.18129461941944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428-4C25-80DC-816D1BBB3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  <c:pt idx="0">
                  <c:v>7.98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428-4C25-80DC-816D1BBB3A5D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2202863923158785E-16"/>
                  <c:y val="-0.2014367036707477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428-4C25-80DC-816D1BBB3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0428-4C25-80DC-816D1BBB3A5D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Не знає про діяльність міської влади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0.199079444453153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428-4C25-80DC-816D1BBB3A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Враховування потреб молодих людей у плануванні розвитку та управлінні громадою міською владою Вінниці </c:v>
                </c:pt>
              </c:strCache>
            </c:strRef>
          </c:cat>
          <c:val>
            <c:numRef>
              <c:f>Лист1!$F$2</c:f>
              <c:numCache>
                <c:formatCode>0%</c:formatCode>
                <c:ptCount val="1"/>
                <c:pt idx="0">
                  <c:v>8.500000000000000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428-4C25-80DC-816D1BBB3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BF8-4AFB-A7F6-023581C2DB7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BF8-4AFB-A7F6-023581C2DB77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5</c:f>
              <c:strCache>
                <c:ptCount val="14"/>
                <c:pt idx="0">
                  <c:v>Залучати інвесторів у місто, які будуть створювати робочі місця</c:v>
                </c:pt>
                <c:pt idx="1">
                  <c:v>Надавати гранти для початку і розвитку бізнесу</c:v>
                </c:pt>
                <c:pt idx="2">
                  <c:v>Будувати доступне соціальне житло для молоді</c:v>
                </c:pt>
                <c:pt idx="3">
                  <c:v>Надавати пільгові кредити на придбання житла</c:v>
                </c:pt>
                <c:pt idx="4">
                  <c:v>Надавати гранти на навчання</c:v>
                </c:pt>
                <c:pt idx="5">
                  <c:v>Залучати молодь до планування розвитку міста</c:v>
                </c:pt>
                <c:pt idx="6">
                  <c:v>Залучати молодь до роботи у міських органах влади</c:v>
                </c:pt>
                <c:pt idx="7">
                  <c:v>Підтримувати молодіжні об’єднання</c:v>
                </c:pt>
                <c:pt idx="8">
                  <c:v>Створювати простори для зустрічі молоді (хаби)</c:v>
                </c:pt>
                <c:pt idx="9">
                  <c:v>Розвивати систему психологічної підтримки для молоді</c:v>
                </c:pt>
                <c:pt idx="10">
                  <c:v>Організувати бізнес-інкубатори, хаби для підприємців</c:v>
                </c:pt>
                <c:pt idx="11">
                  <c:v>Організувати заходи всеукраїнського рівня із залученням відомих людей</c:v>
                </c:pt>
                <c:pt idx="12">
                  <c:v>Інше</c:v>
                </c:pt>
                <c:pt idx="13">
                  <c:v>Важко сказати</c:v>
                </c:pt>
              </c:strCache>
            </c:strRef>
          </c:cat>
          <c:val>
            <c:numRef>
              <c:f>Лист1!$B$2:$B$15</c:f>
              <c:numCache>
                <c:formatCode>0%</c:formatCode>
                <c:ptCount val="14"/>
                <c:pt idx="0">
                  <c:v>0.6784</c:v>
                </c:pt>
                <c:pt idx="1">
                  <c:v>0.56930000000000003</c:v>
                </c:pt>
                <c:pt idx="2">
                  <c:v>0.59550000000000003</c:v>
                </c:pt>
                <c:pt idx="3">
                  <c:v>0.62709999999999999</c:v>
                </c:pt>
                <c:pt idx="4">
                  <c:v>0.41510000000000002</c:v>
                </c:pt>
                <c:pt idx="5">
                  <c:v>0.35880000000000001</c:v>
                </c:pt>
                <c:pt idx="6">
                  <c:v>0.26029999999999998</c:v>
                </c:pt>
                <c:pt idx="7">
                  <c:v>0.19400000000000001</c:v>
                </c:pt>
                <c:pt idx="8">
                  <c:v>0.1925</c:v>
                </c:pt>
                <c:pt idx="9">
                  <c:v>0.19750000000000001</c:v>
                </c:pt>
                <c:pt idx="10">
                  <c:v>0.25779999999999997</c:v>
                </c:pt>
                <c:pt idx="11">
                  <c:v>0.1668</c:v>
                </c:pt>
                <c:pt idx="12">
                  <c:v>1.7600000000000001E-2</c:v>
                </c:pt>
                <c:pt idx="13">
                  <c:v>5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BF8-4AFB-A7F6-023581C2DB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37430000000000002</c:v>
                </c:pt>
                <c:pt idx="1">
                  <c:v>0</c:v>
                </c:pt>
                <c:pt idx="2">
                  <c:v>0.103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522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2.9700000000000001E-2</c:v>
                </c:pt>
                <c:pt idx="1">
                  <c:v>8.7599999999999997E-2</c:v>
                </c:pt>
                <c:pt idx="2">
                  <c:v>0.1368</c:v>
                </c:pt>
                <c:pt idx="3">
                  <c:v>0.26169999999999999</c:v>
                </c:pt>
                <c:pt idx="4">
                  <c:v>0.27460000000000001</c:v>
                </c:pt>
                <c:pt idx="5">
                  <c:v>0</c:v>
                </c:pt>
                <c:pt idx="6">
                  <c:v>0.209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2.81E-2</c:v>
                </c:pt>
                <c:pt idx="1">
                  <c:v>4.2099999999999999E-2</c:v>
                </c:pt>
                <c:pt idx="2">
                  <c:v>4.9799999999999997E-2</c:v>
                </c:pt>
                <c:pt idx="3">
                  <c:v>0.1721</c:v>
                </c:pt>
                <c:pt idx="4">
                  <c:v>0.45419999999999999</c:v>
                </c:pt>
                <c:pt idx="5">
                  <c:v>1.54E-2</c:v>
                </c:pt>
                <c:pt idx="6">
                  <c:v>0.238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9</c:f>
              <c:strCache>
                <c:ptCount val="8"/>
                <c:pt idx="0">
                  <c:v>місто Вінниця</c:v>
                </c:pt>
                <c:pt idx="1">
                  <c:v>село Вінницькі Хутори</c:v>
                </c:pt>
                <c:pt idx="2">
                  <c:v>село Щітки</c:v>
                </c:pt>
                <c:pt idx="3">
                  <c:v>селище Десна</c:v>
                </c:pt>
                <c:pt idx="4">
                  <c:v>село Писарівка</c:v>
                </c:pt>
                <c:pt idx="5">
                  <c:v>село Малі Крушлинці</c:v>
                </c:pt>
                <c:pt idx="6">
                  <c:v>село Гавришівка</c:v>
                </c:pt>
                <c:pt idx="7">
                  <c:v>село Великі Крушлинці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0.96530000000000005</c:v>
                </c:pt>
                <c:pt idx="1">
                  <c:v>1.9099999999999999E-2</c:v>
                </c:pt>
                <c:pt idx="2" formatCode="0.0%">
                  <c:v>3.5000000000000001E-3</c:v>
                </c:pt>
                <c:pt idx="3">
                  <c:v>0</c:v>
                </c:pt>
                <c:pt idx="4">
                  <c:v>0</c:v>
                </c:pt>
                <c:pt idx="5" formatCode="0.0%">
                  <c:v>3.5000000000000001E-3</c:v>
                </c:pt>
                <c:pt idx="6" formatCode="0.0%">
                  <c:v>3.5000000000000001E-3</c:v>
                </c:pt>
                <c:pt idx="7">
                  <c:v>5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8</c:f>
              <c:strCache>
                <c:ptCount val="7"/>
                <c:pt idx="0">
                  <c:v>Повна загальна середня освіта (завершено загальноосвітню сер</c:v>
                </c:pt>
                <c:pt idx="1">
                  <c:v>Професійно-технічна освіта (отримано кваліфікацію «кваліфіко</c:v>
                </c:pt>
                <c:pt idx="2">
                  <c:v>Молодший спеціаліст, молодший бакалавр (завершено технікум,</c:v>
                </c:pt>
                <c:pt idx="3">
                  <c:v>Бакалавр (закінчено навчання у закладах вищої освіти 3-4 рів</c:v>
                </c:pt>
                <c:pt idx="4">
                  <c:v>Спеціаліст, магістр (закінчено заклад вищої освіти 3-4 рівня</c:v>
                </c:pt>
                <c:pt idx="5">
                  <c:v>Науковий ступінь (кандидат, доктор наук)</c:v>
                </c:pt>
                <c:pt idx="6">
                  <c:v>Важко сказати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1.5100000000000001E-2</c:v>
                </c:pt>
                <c:pt idx="1">
                  <c:v>2.2100000000000002E-2</c:v>
                </c:pt>
                <c:pt idx="2">
                  <c:v>3.9699999999999999E-2</c:v>
                </c:pt>
                <c:pt idx="3">
                  <c:v>0.104</c:v>
                </c:pt>
                <c:pt idx="4">
                  <c:v>0.56130000000000002</c:v>
                </c:pt>
                <c:pt idx="5">
                  <c:v>3.0700000000000002E-2</c:v>
                </c:pt>
                <c:pt idx="6">
                  <c:v>0.2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90129999999999999</c:v>
                </c:pt>
                <c:pt idx="1">
                  <c:v>0.87409999999999999</c:v>
                </c:pt>
                <c:pt idx="2">
                  <c:v>0.86619999999999997</c:v>
                </c:pt>
                <c:pt idx="3">
                  <c:v>0.83830000000000005</c:v>
                </c:pt>
                <c:pt idx="4">
                  <c:v>0.83340000000000003</c:v>
                </c:pt>
                <c:pt idx="5">
                  <c:v>0.73899999999999999</c:v>
                </c:pt>
                <c:pt idx="6">
                  <c:v>0.72230000000000005</c:v>
                </c:pt>
                <c:pt idx="7">
                  <c:v>0.65990000000000004</c:v>
                </c:pt>
                <c:pt idx="8">
                  <c:v>0.55179999999999996</c:v>
                </c:pt>
                <c:pt idx="9">
                  <c:v>0.5494</c:v>
                </c:pt>
                <c:pt idx="10">
                  <c:v>0.52049999999999996</c:v>
                </c:pt>
                <c:pt idx="11">
                  <c:v>0.50860000000000005</c:v>
                </c:pt>
                <c:pt idx="12">
                  <c:v>0.49220000000000003</c:v>
                </c:pt>
                <c:pt idx="13">
                  <c:v>0.40460000000000002</c:v>
                </c:pt>
                <c:pt idx="14">
                  <c:v>0.40150000000000002</c:v>
                </c:pt>
                <c:pt idx="15">
                  <c:v>0.37569999999999998</c:v>
                </c:pt>
                <c:pt idx="16">
                  <c:v>0.36380000000000001</c:v>
                </c:pt>
                <c:pt idx="17">
                  <c:v>0.24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2599206349206366"/>
                  <c:y val="4.916420845624385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0.11759259259259275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0.13439153439153448"/>
                  <c:y val="4.916420845624385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dLbl>
              <c:idx val="3"/>
              <c:layout>
                <c:manualLayout>
                  <c:x val="-0.13439153439153448"/>
                  <c:y val="7.374631268722751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A7-46BC-B805-32D8209EE2E0}"/>
                </c:ext>
              </c:extLst>
            </c:dLbl>
            <c:dLbl>
              <c:idx val="4"/>
              <c:layout>
                <c:manualLayout>
                  <c:x val="-8.3994708994708997E-2"/>
                  <c:y val="2.86173357490006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A7-46BC-B805-32D8209EE2E0}"/>
                </c:ext>
              </c:extLst>
            </c:dLbl>
            <c:dLbl>
              <c:idx val="5"/>
              <c:layout>
                <c:manualLayout>
                  <c:x val="-5.03968253968253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A7-46BC-B805-32D8209EE2E0}"/>
                </c:ext>
              </c:extLst>
            </c:dLbl>
            <c:dLbl>
              <c:idx val="6"/>
              <c:layout>
                <c:manualLayout>
                  <c:x val="-3.3597883597883599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2A7-46BC-B805-32D8209EE2E0}"/>
                </c:ext>
              </c:extLst>
            </c:dLbl>
            <c:dLbl>
              <c:idx val="7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9.7000000000000003E-2</c:v>
                </c:pt>
                <c:pt idx="1">
                  <c:v>0.11890000000000001</c:v>
                </c:pt>
                <c:pt idx="2">
                  <c:v>0.13009999999999999</c:v>
                </c:pt>
                <c:pt idx="3">
                  <c:v>0.15909999999999999</c:v>
                </c:pt>
                <c:pt idx="4">
                  <c:v>0.1595</c:v>
                </c:pt>
                <c:pt idx="5">
                  <c:v>0.24990000000000001</c:v>
                </c:pt>
                <c:pt idx="6">
                  <c:v>0.25169999999999998</c:v>
                </c:pt>
                <c:pt idx="7">
                  <c:v>0.33600000000000002</c:v>
                </c:pt>
                <c:pt idx="8">
                  <c:v>0.42159999999999997</c:v>
                </c:pt>
                <c:pt idx="9">
                  <c:v>0.4083</c:v>
                </c:pt>
                <c:pt idx="10">
                  <c:v>0.4425</c:v>
                </c:pt>
                <c:pt idx="11">
                  <c:v>0.4456</c:v>
                </c:pt>
                <c:pt idx="12">
                  <c:v>0.45319999999999999</c:v>
                </c:pt>
                <c:pt idx="13">
                  <c:v>0.53820000000000001</c:v>
                </c:pt>
                <c:pt idx="14">
                  <c:v>0.47949999999999998</c:v>
                </c:pt>
                <c:pt idx="15">
                  <c:v>0.51990000000000003</c:v>
                </c:pt>
                <c:pt idx="16">
                  <c:v>0.51800000000000002</c:v>
                </c:pt>
                <c:pt idx="17">
                  <c:v>0.563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0" formatCode="0.0%">
                  <c:v>1.6999999999999999E-3</c:v>
                </c:pt>
                <c:pt idx="1">
                  <c:v>5.0000000000000001E-3</c:v>
                </c:pt>
                <c:pt idx="2" formatCode="0.0%">
                  <c:v>3.8E-3</c:v>
                </c:pt>
                <c:pt idx="3" formatCode="0.0%">
                  <c:v>2.7000000000000001E-3</c:v>
                </c:pt>
                <c:pt idx="4">
                  <c:v>7.1000000000000004E-3</c:v>
                </c:pt>
                <c:pt idx="5">
                  <c:v>7.3000000000000001E-3</c:v>
                </c:pt>
                <c:pt idx="6">
                  <c:v>2.2499999999999999E-2</c:v>
                </c:pt>
                <c:pt idx="7" formatCode="0.0%">
                  <c:v>2E-3</c:v>
                </c:pt>
                <c:pt idx="8">
                  <c:v>2.6599999999999999E-2</c:v>
                </c:pt>
                <c:pt idx="9">
                  <c:v>3.8899999999999997E-2</c:v>
                </c:pt>
                <c:pt idx="10">
                  <c:v>3.5000000000000003E-2</c:v>
                </c:pt>
                <c:pt idx="11">
                  <c:v>4.1599999999999998E-2</c:v>
                </c:pt>
                <c:pt idx="12">
                  <c:v>4.9099999999999998E-2</c:v>
                </c:pt>
                <c:pt idx="13">
                  <c:v>5.7200000000000001E-2</c:v>
                </c:pt>
                <c:pt idx="14">
                  <c:v>0.1153</c:v>
                </c:pt>
                <c:pt idx="15">
                  <c:v>0.1011</c:v>
                </c:pt>
                <c:pt idx="16">
                  <c:v>0.11650000000000001</c:v>
                </c:pt>
                <c:pt idx="17">
                  <c:v>0.1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0.0%</c:formatCode>
                <c:ptCount val="18"/>
                <c:pt idx="1">
                  <c:v>2E-3</c:v>
                </c:pt>
                <c:pt idx="5">
                  <c:v>3.8E-3</c:v>
                </c:pt>
                <c:pt idx="6">
                  <c:v>3.5000000000000001E-3</c:v>
                </c:pt>
                <c:pt idx="7">
                  <c:v>2E-3</c:v>
                </c:pt>
                <c:pt idx="9">
                  <c:v>3.3E-3</c:v>
                </c:pt>
                <c:pt idx="10">
                  <c:v>2E-3</c:v>
                </c:pt>
                <c:pt idx="11">
                  <c:v>4.1999999999999997E-3</c:v>
                </c:pt>
                <c:pt idx="12" formatCode="0%">
                  <c:v>5.4999999999999997E-3</c:v>
                </c:pt>
                <c:pt idx="14">
                  <c:v>3.7000000000000002E-3</c:v>
                </c:pt>
                <c:pt idx="15">
                  <c:v>3.3E-3</c:v>
                </c:pt>
                <c:pt idx="16">
                  <c:v>1.6999999999999999E-3</c:v>
                </c:pt>
                <c:pt idx="17">
                  <c:v>4.4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05-4359-A1B0-0AB3899B0F6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75</c:v>
                </c:pt>
                <c:pt idx="1">
                  <c:v>0.85009999999999997</c:v>
                </c:pt>
                <c:pt idx="2">
                  <c:v>0.8246</c:v>
                </c:pt>
                <c:pt idx="3">
                  <c:v>0.92610000000000003</c:v>
                </c:pt>
                <c:pt idx="4">
                  <c:v>0.7742</c:v>
                </c:pt>
                <c:pt idx="5">
                  <c:v>0.74019999999999997</c:v>
                </c:pt>
                <c:pt idx="6">
                  <c:v>0.70230000000000004</c:v>
                </c:pt>
                <c:pt idx="7">
                  <c:v>0.6603</c:v>
                </c:pt>
                <c:pt idx="8">
                  <c:v>0.71530000000000005</c:v>
                </c:pt>
                <c:pt idx="9">
                  <c:v>0.78669999999999995</c:v>
                </c:pt>
                <c:pt idx="10">
                  <c:v>0.64529999999999998</c:v>
                </c:pt>
                <c:pt idx="11">
                  <c:v>0.65180000000000005</c:v>
                </c:pt>
                <c:pt idx="12">
                  <c:v>0.62180000000000002</c:v>
                </c:pt>
                <c:pt idx="13">
                  <c:v>0.68720000000000003</c:v>
                </c:pt>
                <c:pt idx="14">
                  <c:v>0.51639999999999997</c:v>
                </c:pt>
                <c:pt idx="15">
                  <c:v>0.4385</c:v>
                </c:pt>
                <c:pt idx="16">
                  <c:v>0.56940000000000002</c:v>
                </c:pt>
                <c:pt idx="17">
                  <c:v>0.3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05-4359-A1B0-0AB3899B0F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2"/>
              <c:layout>
                <c:manualLayout>
                  <c:x val="-7.559523809523809E-2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F05-4359-A1B0-0AB3899B0F65}"/>
                </c:ext>
              </c:extLst>
            </c:dLbl>
            <c:dLbl>
              <c:idx val="4"/>
              <c:layout>
                <c:manualLayout>
                  <c:x val="-5.8796296296296451E-2"/>
                  <c:y val="2.86173357490006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F05-4359-A1B0-0AB3899B0F65}"/>
                </c:ext>
              </c:extLst>
            </c:dLbl>
            <c:dLbl>
              <c:idx val="5"/>
              <c:layout>
                <c:manualLayout>
                  <c:x val="-4.19973544973544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F05-4359-A1B0-0AB3899B0F65}"/>
                </c:ext>
              </c:extLst>
            </c:dLbl>
            <c:dLbl>
              <c:idx val="6"/>
              <c:layout>
                <c:manualLayout>
                  <c:x val="-3.3597883597883599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F05-4359-A1B0-0AB3899B0F65}"/>
                </c:ext>
              </c:extLst>
            </c:dLbl>
            <c:dLbl>
              <c:idx val="8"/>
              <c:layout>
                <c:manualLayout>
                  <c:x val="-2.5198412698412699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F05-4359-A1B0-0AB3899B0F65}"/>
                </c:ext>
              </c:extLst>
            </c:dLbl>
            <c:dLbl>
              <c:idx val="9"/>
              <c:layout>
                <c:manualLayout>
                  <c:x val="-5.8796296296296298E-2"/>
                  <c:y val="2.4582104222398461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F05-4359-A1B0-0AB3899B0F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0.125</c:v>
                </c:pt>
                <c:pt idx="1">
                  <c:v>0.1414</c:v>
                </c:pt>
                <c:pt idx="2">
                  <c:v>0.16689999999999999</c:v>
                </c:pt>
                <c:pt idx="3">
                  <c:v>7.3899999999999993E-2</c:v>
                </c:pt>
                <c:pt idx="4">
                  <c:v>0.21729999999999999</c:v>
                </c:pt>
                <c:pt idx="5">
                  <c:v>0.24279999999999999</c:v>
                </c:pt>
                <c:pt idx="6">
                  <c:v>0.27879999999999999</c:v>
                </c:pt>
                <c:pt idx="7">
                  <c:v>0.32269999999999999</c:v>
                </c:pt>
                <c:pt idx="8">
                  <c:v>0.2487</c:v>
                </c:pt>
                <c:pt idx="9">
                  <c:v>0.18579999999999999</c:v>
                </c:pt>
                <c:pt idx="10">
                  <c:v>0.31019999999999998</c:v>
                </c:pt>
                <c:pt idx="11">
                  <c:v>0.29320000000000002</c:v>
                </c:pt>
                <c:pt idx="12">
                  <c:v>0.32329999999999998</c:v>
                </c:pt>
                <c:pt idx="13">
                  <c:v>0.26829999999999998</c:v>
                </c:pt>
                <c:pt idx="14">
                  <c:v>0.37169999999999997</c:v>
                </c:pt>
                <c:pt idx="15">
                  <c:v>0.44109999999999999</c:v>
                </c:pt>
                <c:pt idx="16">
                  <c:v>0.3357</c:v>
                </c:pt>
                <c:pt idx="17">
                  <c:v>0.428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5-4359-A1B0-0AB3899B0F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  <c:pt idx="2" formatCode="0%">
                  <c:v>8.5000000000000006E-3</c:v>
                </c:pt>
                <c:pt idx="4" formatCode="0%">
                  <c:v>8.5000000000000006E-3</c:v>
                </c:pt>
                <c:pt idx="5" formatCode="0%">
                  <c:v>8.5000000000000006E-3</c:v>
                </c:pt>
                <c:pt idx="6" formatCode="0%">
                  <c:v>1.9E-2</c:v>
                </c:pt>
                <c:pt idx="7" formatCode="0%">
                  <c:v>8.5000000000000006E-3</c:v>
                </c:pt>
                <c:pt idx="8" formatCode="0%">
                  <c:v>3.5999999999999997E-2</c:v>
                </c:pt>
                <c:pt idx="9" formatCode="0%">
                  <c:v>1.9E-2</c:v>
                </c:pt>
                <c:pt idx="10" formatCode="0%">
                  <c:v>3.5999999999999997E-2</c:v>
                </c:pt>
                <c:pt idx="11" formatCode="0%">
                  <c:v>4.4499999999999998E-2</c:v>
                </c:pt>
                <c:pt idx="12" formatCode="0%">
                  <c:v>4.65E-2</c:v>
                </c:pt>
                <c:pt idx="13" formatCode="0%">
                  <c:v>4.4499999999999998E-2</c:v>
                </c:pt>
                <c:pt idx="14" formatCode="0%">
                  <c:v>0.1119</c:v>
                </c:pt>
                <c:pt idx="15" formatCode="0%">
                  <c:v>0.12039999999999999</c:v>
                </c:pt>
                <c:pt idx="16" formatCode="0%">
                  <c:v>9.4899999999999998E-2</c:v>
                </c:pt>
                <c:pt idx="17" formatCode="0%">
                  <c:v>0.1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05-4359-A1B0-0AB3899B0F6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0%</c:formatCode>
                <c:ptCount val="18"/>
                <c:pt idx="1">
                  <c:v>8.5000000000000006E-3</c:v>
                </c:pt>
                <c:pt idx="5">
                  <c:v>8.5000000000000006E-3</c:v>
                </c:pt>
                <c:pt idx="7">
                  <c:v>8.5000000000000006E-3</c:v>
                </c:pt>
                <c:pt idx="9">
                  <c:v>8.5000000000000006E-3</c:v>
                </c:pt>
                <c:pt idx="10">
                  <c:v>8.5000000000000006E-3</c:v>
                </c:pt>
                <c:pt idx="11">
                  <c:v>1.0500000000000001E-2</c:v>
                </c:pt>
                <c:pt idx="12">
                  <c:v>8.5000000000000006E-3</c:v>
                </c:pt>
                <c:pt idx="17">
                  <c:v>1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05-4359-A1B0-0AB3899B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27F-49C8-B8D5-5085D4622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89129999999999998</c:v>
                </c:pt>
                <c:pt idx="1">
                  <c:v>0.83079999999999998</c:v>
                </c:pt>
                <c:pt idx="2">
                  <c:v>0.90810000000000002</c:v>
                </c:pt>
                <c:pt idx="3">
                  <c:v>0.86739999999999995</c:v>
                </c:pt>
                <c:pt idx="4">
                  <c:v>0.86839999999999995</c:v>
                </c:pt>
                <c:pt idx="5">
                  <c:v>0.74829999999999997</c:v>
                </c:pt>
                <c:pt idx="6">
                  <c:v>0.71899999999999997</c:v>
                </c:pt>
                <c:pt idx="7">
                  <c:v>0.73150000000000004</c:v>
                </c:pt>
                <c:pt idx="8">
                  <c:v>0.58950000000000002</c:v>
                </c:pt>
                <c:pt idx="9">
                  <c:v>0.60089999999999999</c:v>
                </c:pt>
                <c:pt idx="10">
                  <c:v>0.59350000000000003</c:v>
                </c:pt>
                <c:pt idx="11">
                  <c:v>0.52559999999999996</c:v>
                </c:pt>
                <c:pt idx="12">
                  <c:v>0.45760000000000001</c:v>
                </c:pt>
                <c:pt idx="13">
                  <c:v>0.39600000000000002</c:v>
                </c:pt>
                <c:pt idx="14">
                  <c:v>0.39400000000000002</c:v>
                </c:pt>
                <c:pt idx="15">
                  <c:v>0.45019999999999999</c:v>
                </c:pt>
                <c:pt idx="16">
                  <c:v>0.40749999999999997</c:v>
                </c:pt>
                <c:pt idx="17">
                  <c:v>0.311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F-49C8-B8D5-5085D4622A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10919312169312169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7F-49C8-B8D5-5085D4622AA0}"/>
                </c:ext>
              </c:extLst>
            </c:dLbl>
            <c:dLbl>
              <c:idx val="2"/>
              <c:layout>
                <c:manualLayout>
                  <c:x val="-8.399470899470899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7F-49C8-B8D5-5085D4622AA0}"/>
                </c:ext>
              </c:extLst>
            </c:dLbl>
            <c:dLbl>
              <c:idx val="4"/>
              <c:layout>
                <c:manualLayout>
                  <c:x val="-8.399470899470915E-2"/>
                  <c:y val="2.86173357490006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7F-49C8-B8D5-5085D4622AA0}"/>
                </c:ext>
              </c:extLst>
            </c:dLbl>
            <c:dLbl>
              <c:idx val="5"/>
              <c:layout>
                <c:manualLayout>
                  <c:x val="-5.03968253968253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27F-49C8-B8D5-5085D4622AA0}"/>
                </c:ext>
              </c:extLst>
            </c:dLbl>
            <c:dLbl>
              <c:idx val="6"/>
              <c:layout>
                <c:manualLayout>
                  <c:x val="-2.5198412698412699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27F-49C8-B8D5-5085D4622AA0}"/>
                </c:ext>
              </c:extLst>
            </c:dLbl>
            <c:dLbl>
              <c:idx val="9"/>
              <c:layout>
                <c:manualLayout>
                  <c:x val="-6.71957671957673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27F-49C8-B8D5-5085D4622A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9.8299999999999998E-2</c:v>
                </c:pt>
                <c:pt idx="1">
                  <c:v>0.16919999999999999</c:v>
                </c:pt>
                <c:pt idx="2">
                  <c:v>8.14E-2</c:v>
                </c:pt>
                <c:pt idx="3">
                  <c:v>0.1326</c:v>
                </c:pt>
                <c:pt idx="4">
                  <c:v>0.1211</c:v>
                </c:pt>
                <c:pt idx="5">
                  <c:v>0.22040000000000001</c:v>
                </c:pt>
                <c:pt idx="6">
                  <c:v>0.2402</c:v>
                </c:pt>
                <c:pt idx="7">
                  <c:v>0.26850000000000002</c:v>
                </c:pt>
                <c:pt idx="8">
                  <c:v>0.3896</c:v>
                </c:pt>
                <c:pt idx="9">
                  <c:v>0.36980000000000002</c:v>
                </c:pt>
                <c:pt idx="10">
                  <c:v>0.3866</c:v>
                </c:pt>
                <c:pt idx="11">
                  <c:v>0.42430000000000001</c:v>
                </c:pt>
                <c:pt idx="12">
                  <c:v>0.48180000000000001</c:v>
                </c:pt>
                <c:pt idx="13">
                  <c:v>0.56330000000000002</c:v>
                </c:pt>
                <c:pt idx="14">
                  <c:v>0.49430000000000002</c:v>
                </c:pt>
                <c:pt idx="15">
                  <c:v>0.4536</c:v>
                </c:pt>
                <c:pt idx="16">
                  <c:v>0.50070000000000003</c:v>
                </c:pt>
                <c:pt idx="17">
                  <c:v>0.474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7F-49C8-B8D5-5085D4622AA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  <c:pt idx="0" formatCode="0%">
                  <c:v>1.04E-2</c:v>
                </c:pt>
                <c:pt idx="2" formatCode="0%">
                  <c:v>1.04E-2</c:v>
                </c:pt>
                <c:pt idx="4" formatCode="0%">
                  <c:v>1.04E-2</c:v>
                </c:pt>
                <c:pt idx="5" formatCode="0%">
                  <c:v>2.0899999999999998E-2</c:v>
                </c:pt>
                <c:pt idx="6" formatCode="0%">
                  <c:v>4.07E-2</c:v>
                </c:pt>
                <c:pt idx="8" formatCode="0%">
                  <c:v>2.0899999999999998E-2</c:v>
                </c:pt>
                <c:pt idx="9" formatCode="0%">
                  <c:v>2.93E-2</c:v>
                </c:pt>
                <c:pt idx="10" formatCode="0%">
                  <c:v>1.9900000000000001E-2</c:v>
                </c:pt>
                <c:pt idx="11" formatCode="0%">
                  <c:v>3.9699999999999999E-2</c:v>
                </c:pt>
                <c:pt idx="12" formatCode="0%">
                  <c:v>3.9699999999999999E-2</c:v>
                </c:pt>
                <c:pt idx="13" formatCode="0%">
                  <c:v>4.07E-2</c:v>
                </c:pt>
                <c:pt idx="14" formatCode="0%">
                  <c:v>0.11169999999999999</c:v>
                </c:pt>
                <c:pt idx="15" formatCode="0%">
                  <c:v>7.6399999999999996E-2</c:v>
                </c:pt>
                <c:pt idx="16" formatCode="0%">
                  <c:v>8.14E-2</c:v>
                </c:pt>
                <c:pt idx="17" formatCode="0%">
                  <c:v>0.214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7F-49C8-B8D5-5085D4622AA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5" formatCode="0%">
                  <c:v>1.04E-2</c:v>
                </c:pt>
                <c:pt idx="11" formatCode="0%">
                  <c:v>1.04E-2</c:v>
                </c:pt>
                <c:pt idx="12" formatCode="0%">
                  <c:v>2.0899999999999998E-2</c:v>
                </c:pt>
                <c:pt idx="15" formatCode="0%">
                  <c:v>1.9900000000000001E-2</c:v>
                </c:pt>
                <c:pt idx="16" formatCode="0%">
                  <c:v>1.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7F-49C8-B8D5-5085D4622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860-409A-BEC4-9CA9D09CDB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9365</c:v>
                </c:pt>
                <c:pt idx="1">
                  <c:v>0.91100000000000003</c:v>
                </c:pt>
                <c:pt idx="2">
                  <c:v>0.90139999999999998</c:v>
                </c:pt>
                <c:pt idx="3">
                  <c:v>0.82569999999999999</c:v>
                </c:pt>
                <c:pt idx="4">
                  <c:v>0.80500000000000005</c:v>
                </c:pt>
                <c:pt idx="5">
                  <c:v>0.74180000000000001</c:v>
                </c:pt>
                <c:pt idx="6">
                  <c:v>0.69299999999999995</c:v>
                </c:pt>
                <c:pt idx="7">
                  <c:v>0.61960000000000004</c:v>
                </c:pt>
                <c:pt idx="8">
                  <c:v>0.54149999999999998</c:v>
                </c:pt>
                <c:pt idx="9">
                  <c:v>0.48330000000000001</c:v>
                </c:pt>
                <c:pt idx="10">
                  <c:v>0.47720000000000001</c:v>
                </c:pt>
                <c:pt idx="11">
                  <c:v>0.40410000000000001</c:v>
                </c:pt>
                <c:pt idx="12">
                  <c:v>0.42159999999999997</c:v>
                </c:pt>
                <c:pt idx="13">
                  <c:v>0.33110000000000001</c:v>
                </c:pt>
                <c:pt idx="14">
                  <c:v>0.27239999999999998</c:v>
                </c:pt>
                <c:pt idx="15">
                  <c:v>0.2828</c:v>
                </c:pt>
                <c:pt idx="16">
                  <c:v>0.25090000000000001</c:v>
                </c:pt>
                <c:pt idx="17">
                  <c:v>0.1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60-409A-BEC4-9CA9D09CDB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3"/>
              <c:layout>
                <c:manualLayout>
                  <c:x val="-8.3994708994708997E-2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860-409A-BEC4-9CA9D09CDB45}"/>
                </c:ext>
              </c:extLst>
            </c:dLbl>
            <c:dLbl>
              <c:idx val="4"/>
              <c:layout>
                <c:manualLayout>
                  <c:x val="-5.0396825396825551E-2"/>
                  <c:y val="2.86173357490006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860-409A-BEC4-9CA9D09CDB45}"/>
                </c:ext>
              </c:extLst>
            </c:dLbl>
            <c:dLbl>
              <c:idx val="6"/>
              <c:layout>
                <c:manualLayout>
                  <c:x val="-2.5198412698412699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860-409A-BEC4-9CA9D09CDB45}"/>
                </c:ext>
              </c:extLst>
            </c:dLbl>
            <c:dLbl>
              <c:idx val="8"/>
              <c:layout>
                <c:manualLayout>
                  <c:x val="-4.1997354497354575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860-409A-BEC4-9CA9D09CDB45}"/>
                </c:ext>
              </c:extLst>
            </c:dLbl>
            <c:dLbl>
              <c:idx val="11"/>
              <c:layout>
                <c:manualLayout>
                  <c:x val="-0.142791005291005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860-409A-BEC4-9CA9D09CDB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6.3500000000000001E-2</c:v>
                </c:pt>
                <c:pt idx="1">
                  <c:v>8.8999999999999996E-2</c:v>
                </c:pt>
                <c:pt idx="2">
                  <c:v>9.8599999999999993E-2</c:v>
                </c:pt>
                <c:pt idx="3">
                  <c:v>0.16819999999999999</c:v>
                </c:pt>
                <c:pt idx="4">
                  <c:v>0.18029999999999999</c:v>
                </c:pt>
                <c:pt idx="5">
                  <c:v>0.25819999999999999</c:v>
                </c:pt>
                <c:pt idx="6">
                  <c:v>0.2863</c:v>
                </c:pt>
                <c:pt idx="7">
                  <c:v>0.38040000000000002</c:v>
                </c:pt>
                <c:pt idx="8">
                  <c:v>0.43049999999999999</c:v>
                </c:pt>
                <c:pt idx="9">
                  <c:v>0.46310000000000001</c:v>
                </c:pt>
                <c:pt idx="10">
                  <c:v>0.47649999999999998</c:v>
                </c:pt>
                <c:pt idx="11">
                  <c:v>0.57389999999999997</c:v>
                </c:pt>
                <c:pt idx="12">
                  <c:v>0.53210000000000002</c:v>
                </c:pt>
                <c:pt idx="13">
                  <c:v>0.61529999999999996</c:v>
                </c:pt>
                <c:pt idx="14">
                  <c:v>0.57389999999999997</c:v>
                </c:pt>
                <c:pt idx="15">
                  <c:v>0.61990000000000001</c:v>
                </c:pt>
                <c:pt idx="16">
                  <c:v>0.61129999999999995</c:v>
                </c:pt>
                <c:pt idx="17">
                  <c:v>0.6858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60-409A-BEC4-9CA9D09CDB4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4"/>
              <c:layout>
                <c:manualLayout>
                  <c:x val="-5.8796296296296298E-2"/>
                  <c:y val="-3.121681415929203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860-409A-BEC4-9CA9D09CDB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General</c:formatCode>
                <c:ptCount val="18"/>
                <c:pt idx="3" formatCode="0%">
                  <c:v>6.1000000000000004E-3</c:v>
                </c:pt>
                <c:pt idx="4" formatCode="0%">
                  <c:v>1.47E-2</c:v>
                </c:pt>
                <c:pt idx="6" formatCode="0%">
                  <c:v>1.34E-2</c:v>
                </c:pt>
                <c:pt idx="8" formatCode="0%">
                  <c:v>2.81E-2</c:v>
                </c:pt>
                <c:pt idx="9" formatCode="0%">
                  <c:v>5.3600000000000002E-2</c:v>
                </c:pt>
                <c:pt idx="10" formatCode="0%">
                  <c:v>4.6300000000000001E-2</c:v>
                </c:pt>
                <c:pt idx="11" formatCode="0%">
                  <c:v>2.1999999999999999E-2</c:v>
                </c:pt>
                <c:pt idx="12" formatCode="0%">
                  <c:v>4.6300000000000001E-2</c:v>
                </c:pt>
                <c:pt idx="13" formatCode="0%">
                  <c:v>5.3600000000000002E-2</c:v>
                </c:pt>
                <c:pt idx="14" formatCode="0%">
                  <c:v>0.15379999999999999</c:v>
                </c:pt>
                <c:pt idx="15" formatCode="0%">
                  <c:v>9.74E-2</c:v>
                </c:pt>
                <c:pt idx="16" formatCode="0%">
                  <c:v>0.13780000000000001</c:v>
                </c:pt>
                <c:pt idx="17" formatCode="0%">
                  <c:v>0.183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60-409A-BEC4-9CA9D09CDB4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6" formatCode="0%">
                  <c:v>7.3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60-409A-BEC4-9CA9D09CD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дзвичайно важливо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BB0-4AA2-B08D-C980FFB472A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B$2:$B$19</c:f>
              <c:numCache>
                <c:formatCode>0%</c:formatCode>
                <c:ptCount val="18"/>
                <c:pt idx="0">
                  <c:v>0.90100000000000002</c:v>
                </c:pt>
                <c:pt idx="1">
                  <c:v>0.88639999999999997</c:v>
                </c:pt>
                <c:pt idx="2">
                  <c:v>0.85219999999999996</c:v>
                </c:pt>
                <c:pt idx="3">
                  <c:v>0.77539999999999998</c:v>
                </c:pt>
                <c:pt idx="4">
                  <c:v>0.87390000000000001</c:v>
                </c:pt>
                <c:pt idx="5">
                  <c:v>0.73209999999999997</c:v>
                </c:pt>
                <c:pt idx="6">
                  <c:v>0.75529999999999997</c:v>
                </c:pt>
                <c:pt idx="7">
                  <c:v>0.6522</c:v>
                </c:pt>
                <c:pt idx="8">
                  <c:v>0.43419999999999997</c:v>
                </c:pt>
                <c:pt idx="9">
                  <c:v>0.41210000000000002</c:v>
                </c:pt>
                <c:pt idx="10">
                  <c:v>0.43269999999999997</c:v>
                </c:pt>
                <c:pt idx="11">
                  <c:v>0.47239999999999999</c:v>
                </c:pt>
                <c:pt idx="12">
                  <c:v>0.46729999999999999</c:v>
                </c:pt>
                <c:pt idx="13">
                  <c:v>0.26929999999999998</c:v>
                </c:pt>
                <c:pt idx="14">
                  <c:v>0.41049999999999998</c:v>
                </c:pt>
                <c:pt idx="15">
                  <c:v>0.35880000000000001</c:v>
                </c:pt>
                <c:pt idx="16">
                  <c:v>0.27989999999999998</c:v>
                </c:pt>
                <c:pt idx="17">
                  <c:v>0.209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B0-4AA2-B08D-C980FFB472A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9.2394179894180042E-2"/>
                  <c:y val="2.458210422955279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BB0-4AA2-B08D-C980FFB472AA}"/>
                </c:ext>
              </c:extLst>
            </c:dLbl>
            <c:dLbl>
              <c:idx val="3"/>
              <c:layout>
                <c:manualLayout>
                  <c:x val="-0.1007936507936508"/>
                  <c:y val="2.458210422812192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BB0-4AA2-B08D-C980FFB472AA}"/>
                </c:ext>
              </c:extLst>
            </c:dLbl>
            <c:dLbl>
              <c:idx val="5"/>
              <c:layout>
                <c:manualLayout>
                  <c:x val="-5.03968253968253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BB0-4AA2-B08D-C980FFB472AA}"/>
                </c:ext>
              </c:extLst>
            </c:dLbl>
            <c:dLbl>
              <c:idx val="6"/>
              <c:layout>
                <c:manualLayout>
                  <c:x val="-5.8796296296296451E-2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BB0-4AA2-B08D-C980FFB472AA}"/>
                </c:ext>
              </c:extLst>
            </c:dLbl>
            <c:dLbl>
              <c:idx val="8"/>
              <c:layout>
                <c:manualLayout>
                  <c:x val="-0.1343915343915344"/>
                  <c:y val="5.723467149800138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BB0-4AA2-B08D-C980FFB472AA}"/>
                </c:ext>
              </c:extLst>
            </c:dLbl>
            <c:dLbl>
              <c:idx val="9"/>
              <c:layout>
                <c:manualLayout>
                  <c:x val="-0.13439153439153448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BB0-4AA2-B08D-C980FFB472AA}"/>
                </c:ext>
              </c:extLst>
            </c:dLbl>
            <c:dLbl>
              <c:idx val="10"/>
              <c:layout>
                <c:manualLayout>
                  <c:x val="-0.10079365079365087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BB0-4AA2-B08D-C980FFB472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C$2:$C$19</c:f>
              <c:numCache>
                <c:formatCode>0%</c:formatCode>
                <c:ptCount val="18"/>
                <c:pt idx="0">
                  <c:v>9.9000000000000005E-2</c:v>
                </c:pt>
                <c:pt idx="1">
                  <c:v>0.1</c:v>
                </c:pt>
                <c:pt idx="2">
                  <c:v>0.14779999999999999</c:v>
                </c:pt>
                <c:pt idx="3">
                  <c:v>0.22109999999999999</c:v>
                </c:pt>
                <c:pt idx="4">
                  <c:v>0.12609999999999999</c:v>
                </c:pt>
                <c:pt idx="5">
                  <c:v>0.26279999999999998</c:v>
                </c:pt>
                <c:pt idx="6">
                  <c:v>0.21759999999999999</c:v>
                </c:pt>
                <c:pt idx="7">
                  <c:v>0.3478</c:v>
                </c:pt>
                <c:pt idx="8">
                  <c:v>0.54369999999999996</c:v>
                </c:pt>
                <c:pt idx="9">
                  <c:v>0.53720000000000001</c:v>
                </c:pt>
                <c:pt idx="10">
                  <c:v>0.53320000000000001</c:v>
                </c:pt>
                <c:pt idx="11">
                  <c:v>0.47489999999999999</c:v>
                </c:pt>
                <c:pt idx="12">
                  <c:v>0.47589999999999999</c:v>
                </c:pt>
                <c:pt idx="13">
                  <c:v>0.65529999999999999</c:v>
                </c:pt>
                <c:pt idx="14">
                  <c:v>0.4844</c:v>
                </c:pt>
                <c:pt idx="15">
                  <c:v>0.53920000000000001</c:v>
                </c:pt>
                <c:pt idx="16">
                  <c:v>0.58689999999999998</c:v>
                </c:pt>
                <c:pt idx="17">
                  <c:v>0.6150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B0-4AA2-B08D-C980FFB472A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важливо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D$2:$D$19</c:f>
              <c:numCache>
                <c:formatCode>0%</c:formatCode>
                <c:ptCount val="18"/>
                <c:pt idx="1">
                  <c:v>1.3599999999999999E-2</c:v>
                </c:pt>
                <c:pt idx="3" formatCode="0.0%">
                  <c:v>3.5000000000000001E-3</c:v>
                </c:pt>
                <c:pt idx="5">
                  <c:v>5.0000000000000001E-3</c:v>
                </c:pt>
                <c:pt idx="6">
                  <c:v>2.2100000000000002E-2</c:v>
                </c:pt>
                <c:pt idx="8">
                  <c:v>2.2100000000000002E-2</c:v>
                </c:pt>
                <c:pt idx="9">
                  <c:v>4.7199999999999999E-2</c:v>
                </c:pt>
                <c:pt idx="10">
                  <c:v>3.4200000000000001E-2</c:v>
                </c:pt>
                <c:pt idx="11">
                  <c:v>5.28E-2</c:v>
                </c:pt>
                <c:pt idx="12">
                  <c:v>5.6800000000000003E-2</c:v>
                </c:pt>
                <c:pt idx="13">
                  <c:v>7.5399999999999995E-2</c:v>
                </c:pt>
                <c:pt idx="14">
                  <c:v>9.5000000000000001E-2</c:v>
                </c:pt>
                <c:pt idx="15">
                  <c:v>0.10199999999999999</c:v>
                </c:pt>
                <c:pt idx="16">
                  <c:v>0.13320000000000001</c:v>
                </c:pt>
                <c:pt idx="17">
                  <c:v>0.1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B0-4AA2-B08D-C980FFB472AA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Бути вірним своїм близьким людям та друзям</c:v>
                </c:pt>
                <c:pt idx="1">
                  <c:v>Жити у сильній державі, яка може захистити своїх громадян і гарантувати безпеку від усіх загроз </c:v>
                </c:pt>
                <c:pt idx="2">
                  <c:v>Самостійно приймати рішення про те, що робити, бути вільним та незалежним</c:v>
                </c:pt>
                <c:pt idx="3">
                  <c:v>Робити те, що приносить задоволення</c:v>
                </c:pt>
                <c:pt idx="4">
                  <c:v>Берегти природу, дбати про довкілля</c:v>
                </c:pt>
                <c:pt idx="5">
                  <c:v>Відстоювати справедливість та рівні можливості </c:v>
                </c:pt>
                <c:pt idx="6">
                  <c:v>Жити в безпечному оточенні, уникати всього, що може загрожувати безпеці</c:v>
                </c:pt>
                <c:pt idx="7">
                  <c:v>Допомагати людям довкола</c:v>
                </c:pt>
                <c:pt idx="8">
                  <c:v>Добре проводити час, балувати себе </c:v>
                </c:pt>
                <c:pt idx="9">
                  <c:v>Пробувати нове, шукати пригоди і ризикувати, мати життя сповнене враженнями</c:v>
                </c:pt>
                <c:pt idx="10">
                  <c:v>Придумувати нові ідеї, бути творчою людиною</c:v>
                </c:pt>
                <c:pt idx="11">
                  <c:v>Бути шанованою людиною, до думки якої дослухаються інші </c:v>
                </c:pt>
                <c:pt idx="12">
                  <c:v>Вислуховувати думки людей, які відрізняються від Вашої, зрозуміти їх точку зору</c:v>
                </c:pt>
                <c:pt idx="13">
                  <c:v>Бути заможним, мати багато грошей і дорогі речі </c:v>
                </c:pt>
                <c:pt idx="14">
                  <c:v>Дотримуватися традицій, релігійних чи сімейних звичаїв</c:v>
                </c:pt>
                <c:pt idx="15">
                  <c:v>Завжди поводитися правильно, уникати вчинків, які можуть викликати засудження</c:v>
                </c:pt>
                <c:pt idx="16">
                  <c:v>Викликати захоплення інших людей від того, що ви робите </c:v>
                </c:pt>
                <c:pt idx="17">
                  <c:v>Бути скромним, не привертати до себе увагу </c:v>
                </c:pt>
              </c:strCache>
            </c:strRef>
          </c:cat>
          <c:val>
            <c:numRef>
              <c:f>Лист1!$E$2:$E$19</c:f>
              <c:numCache>
                <c:formatCode>General</c:formatCode>
                <c:ptCount val="18"/>
                <c:pt idx="6" formatCode="0%">
                  <c:v>5.0000000000000001E-3</c:v>
                </c:pt>
                <c:pt idx="9" formatCode="0.0%">
                  <c:v>3.5000000000000001E-3</c:v>
                </c:pt>
                <c:pt idx="14" formatCode="0%">
                  <c:v>1.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B0-4AA2-B08D-C980FFB472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Загалом</c:v>
                </c:pt>
              </c:strCache>
            </c:strRef>
          </c:tx>
          <c:spPr>
            <a:ln w="12700">
              <a:solidFill>
                <a:srgbClr val="2E6861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2E6861"/>
              </a:solidFill>
              <a:ln w="12700" cap="rnd">
                <a:solidFill>
                  <a:srgbClr val="2E6861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2E686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General</c:formatCode>
                <c:ptCount val="10"/>
                <c:pt idx="0">
                  <c:v>5.2269535706275798</c:v>
                </c:pt>
                <c:pt idx="1">
                  <c:v>4.7450880842237169</c:v>
                </c:pt>
                <c:pt idx="2">
                  <c:v>5.9466606059950244</c:v>
                </c:pt>
                <c:pt idx="3">
                  <c:v>5.4704702247323951</c:v>
                </c:pt>
                <c:pt idx="4">
                  <c:v>5.961459643570751</c:v>
                </c:pt>
                <c:pt idx="5">
                  <c:v>5.9012696389117307</c:v>
                </c:pt>
                <c:pt idx="6">
                  <c:v>6.2411171450691549</c:v>
                </c:pt>
                <c:pt idx="7">
                  <c:v>4.5304335353053178</c:v>
                </c:pt>
                <c:pt idx="8">
                  <c:v>4.8392240691452111</c:v>
                </c:pt>
                <c:pt idx="9">
                  <c:v>6.2730869635896802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966E-468C-89B8-777A05AE0372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50A-4E4D-AA68-3FA54BAB13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8-966E-468C-89B8-777A05AE03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9-966E-468C-89B8-777A05AE0372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General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14-19 років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7762933626755846</c:v>
                </c:pt>
                <c:pt idx="1">
                  <c:v>5.2807435948601524</c:v>
                </c:pt>
                <c:pt idx="2">
                  <c:v>6.2130287918912579</c:v>
                </c:pt>
                <c:pt idx="3">
                  <c:v>6.0977066430322093</c:v>
                </c:pt>
                <c:pt idx="4">
                  <c:v>6.0501178894465308</c:v>
                </c:pt>
                <c:pt idx="5">
                  <c:v>5.8968283890645319</c:v>
                </c:pt>
                <c:pt idx="6">
                  <c:v>6.1257401988030873</c:v>
                </c:pt>
                <c:pt idx="7">
                  <c:v>4.8359011637239115</c:v>
                </c:pt>
                <c:pt idx="8">
                  <c:v>4.9308002797419093</c:v>
                </c:pt>
                <c:pt idx="9">
                  <c:v>6.1964203166673579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C62E-4D50-B101-8D2551259F4A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62E-4D50-B101-8D2551259F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C62E-4D50-B101-8D2551259F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C62E-4D50-B101-8D2551259F4A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20-24 роки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2414203074225787</c:v>
                </c:pt>
                <c:pt idx="1">
                  <c:v>5.0550849592497684</c:v>
                </c:pt>
                <c:pt idx="2">
                  <c:v>6.0144718297647746</c:v>
                </c:pt>
                <c:pt idx="3">
                  <c:v>5.6638658812523346</c:v>
                </c:pt>
                <c:pt idx="4">
                  <c:v>6.1361061427788171</c:v>
                </c:pt>
                <c:pt idx="5">
                  <c:v>5.9185740973836536</c:v>
                </c:pt>
                <c:pt idx="6">
                  <c:v>6.2786014723574235</c:v>
                </c:pt>
                <c:pt idx="7">
                  <c:v>4.5725090170654932</c:v>
                </c:pt>
                <c:pt idx="8">
                  <c:v>5.0322616833549176</c:v>
                </c:pt>
                <c:pt idx="9">
                  <c:v>6.2113077094330738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008-44CA-ADE8-19E24987F7D4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008-44CA-ADE8-19E24987F7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F008-44CA-ADE8-19E24987F7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F008-44CA-ADE8-19E24987F7D4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A40-4B02-A344-15DBCA12B6E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A40-4B02-A344-15DBCA12B6E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49209999999999998</c:v>
                </c:pt>
                <c:pt idx="1">
                  <c:v>0.507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40-4B02-A344-15DBCA12B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25-29 років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5.0199637378882391</c:v>
                </c:pt>
                <c:pt idx="1">
                  <c:v>4.4633119535428314</c:v>
                </c:pt>
                <c:pt idx="2">
                  <c:v>5.9052653573382727</c:v>
                </c:pt>
                <c:pt idx="3">
                  <c:v>5.3280036172223131</c:v>
                </c:pt>
                <c:pt idx="4">
                  <c:v>5.8974403279711245</c:v>
                </c:pt>
                <c:pt idx="5">
                  <c:v>5.8244788332681301</c:v>
                </c:pt>
                <c:pt idx="6">
                  <c:v>6.2510003642592791</c:v>
                </c:pt>
                <c:pt idx="7">
                  <c:v>4.1489576665362584</c:v>
                </c:pt>
                <c:pt idx="8">
                  <c:v>4.5753768214328918</c:v>
                </c:pt>
                <c:pt idx="9">
                  <c:v>6.2986773607903279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3965-44D0-8170-A5174C366B7F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3965-44D0-8170-A5174C366B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3965-44D0-8170-A5174C366B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3965-44D0-8170-A5174C366B7F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1.1381665983358271E-2"/>
          <c:w val="0.98296387913680616"/>
          <c:h val="0.969095224016206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30-35 років</c:v>
                </c:pt>
              </c:strCache>
            </c:strRef>
          </c:tx>
          <c:spPr>
            <a:ln w="12700">
              <a:solidFill>
                <a:srgbClr val="7DC5BC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7DC5BC"/>
              </a:solidFill>
              <a:ln w="12700" cap="rnd">
                <a:solidFill>
                  <a:srgbClr val="7DC5BC"/>
                </a:solidFill>
                <a:prstDash val="solid"/>
              </a:ln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65BBB1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xVal>
            <c:numRef>
              <c:f>Sheet1!$C$2:$C$11</c:f>
              <c:numCache>
                <c:formatCode>###0.00</c:formatCode>
                <c:ptCount val="10"/>
                <c:pt idx="0">
                  <c:v>4.9901728257019409</c:v>
                </c:pt>
                <c:pt idx="1">
                  <c:v>4.4311320690548381</c:v>
                </c:pt>
                <c:pt idx="2">
                  <c:v>5.767292642050899</c:v>
                </c:pt>
                <c:pt idx="3">
                  <c:v>5.0629796555519713</c:v>
                </c:pt>
                <c:pt idx="4">
                  <c:v>5.8640349102954419</c:v>
                </c:pt>
                <c:pt idx="5">
                  <c:v>5.9443644724491351</c:v>
                </c:pt>
                <c:pt idx="6">
                  <c:v>6.2934391450306224</c:v>
                </c:pt>
                <c:pt idx="7">
                  <c:v>4.5499926392229559</c:v>
                </c:pt>
                <c:pt idx="8">
                  <c:v>4.8583218127857428</c:v>
                </c:pt>
                <c:pt idx="9">
                  <c:v>6.3353753821412804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993-445E-B97C-CDE4DCD8FE2E}"/>
            </c:ext>
          </c:extLst>
        </c:ser>
        <c:ser>
          <c:idx val="10"/>
          <c:order val="1"/>
          <c:tx>
            <c:strRef>
              <c:f>Sheet1!$D$1</c:f>
              <c:strCache>
                <c:ptCount val="1"/>
              </c:strCache>
              <c:extLst xmlns:c15="http://schemas.microsoft.com/office/drawing/2012/chart"/>
            </c:strRef>
          </c:tx>
          <c:spPr>
            <a:ln w="12700">
              <a:solidFill>
                <a:srgbClr val="FF6969"/>
              </a:solidFill>
            </a:ln>
          </c:spPr>
          <c:marker>
            <c:symbol val="diamond"/>
            <c:size val="5"/>
            <c:spPr>
              <a:solidFill>
                <a:srgbClr val="FF6969"/>
              </a:solidFill>
              <a:ln w="12700">
                <a:solidFill>
                  <a:srgbClr val="FF6969"/>
                </a:solidFill>
              </a:ln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300" b="1">
                      <a:solidFill>
                        <a:srgbClr val="FF4F4F"/>
                      </a:solidFill>
                    </a:defRPr>
                  </a:pPr>
                  <a:endParaRPr lang="uk-UA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993-445E-B97C-CDE4DCD8FE2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4F4F"/>
                    </a:solidFill>
                  </a:defRPr>
                </a:pPr>
                <a:endParaRPr lang="uk-UA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D$2:$D$7</c:f>
              <c:numCache>
                <c:formatCode>General</c:formatCode>
                <c:ptCount val="6"/>
              </c:numCache>
              <c:extLst xmlns:c15="http://schemas.microsoft.com/office/drawing/2012/chart"/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F993-445E-B97C-CDE4DCD8FE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426048"/>
        <c:axId val="459427840"/>
        <c:extLst>
          <c:ext xmlns:c15="http://schemas.microsoft.com/office/drawing/2012/chart" uri="{02D57815-91ED-43cb-92C2-25804820EDAC}">
            <c15:filteredScatterSeries>
              <c15:ser>
                <c:idx val="11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xVal>
                  <c:numRef>
                    <c:extLst>
                      <c:ext uri="{02D57815-91ED-43cb-92C2-25804820EDAC}">
                        <c15:formulaRef>
                          <c15:sqref>Sheet1!$E$2:$E$7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B$2:$B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F993-445E-B97C-CDE4DCD8FE2E}"/>
                  </c:ext>
                </c:extLst>
              </c15:ser>
            </c15:filteredScatterSeries>
          </c:ext>
        </c:extLst>
      </c:scatterChart>
      <c:valAx>
        <c:axId val="459426048"/>
        <c:scaling>
          <c:orientation val="minMax"/>
          <c:max val="10"/>
          <c:min val="2"/>
        </c:scaling>
        <c:delete val="1"/>
        <c:axPos val="t"/>
        <c:numFmt formatCode="###0.00" sourceLinked="1"/>
        <c:majorTickMark val="out"/>
        <c:minorTickMark val="none"/>
        <c:tickLblPos val="nextTo"/>
        <c:crossAx val="459427840"/>
        <c:crosses val="autoZero"/>
        <c:crossBetween val="midCat"/>
      </c:valAx>
      <c:valAx>
        <c:axId val="459427840"/>
        <c:scaling>
          <c:orientation val="maxMin"/>
          <c:max val="10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459426048"/>
        <c:crossesAt val="0"/>
        <c:crossBetween val="midCat"/>
      </c:valAx>
      <c:spPr>
        <a:noFill/>
        <a:ln w="23593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uk-UA"/>
    </a:p>
  </c:txPr>
  <c:externalData r:id="rId2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90-41E9-BDE5-6DF2DB8BA384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B90-41E9-BDE5-6DF2DB8BA384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90-41E9-BDE5-6DF2DB8BA384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B90-41E9-BDE5-6DF2DB8BA384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90-41E9-BDE5-6DF2DB8BA384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B90-41E9-BDE5-6DF2DB8BA384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B90-41E9-BDE5-6DF2DB8BA384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B90-41E9-BDE5-6DF2DB8BA384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B90-41E9-BDE5-6DF2DB8BA384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B90-41E9-BDE5-6DF2DB8BA384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B90-41E9-BDE5-6DF2DB8BA384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B90-41E9-BDE5-6DF2DB8BA384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B90-41E9-BDE5-6DF2DB8BA384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B90-41E9-BDE5-6DF2DB8BA384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B90-41E9-BDE5-6DF2DB8BA384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2E686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39045620566328604</c:v>
                </c:pt>
                <c:pt idx="1">
                  <c:v>-0.87339426665949071</c:v>
                </c:pt>
                <c:pt idx="2">
                  <c:v>0.32925082970415209</c:v>
                </c:pt>
                <c:pt idx="3">
                  <c:v>-0.14632217899725752</c:v>
                </c:pt>
                <c:pt idx="4">
                  <c:v>0.34404986727987652</c:v>
                </c:pt>
                <c:pt idx="5">
                  <c:v>0.2838598626208636</c:v>
                </c:pt>
                <c:pt idx="6">
                  <c:v>0.62370736877828414</c:v>
                </c:pt>
                <c:pt idx="7">
                  <c:v>-1.0869762409855512</c:v>
                </c:pt>
                <c:pt idx="8">
                  <c:v>-0.77861158483975768</c:v>
                </c:pt>
                <c:pt idx="9">
                  <c:v>0.65567718729879998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39045620566328604</c:v>
                </c:pt>
                <c:pt idx="1">
                  <c:v>-0.87339426665949071</c:v>
                </c:pt>
                <c:pt idx="2">
                  <c:v>0.32925082970415209</c:v>
                </c:pt>
                <c:pt idx="3">
                  <c:v>-0.14632217899725752</c:v>
                </c:pt>
                <c:pt idx="4">
                  <c:v>0.34404986727987652</c:v>
                </c:pt>
                <c:pt idx="5">
                  <c:v>0.2838598626208636</c:v>
                </c:pt>
                <c:pt idx="6">
                  <c:v>0.62370736877828414</c:v>
                </c:pt>
                <c:pt idx="7">
                  <c:v>-1.0869762409855512</c:v>
                </c:pt>
                <c:pt idx="8">
                  <c:v>-0.77861158483975768</c:v>
                </c:pt>
                <c:pt idx="9">
                  <c:v>0.6556771872987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90-41E9-BDE5-6DF2DB8BA3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2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57C-44D5-BD5D-BBBC5DFB0078}"/>
              </c:ext>
            </c:extLst>
          </c:dPt>
          <c:dPt>
            <c:idx val="3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57C-44D5-BD5D-BBBC5DFB0078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57C-44D5-BD5D-BBBC5DFB0078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57C-44D5-BD5D-BBBC5DFB0078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57C-44D5-BD5D-BBBC5DFB0078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57C-44D5-BD5D-BBBC5DFB0078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657C-44D5-BD5D-BBBC5DFB0078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657C-44D5-BD5D-BBBC5DFB0078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657C-44D5-BD5D-BBBC5DFB0078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657C-44D5-BD5D-BBBC5DFB0078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657C-44D5-BD5D-BBBC5DFB0078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657C-44D5-BD5D-BBBC5DFB0078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657C-44D5-BD5D-BBBC5DFB0078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657C-44D5-BD5D-BBBC5DFB0078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657C-44D5-BD5D-BBBC5DFB0078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657C-44D5-BD5D-BBBC5DFB0078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2.3581230717402736E-2</c:v>
                </c:pt>
                <c:pt idx="1">
                  <c:v>-0.51913099853283229</c:v>
                </c:pt>
                <c:pt idx="2">
                  <c:v>0.41315419849827401</c:v>
                </c:pt>
                <c:pt idx="3">
                  <c:v>0.29551300179828366</c:v>
                </c:pt>
                <c:pt idx="4">
                  <c:v>0.25024329605354584</c:v>
                </c:pt>
                <c:pt idx="5">
                  <c:v>9.6953795671543636E-2</c:v>
                </c:pt>
                <c:pt idx="6">
                  <c:v>0.3258656054101024</c:v>
                </c:pt>
                <c:pt idx="7">
                  <c:v>-0.96397342966907174</c:v>
                </c:pt>
                <c:pt idx="8">
                  <c:v>-0.86907431365107668</c:v>
                </c:pt>
                <c:pt idx="9">
                  <c:v>0.39654572327436982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2.3581230717402736E-2</c:v>
                </c:pt>
                <c:pt idx="1">
                  <c:v>-0.51913099853283229</c:v>
                </c:pt>
                <c:pt idx="2">
                  <c:v>0.41315419849827401</c:v>
                </c:pt>
                <c:pt idx="3">
                  <c:v>0.29551300179828366</c:v>
                </c:pt>
                <c:pt idx="4">
                  <c:v>0.25024329605354584</c:v>
                </c:pt>
                <c:pt idx="5">
                  <c:v>9.6953795671543636E-2</c:v>
                </c:pt>
                <c:pt idx="6">
                  <c:v>0.3258656054101024</c:v>
                </c:pt>
                <c:pt idx="7">
                  <c:v>-0.96397342966907174</c:v>
                </c:pt>
                <c:pt idx="8">
                  <c:v>-0.86907431365107668</c:v>
                </c:pt>
                <c:pt idx="9">
                  <c:v>0.39654572327436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7C-44D5-BD5D-BBBC5DFB00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35-44B9-8662-F891AA2D3991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535-44B9-8662-F891AA2D3991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535-44B9-8662-F891AA2D3991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535-44B9-8662-F891AA2D3991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35-44B9-8662-F891AA2D3991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9535-44B9-8662-F891AA2D3991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9535-44B9-8662-F891AA2D3991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9535-44B9-8662-F891AA2D3991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9535-44B9-8662-F891AA2D3991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9535-44B9-8662-F891AA2D3991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9535-44B9-8662-F891AA2D3991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9535-44B9-8662-F891AA2D3991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9535-44B9-8662-F891AA2D3991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9535-44B9-8662-F891AA2D3991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9535-44B9-8662-F891AA2D3991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44668688732957201</c:v>
                </c:pt>
                <c:pt idx="1">
                  <c:v>-0.64027519535414612</c:v>
                </c:pt>
                <c:pt idx="2">
                  <c:v>0.32636463501262597</c:v>
                </c:pt>
                <c:pt idx="3">
                  <c:v>-2.4241313499813417E-2</c:v>
                </c:pt>
                <c:pt idx="4">
                  <c:v>0.44799894802666979</c:v>
                </c:pt>
                <c:pt idx="5">
                  <c:v>0.23046690263150518</c:v>
                </c:pt>
                <c:pt idx="6">
                  <c:v>0.59049427760527529</c:v>
                </c:pt>
                <c:pt idx="7">
                  <c:v>-1.1155981776866579</c:v>
                </c:pt>
                <c:pt idx="8">
                  <c:v>-0.65988214778025123</c:v>
                </c:pt>
                <c:pt idx="9">
                  <c:v>0.52320051468092521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44668688732957201</c:v>
                </c:pt>
                <c:pt idx="1">
                  <c:v>-0.64027519535414612</c:v>
                </c:pt>
                <c:pt idx="2">
                  <c:v>0.32636463501262597</c:v>
                </c:pt>
                <c:pt idx="3">
                  <c:v>-2.4241313499813417E-2</c:v>
                </c:pt>
                <c:pt idx="4">
                  <c:v>0.44799894802666979</c:v>
                </c:pt>
                <c:pt idx="5">
                  <c:v>0.23046690263150518</c:v>
                </c:pt>
                <c:pt idx="6">
                  <c:v>0.59049427760527529</c:v>
                </c:pt>
                <c:pt idx="7">
                  <c:v>-1.1155981776866579</c:v>
                </c:pt>
                <c:pt idx="8">
                  <c:v>-0.65988214778025123</c:v>
                </c:pt>
                <c:pt idx="9">
                  <c:v>0.523200514680925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35-44B9-8662-F891AA2D39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28-40BF-9CCF-9E1956AAABA0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528-40BF-9CCF-9E1956AAABA0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28-40BF-9CCF-9E1956AAABA0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528-40BF-9CCF-9E1956AAABA0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528-40BF-9CCF-9E1956AAABA0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4528-40BF-9CCF-9E1956AAABA0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4528-40BF-9CCF-9E1956AAABA0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4528-40BF-9CCF-9E1956AAABA0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4528-40BF-9CCF-9E1956AAABA0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4528-40BF-9CCF-9E1956AAABA0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4528-40BF-9CCF-9E1956AAABA0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4528-40BF-9CCF-9E1956AAABA0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4528-40BF-9CCF-9E1956AAABA0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4528-40BF-9CCF-9E1956AAABA0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4528-40BF-9CCF-9E1956AAABA0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47253895179283284</c:v>
                </c:pt>
                <c:pt idx="1">
                  <c:v>-1.0291907361382355</c:v>
                </c:pt>
                <c:pt idx="2">
                  <c:v>0.41276266765720265</c:v>
                </c:pt>
                <c:pt idx="3">
                  <c:v>-0.16449907245875786</c:v>
                </c:pt>
                <c:pt idx="4">
                  <c:v>0.40493763829005291</c:v>
                </c:pt>
                <c:pt idx="5">
                  <c:v>0.33197614358705879</c:v>
                </c:pt>
                <c:pt idx="6">
                  <c:v>0.75849767457820938</c:v>
                </c:pt>
                <c:pt idx="7">
                  <c:v>-1.3435450231448118</c:v>
                </c:pt>
                <c:pt idx="8">
                  <c:v>-0.91712586824817988</c:v>
                </c:pt>
                <c:pt idx="9">
                  <c:v>0.80617467110926022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47253895179283284</c:v>
                </c:pt>
                <c:pt idx="1">
                  <c:v>-1.0291907361382355</c:v>
                </c:pt>
                <c:pt idx="2">
                  <c:v>0.41276266765720265</c:v>
                </c:pt>
                <c:pt idx="3">
                  <c:v>-0.16449907245875786</c:v>
                </c:pt>
                <c:pt idx="4">
                  <c:v>0.40493763829005291</c:v>
                </c:pt>
                <c:pt idx="5">
                  <c:v>0.33197614358705879</c:v>
                </c:pt>
                <c:pt idx="6">
                  <c:v>0.75849767457820938</c:v>
                </c:pt>
                <c:pt idx="7">
                  <c:v>-1.3435450231448118</c:v>
                </c:pt>
                <c:pt idx="8">
                  <c:v>-0.91712586824817988</c:v>
                </c:pt>
                <c:pt idx="9">
                  <c:v>0.80617467110926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28-40BF-9CCF-9E1956AAA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77803096953619E-2"/>
          <c:y val="1.4135980660227331E-2"/>
          <c:w val="0.96111824465145224"/>
          <c:h val="0.973208271405023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:$A$11</c:f>
              <c:strCache>
                <c:ptCount val="10"/>
                <c:pt idx="0">
                  <c:v>Power / Влада</c:v>
                </c:pt>
                <c:pt idx="1">
                  <c:v>Achievement / Досягнення</c:v>
                </c:pt>
                <c:pt idx="2">
                  <c:v>Hedonism / Гедонізм</c:v>
                </c:pt>
                <c:pt idx="3">
                  <c:v>Stimulation / Пошук нового</c:v>
                </c:pt>
                <c:pt idx="4">
                  <c:v>Self-direction / Самовираження</c:v>
                </c:pt>
                <c:pt idx="5">
                  <c:v>Universalism / Соціальна відповідальність</c:v>
                </c:pt>
                <c:pt idx="6">
                  <c:v>Benevolence / Доброта</c:v>
                </c:pt>
                <c:pt idx="7">
                  <c:v>Tradition / Традиція</c:v>
                </c:pt>
                <c:pt idx="8">
                  <c:v>Conformity / Відповідність нормам</c:v>
                </c:pt>
                <c:pt idx="9">
                  <c:v>Security / Безпека</c:v>
                </c:pt>
              </c:strCache>
            </c:strRef>
          </c:tx>
          <c:spPr>
            <a:solidFill>
              <a:srgbClr val="FEC4BA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208-4908-B8D7-2F720E7C5E3A}"/>
              </c:ext>
            </c:extLst>
          </c:dPt>
          <c:dPt>
            <c:idx val="4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208-4908-B8D7-2F720E7C5E3A}"/>
              </c:ext>
            </c:extLst>
          </c:dPt>
          <c:dPt>
            <c:idx val="5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208-4908-B8D7-2F720E7C5E3A}"/>
              </c:ext>
            </c:extLst>
          </c:dPt>
          <c:dPt>
            <c:idx val="6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208-4908-B8D7-2F720E7C5E3A}"/>
              </c:ext>
            </c:extLst>
          </c:dPt>
          <c:dPt>
            <c:idx val="9"/>
            <c:invertIfNegative val="0"/>
            <c:bubble3D val="0"/>
            <c:spPr>
              <a:solidFill>
                <a:srgbClr val="B4EE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208-4908-B8D7-2F720E7C5E3A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A208-4908-B8D7-2F720E7C5E3A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A208-4908-B8D7-2F720E7C5E3A}"/>
                </c:ext>
              </c:extLst>
            </c:dLbl>
            <c:dLbl>
              <c:idx val="2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A208-4908-B8D7-2F720E7C5E3A}"/>
                </c:ext>
              </c:extLst>
            </c:dLbl>
            <c:dLbl>
              <c:idx val="3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A208-4908-B8D7-2F720E7C5E3A}"/>
                </c:ext>
              </c:extLst>
            </c:dLbl>
            <c:dLbl>
              <c:idx val="4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A208-4908-B8D7-2F720E7C5E3A}"/>
                </c:ext>
              </c:extLst>
            </c:dLbl>
            <c:dLbl>
              <c:idx val="5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A208-4908-B8D7-2F720E7C5E3A}"/>
                </c:ext>
              </c:extLst>
            </c:dLbl>
            <c:dLbl>
              <c:idx val="6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A208-4908-B8D7-2F720E7C5E3A}"/>
                </c:ext>
              </c:extLst>
            </c:dLbl>
            <c:dLbl>
              <c:idx val="7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A208-4908-B8D7-2F720E7C5E3A}"/>
                </c:ext>
              </c:extLst>
            </c:dLbl>
            <c:dLbl>
              <c:idx val="8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EC806E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A208-4908-B8D7-2F720E7C5E3A}"/>
                </c:ext>
              </c:extLst>
            </c:dLbl>
            <c:dLbl>
              <c:idx val="9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28AA3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uk-UA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A208-4908-B8D7-2F720E7C5E3A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5BBB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55376364004996004</c:v>
                </c:pt>
                <c:pt idx="1">
                  <c:v>-1.1128043966970629</c:v>
                </c:pt>
                <c:pt idx="2">
                  <c:v>0.2233561762989987</c:v>
                </c:pt>
                <c:pt idx="3">
                  <c:v>-0.47851671767156168</c:v>
                </c:pt>
                <c:pt idx="4">
                  <c:v>0.3200984445435387</c:v>
                </c:pt>
                <c:pt idx="5">
                  <c:v>0.40042800669723405</c:v>
                </c:pt>
                <c:pt idx="6">
                  <c:v>0.74950267927872094</c:v>
                </c:pt>
                <c:pt idx="7">
                  <c:v>-0.99394382652894842</c:v>
                </c:pt>
                <c:pt idx="8">
                  <c:v>-0.68561465296615542</c:v>
                </c:pt>
                <c:pt idx="9">
                  <c:v>0.79143891638937891</c:v>
                </c:pt>
              </c:numCache>
            </c:numRef>
          </c:cat>
          <c:val>
            <c:numRef>
              <c:f>Sheet1!$B$2:$B$11</c:f>
              <c:numCache>
                <c:formatCode>_-* #\ ##0.0_-;\-* #\ ##0.0_-;_-* "-"??_-;_-@_-</c:formatCode>
                <c:ptCount val="10"/>
                <c:pt idx="0">
                  <c:v>-0.55376364004996004</c:v>
                </c:pt>
                <c:pt idx="1">
                  <c:v>-1.1128043966970629</c:v>
                </c:pt>
                <c:pt idx="2">
                  <c:v>0.2233561762989987</c:v>
                </c:pt>
                <c:pt idx="3">
                  <c:v>-0.47851671767156168</c:v>
                </c:pt>
                <c:pt idx="4">
                  <c:v>0.3200984445435387</c:v>
                </c:pt>
                <c:pt idx="5">
                  <c:v>0.40042800669723405</c:v>
                </c:pt>
                <c:pt idx="6">
                  <c:v>0.74950267927872094</c:v>
                </c:pt>
                <c:pt idx="7">
                  <c:v>-0.99394382652894842</c:v>
                </c:pt>
                <c:pt idx="8">
                  <c:v>-0.68561465296615542</c:v>
                </c:pt>
                <c:pt idx="9">
                  <c:v>0.79143891638937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08-4908-B8D7-2F720E7C5E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2004408"/>
        <c:axId val="192004800"/>
      </c:barChart>
      <c:catAx>
        <c:axId val="192004408"/>
        <c:scaling>
          <c:orientation val="maxMin"/>
        </c:scaling>
        <c:delete val="1"/>
        <c:axPos val="l"/>
        <c:numFmt formatCode="_-* #\ ##0.0_-;\-* #\ ##0.0_-;_-* &quot;-&quot;??_-;_-@_-" sourceLinked="1"/>
        <c:majorTickMark val="out"/>
        <c:minorTickMark val="none"/>
        <c:tickLblPos val="nextTo"/>
        <c:crossAx val="192004800"/>
        <c:crosses val="autoZero"/>
        <c:auto val="1"/>
        <c:lblAlgn val="ctr"/>
        <c:lblOffset val="100"/>
        <c:noMultiLvlLbl val="0"/>
      </c:catAx>
      <c:valAx>
        <c:axId val="192004800"/>
        <c:scaling>
          <c:orientation val="minMax"/>
          <c:max val="4"/>
          <c:min val="-4"/>
        </c:scaling>
        <c:delete val="1"/>
        <c:axPos val="t"/>
        <c:numFmt formatCode="_-* #\ ##0.0_-;\-* #\ ##0.0_-;_-* &quot;-&quot;??_-;_-@_-" sourceLinked="1"/>
        <c:majorTickMark val="out"/>
        <c:minorTickMark val="none"/>
        <c:tickLblPos val="nextTo"/>
        <c:crossAx val="192004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4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78620000000000001</c:v>
                </c:pt>
                <c:pt idx="1">
                  <c:v>0.52180000000000004</c:v>
                </c:pt>
                <c:pt idx="2">
                  <c:v>0.51629999999999998</c:v>
                </c:pt>
                <c:pt idx="3">
                  <c:v>0.44740000000000002</c:v>
                </c:pt>
                <c:pt idx="4">
                  <c:v>0.38600000000000001</c:v>
                </c:pt>
                <c:pt idx="5">
                  <c:v>0.23089999999999999</c:v>
                </c:pt>
                <c:pt idx="6">
                  <c:v>0.22969999999999999</c:v>
                </c:pt>
                <c:pt idx="7">
                  <c:v>0.21079999999999999</c:v>
                </c:pt>
                <c:pt idx="8">
                  <c:v>0.15959999999999999</c:v>
                </c:pt>
                <c:pt idx="9">
                  <c:v>0.13569999999999999</c:v>
                </c:pt>
                <c:pt idx="10">
                  <c:v>0.10249999999999999</c:v>
                </c:pt>
                <c:pt idx="11">
                  <c:v>9.0300000000000005E-2</c:v>
                </c:pt>
                <c:pt idx="12">
                  <c:v>3.13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E5-41D0-8799-197AAF9B35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3E5-41D0-8799-197AAF9B35E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75919999999999999</c:v>
                </c:pt>
                <c:pt idx="1">
                  <c:v>0.49149999999999999</c:v>
                </c:pt>
                <c:pt idx="2">
                  <c:v>0.4496</c:v>
                </c:pt>
                <c:pt idx="3">
                  <c:v>0.56740000000000002</c:v>
                </c:pt>
                <c:pt idx="4">
                  <c:v>0.18129999999999999</c:v>
                </c:pt>
                <c:pt idx="5">
                  <c:v>0.2722</c:v>
                </c:pt>
                <c:pt idx="6">
                  <c:v>0.12039999999999999</c:v>
                </c:pt>
                <c:pt idx="7">
                  <c:v>0.17280000000000001</c:v>
                </c:pt>
                <c:pt idx="8">
                  <c:v>0.1983</c:v>
                </c:pt>
                <c:pt idx="9">
                  <c:v>0.29320000000000002</c:v>
                </c:pt>
                <c:pt idx="10">
                  <c:v>0.22120000000000001</c:v>
                </c:pt>
                <c:pt idx="11">
                  <c:v>0.1368</c:v>
                </c:pt>
                <c:pt idx="12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5-41D0-8799-197AAF9B35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59-4AF5-BD1E-B4C06299A9A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59-4AF5-BD1E-B4C06299A9A0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67830000000000001</c:v>
                </c:pt>
                <c:pt idx="1">
                  <c:v>0.58309999999999995</c:v>
                </c:pt>
                <c:pt idx="2">
                  <c:v>0.46300000000000002</c:v>
                </c:pt>
                <c:pt idx="3">
                  <c:v>0.42730000000000001</c:v>
                </c:pt>
                <c:pt idx="4">
                  <c:v>0.3836</c:v>
                </c:pt>
                <c:pt idx="5">
                  <c:v>0.3291</c:v>
                </c:pt>
                <c:pt idx="6">
                  <c:v>0.22270000000000001</c:v>
                </c:pt>
                <c:pt idx="7">
                  <c:v>0.21529999999999999</c:v>
                </c:pt>
                <c:pt idx="8">
                  <c:v>0.2069</c:v>
                </c:pt>
                <c:pt idx="9">
                  <c:v>8.14E-2</c:v>
                </c:pt>
                <c:pt idx="10">
                  <c:v>9.7199999999999995E-2</c:v>
                </c:pt>
                <c:pt idx="11">
                  <c:v>0.1191</c:v>
                </c:pt>
                <c:pt idx="12">
                  <c:v>3.96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59-4AF5-BD1E-B4C06299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4C1-4D02-8F1D-5DEE263DDA3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4C1-4D02-8F1D-5DEE263DDA3F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52390000000000003</c:v>
                </c:pt>
                <c:pt idx="1">
                  <c:v>0.4761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C1-4D02-8F1D-5DEE263DD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64-42B7-8598-E38A918AA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064-42B7-8598-E38A918AA04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79510000000000003</c:v>
                </c:pt>
                <c:pt idx="1">
                  <c:v>0.54930000000000001</c:v>
                </c:pt>
                <c:pt idx="2">
                  <c:v>0.59789999999999999</c:v>
                </c:pt>
                <c:pt idx="3">
                  <c:v>0.4153</c:v>
                </c:pt>
                <c:pt idx="4">
                  <c:v>0.46889999999999998</c:v>
                </c:pt>
                <c:pt idx="5">
                  <c:v>0.2036</c:v>
                </c:pt>
                <c:pt idx="6">
                  <c:v>0.28399999999999997</c:v>
                </c:pt>
                <c:pt idx="7">
                  <c:v>0.1973</c:v>
                </c:pt>
                <c:pt idx="8">
                  <c:v>0.16689999999999999</c:v>
                </c:pt>
                <c:pt idx="9">
                  <c:v>0.1085</c:v>
                </c:pt>
                <c:pt idx="10">
                  <c:v>7.0599999999999996E-2</c:v>
                </c:pt>
                <c:pt idx="11">
                  <c:v>5.11E-2</c:v>
                </c:pt>
                <c:pt idx="12">
                  <c:v>1.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64-42B7-8598-E38A918AA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F4-4088-8FA3-3B99818500E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F4-4088-8FA3-3B99818500E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4</c:f>
              <c:strCache>
                <c:ptCount val="13"/>
                <c:pt idx="0">
                  <c:v>Ваша родина і близькі родичі</c:v>
                </c:pt>
                <c:pt idx="1">
                  <c:v>Громадяни України</c:v>
                </c:pt>
                <c:pt idx="2">
                  <c:v>Люди, які мають спільні з Вами захоплення та хобі</c:v>
                </c:pt>
                <c:pt idx="3">
                  <c:v>Вінничани</c:v>
                </c:pt>
                <c:pt idx="4">
                  <c:v>Люди Вашої професії / фаху</c:v>
                </c:pt>
                <c:pt idx="5">
                  <c:v>Європейці</c:v>
                </c:pt>
                <c:pt idx="6">
                  <c:v>Люди спільних з Вами громадських переконань</c:v>
                </c:pt>
                <c:pt idx="7">
                  <c:v>Люди, на яких вплинула війна</c:v>
                </c:pt>
                <c:pt idx="8">
                  <c:v>Студенти і випускники Вашого університету</c:v>
                </c:pt>
                <c:pt idx="9">
                  <c:v>Учні і випускники Вашої школи</c:v>
                </c:pt>
                <c:pt idx="10">
                  <c:v>Студенти і випускники Вашого коледжу / училища</c:v>
                </c:pt>
                <c:pt idx="11">
                  <c:v>Люди спільної з Вами релігії</c:v>
                </c:pt>
                <c:pt idx="12">
                  <c:v>Інш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84719999999999995</c:v>
                </c:pt>
                <c:pt idx="1">
                  <c:v>0.4965</c:v>
                </c:pt>
                <c:pt idx="2">
                  <c:v>0.53320000000000001</c:v>
                </c:pt>
                <c:pt idx="3">
                  <c:v>0.39800000000000002</c:v>
                </c:pt>
                <c:pt idx="4">
                  <c:v>0.46929999999999999</c:v>
                </c:pt>
                <c:pt idx="5">
                  <c:v>0.1764</c:v>
                </c:pt>
                <c:pt idx="6">
                  <c:v>0.27029999999999998</c:v>
                </c:pt>
                <c:pt idx="7">
                  <c:v>0.2422</c:v>
                </c:pt>
                <c:pt idx="8">
                  <c:v>0.108</c:v>
                </c:pt>
                <c:pt idx="9">
                  <c:v>7.4399999999999994E-2</c:v>
                </c:pt>
                <c:pt idx="10">
                  <c:v>4.7199999999999999E-2</c:v>
                </c:pt>
                <c:pt idx="11">
                  <c:v>7.1400000000000005E-2</c:v>
                </c:pt>
                <c:pt idx="12">
                  <c:v>4.42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F4-4088-8FA3-3B9981850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1720000000000002</c:v>
                </c:pt>
                <c:pt idx="1">
                  <c:v>0.90939999999999999</c:v>
                </c:pt>
                <c:pt idx="2">
                  <c:v>0.84040000000000004</c:v>
                </c:pt>
                <c:pt idx="3">
                  <c:v>0.7994</c:v>
                </c:pt>
                <c:pt idx="4">
                  <c:v>0.7883</c:v>
                </c:pt>
                <c:pt idx="5">
                  <c:v>0.75509999999999999</c:v>
                </c:pt>
                <c:pt idx="6">
                  <c:v>0.7258</c:v>
                </c:pt>
                <c:pt idx="7">
                  <c:v>0.71960000000000002</c:v>
                </c:pt>
                <c:pt idx="8">
                  <c:v>0.69850000000000001</c:v>
                </c:pt>
                <c:pt idx="9">
                  <c:v>0.69389999999999996</c:v>
                </c:pt>
                <c:pt idx="10">
                  <c:v>0.63859999999999995</c:v>
                </c:pt>
                <c:pt idx="11">
                  <c:v>0.62360000000000004</c:v>
                </c:pt>
                <c:pt idx="12">
                  <c:v>0.58909999999999996</c:v>
                </c:pt>
                <c:pt idx="13">
                  <c:v>0.5766</c:v>
                </c:pt>
                <c:pt idx="14">
                  <c:v>0.57110000000000005</c:v>
                </c:pt>
                <c:pt idx="15">
                  <c:v>0.53959999999999997</c:v>
                </c:pt>
                <c:pt idx="16">
                  <c:v>0.5292</c:v>
                </c:pt>
                <c:pt idx="17">
                  <c:v>0.50539999999999996</c:v>
                </c:pt>
                <c:pt idx="18">
                  <c:v>0.29980000000000001</c:v>
                </c:pt>
                <c:pt idx="19">
                  <c:v>0.22720000000000001</c:v>
                </c:pt>
                <c:pt idx="20">
                  <c:v>0.182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7.3495370370370364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8.81944444444444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dLbl>
              <c:idx val="3"/>
              <c:layout>
                <c:manualLayout>
                  <c:x val="-5.144675925925939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A7-46BC-B805-32D8209EE2E0}"/>
                </c:ext>
              </c:extLst>
            </c:dLbl>
            <c:dLbl>
              <c:idx val="4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A7-46BC-B805-32D8209EE2E0}"/>
                </c:ext>
              </c:extLst>
            </c:dLbl>
            <c:dLbl>
              <c:idx val="5"/>
              <c:layout>
                <c:manualLayout>
                  <c:x val="-3.674768518518532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7.4300000000000005E-2</c:v>
                </c:pt>
                <c:pt idx="1">
                  <c:v>8.3099999999999993E-2</c:v>
                </c:pt>
                <c:pt idx="2">
                  <c:v>0.12759999999999999</c:v>
                </c:pt>
                <c:pt idx="3">
                  <c:v>0.1948</c:v>
                </c:pt>
                <c:pt idx="4">
                  <c:v>0.15509999999999999</c:v>
                </c:pt>
                <c:pt idx="5">
                  <c:v>0.22459999999999999</c:v>
                </c:pt>
                <c:pt idx="6">
                  <c:v>0.20499999999999999</c:v>
                </c:pt>
                <c:pt idx="7">
                  <c:v>0.1804</c:v>
                </c:pt>
                <c:pt idx="8">
                  <c:v>0.2646</c:v>
                </c:pt>
                <c:pt idx="9">
                  <c:v>0.29509999999999997</c:v>
                </c:pt>
                <c:pt idx="10">
                  <c:v>0.32819999999999999</c:v>
                </c:pt>
                <c:pt idx="11">
                  <c:v>0.2369</c:v>
                </c:pt>
                <c:pt idx="12">
                  <c:v>0.25159999999999999</c:v>
                </c:pt>
                <c:pt idx="13">
                  <c:v>0.29530000000000001</c:v>
                </c:pt>
                <c:pt idx="14">
                  <c:v>0.40379999999999999</c:v>
                </c:pt>
                <c:pt idx="15">
                  <c:v>0.37559999999999999</c:v>
                </c:pt>
                <c:pt idx="16">
                  <c:v>0.4345</c:v>
                </c:pt>
                <c:pt idx="17">
                  <c:v>0.25409999999999999</c:v>
                </c:pt>
                <c:pt idx="18">
                  <c:v>0.55830000000000002</c:v>
                </c:pt>
                <c:pt idx="19">
                  <c:v>0.53779999999999994</c:v>
                </c:pt>
                <c:pt idx="20">
                  <c:v>0.444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6.8999999999999999E-3</c:v>
                </c:pt>
                <c:pt idx="1">
                  <c:v>5.8999999999999999E-3</c:v>
                </c:pt>
                <c:pt idx="2">
                  <c:v>3.0300000000000001E-2</c:v>
                </c:pt>
                <c:pt idx="3">
                  <c:v>5.7999999999999996E-3</c:v>
                </c:pt>
                <c:pt idx="4">
                  <c:v>5.3699999999999998E-2</c:v>
                </c:pt>
                <c:pt idx="5">
                  <c:v>1.55E-2</c:v>
                </c:pt>
                <c:pt idx="6">
                  <c:v>6.4100000000000004E-2</c:v>
                </c:pt>
                <c:pt idx="7">
                  <c:v>7.9000000000000001E-2</c:v>
                </c:pt>
                <c:pt idx="8">
                  <c:v>3.1099999999999999E-2</c:v>
                </c:pt>
                <c:pt idx="9">
                  <c:v>9.2999999999999992E-3</c:v>
                </c:pt>
                <c:pt idx="10">
                  <c:v>2.9700000000000001E-2</c:v>
                </c:pt>
                <c:pt idx="11">
                  <c:v>0.1275</c:v>
                </c:pt>
                <c:pt idx="12">
                  <c:v>0.13719999999999999</c:v>
                </c:pt>
                <c:pt idx="13">
                  <c:v>0.11600000000000001</c:v>
                </c:pt>
                <c:pt idx="14">
                  <c:v>2.3E-2</c:v>
                </c:pt>
                <c:pt idx="15">
                  <c:v>8.1900000000000001E-2</c:v>
                </c:pt>
                <c:pt idx="16">
                  <c:v>3.4599999999999999E-2</c:v>
                </c:pt>
                <c:pt idx="17">
                  <c:v>0.2233</c:v>
                </c:pt>
                <c:pt idx="18">
                  <c:v>0.14199999999999999</c:v>
                </c:pt>
                <c:pt idx="19">
                  <c:v>0.2258</c:v>
                </c:pt>
                <c:pt idx="20">
                  <c:v>0.3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0.0%</c:formatCode>
                <c:ptCount val="21"/>
                <c:pt idx="0">
                  <c:v>1.6999999999999999E-3</c:v>
                </c:pt>
                <c:pt idx="1">
                  <c:v>1.6999999999999999E-3</c:v>
                </c:pt>
                <c:pt idx="2">
                  <c:v>1.6999999999999999E-3</c:v>
                </c:pt>
                <c:pt idx="4">
                  <c:v>3.0000000000000001E-3</c:v>
                </c:pt>
                <c:pt idx="5">
                  <c:v>4.7000000000000002E-3</c:v>
                </c:pt>
                <c:pt idx="6" formatCode="0%">
                  <c:v>5.0000000000000001E-3</c:v>
                </c:pt>
                <c:pt idx="7" formatCode="0%">
                  <c:v>2.0899999999999998E-2</c:v>
                </c:pt>
                <c:pt idx="8" formatCode="0%">
                  <c:v>5.7999999999999996E-3</c:v>
                </c:pt>
                <c:pt idx="9">
                  <c:v>1.6999999999999999E-3</c:v>
                </c:pt>
                <c:pt idx="10">
                  <c:v>3.5000000000000001E-3</c:v>
                </c:pt>
                <c:pt idx="11" formatCode="0%">
                  <c:v>1.2E-2</c:v>
                </c:pt>
                <c:pt idx="12" formatCode="0%">
                  <c:v>2.2100000000000002E-2</c:v>
                </c:pt>
                <c:pt idx="13" formatCode="0%">
                  <c:v>1.2E-2</c:v>
                </c:pt>
                <c:pt idx="14">
                  <c:v>2E-3</c:v>
                </c:pt>
                <c:pt idx="15">
                  <c:v>3.0000000000000001E-3</c:v>
                </c:pt>
                <c:pt idx="16">
                  <c:v>1.6999999999999999E-3</c:v>
                </c:pt>
                <c:pt idx="17" formatCode="0%">
                  <c:v>1.72E-2</c:v>
                </c:pt>
                <c:pt idx="19" formatCode="0%">
                  <c:v>9.1999999999999998E-3</c:v>
                </c:pt>
                <c:pt idx="20" formatCode="0%">
                  <c:v>5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E7E-469B-B8BA-C3228EA724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83120000000000005</c:v>
                </c:pt>
                <c:pt idx="1">
                  <c:v>0.88219999999999998</c:v>
                </c:pt>
                <c:pt idx="2">
                  <c:v>0.87560000000000004</c:v>
                </c:pt>
                <c:pt idx="3">
                  <c:v>0.81220000000000003</c:v>
                </c:pt>
                <c:pt idx="4">
                  <c:v>0.81469999999999998</c:v>
                </c:pt>
                <c:pt idx="5">
                  <c:v>0.77680000000000005</c:v>
                </c:pt>
                <c:pt idx="6">
                  <c:v>0.81869999999999998</c:v>
                </c:pt>
                <c:pt idx="7">
                  <c:v>0.67930000000000001</c:v>
                </c:pt>
                <c:pt idx="8">
                  <c:v>0.78269999999999995</c:v>
                </c:pt>
                <c:pt idx="9">
                  <c:v>0.78269999999999995</c:v>
                </c:pt>
                <c:pt idx="10">
                  <c:v>0.77680000000000005</c:v>
                </c:pt>
                <c:pt idx="11">
                  <c:v>0.47839999999999999</c:v>
                </c:pt>
                <c:pt idx="12">
                  <c:v>0.52100000000000002</c:v>
                </c:pt>
                <c:pt idx="13">
                  <c:v>0.7127</c:v>
                </c:pt>
                <c:pt idx="14">
                  <c:v>0.62629999999999997</c:v>
                </c:pt>
                <c:pt idx="15">
                  <c:v>0.68979999999999997</c:v>
                </c:pt>
                <c:pt idx="16">
                  <c:v>0.76770000000000005</c:v>
                </c:pt>
                <c:pt idx="17">
                  <c:v>0.74080000000000001</c:v>
                </c:pt>
                <c:pt idx="18">
                  <c:v>0.46200000000000002</c:v>
                </c:pt>
                <c:pt idx="19">
                  <c:v>0.47649999999999998</c:v>
                </c:pt>
                <c:pt idx="20">
                  <c:v>0.423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7E-469B-B8BA-C3228EA7244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6.6145833333333473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E7E-469B-B8BA-C3228EA7244A}"/>
                </c:ext>
              </c:extLst>
            </c:dLbl>
            <c:dLbl>
              <c:idx val="1"/>
              <c:layout>
                <c:manualLayout>
                  <c:x val="-7.3495370370370502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E7E-469B-B8BA-C3228EA7244A}"/>
                </c:ext>
              </c:extLst>
            </c:dLbl>
            <c:dLbl>
              <c:idx val="2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7E-469B-B8BA-C3228EA7244A}"/>
                </c:ext>
              </c:extLst>
            </c:dLbl>
            <c:dLbl>
              <c:idx val="3"/>
              <c:layout>
                <c:manualLayout>
                  <c:x val="-5.1446759259259393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7E-469B-B8BA-C3228EA7244A}"/>
                </c:ext>
              </c:extLst>
            </c:dLbl>
            <c:dLbl>
              <c:idx val="4"/>
              <c:layout>
                <c:manualLayout>
                  <c:x val="-5.144675925925939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E7E-469B-B8BA-C3228EA7244A}"/>
                </c:ext>
              </c:extLst>
            </c:dLbl>
            <c:dLbl>
              <c:idx val="5"/>
              <c:layout>
                <c:manualLayout>
                  <c:x val="-3.674768518518518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E7E-469B-B8BA-C3228EA7244A}"/>
                </c:ext>
              </c:extLst>
            </c:dLbl>
            <c:dLbl>
              <c:idx val="6"/>
              <c:layout>
                <c:manualLayout>
                  <c:x val="-3.6747685185185182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E7E-469B-B8BA-C3228EA7244A}"/>
                </c:ext>
              </c:extLst>
            </c:dLbl>
            <c:dLbl>
              <c:idx val="7"/>
              <c:layout>
                <c:manualLayout>
                  <c:x val="-4.409722222222235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E7E-469B-B8BA-C3228EA7244A}"/>
                </c:ext>
              </c:extLst>
            </c:dLbl>
            <c:dLbl>
              <c:idx val="10"/>
              <c:layout>
                <c:manualLayout>
                  <c:x val="-3.6747685185185321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E7E-469B-B8BA-C3228EA7244A}"/>
                </c:ext>
              </c:extLst>
            </c:dLbl>
            <c:dLbl>
              <c:idx val="12"/>
              <c:layout>
                <c:manualLayout>
                  <c:x val="-5.87962962962963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E7E-469B-B8BA-C3228EA7244A}"/>
                </c:ext>
              </c:extLst>
            </c:dLbl>
            <c:dLbl>
              <c:idx val="16"/>
              <c:layout>
                <c:manualLayout>
                  <c:x val="-4.409722222222222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E7E-469B-B8BA-C3228EA7244A}"/>
                </c:ext>
              </c:extLst>
            </c:dLbl>
            <c:dLbl>
              <c:idx val="17"/>
              <c:layout>
                <c:manualLayout>
                  <c:x val="-1.4699074074074074E-2"/>
                  <c:y val="1.129697446161424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E7E-469B-B8BA-C3228EA724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603</c:v>
                </c:pt>
                <c:pt idx="1">
                  <c:v>0.10929999999999999</c:v>
                </c:pt>
                <c:pt idx="2">
                  <c:v>0.1074</c:v>
                </c:pt>
                <c:pt idx="3">
                  <c:v>0.16880000000000001</c:v>
                </c:pt>
                <c:pt idx="4">
                  <c:v>0.15579999999999999</c:v>
                </c:pt>
                <c:pt idx="5">
                  <c:v>0.2147</c:v>
                </c:pt>
                <c:pt idx="6">
                  <c:v>0.1348</c:v>
                </c:pt>
                <c:pt idx="7">
                  <c:v>0.21729999999999999</c:v>
                </c:pt>
                <c:pt idx="8">
                  <c:v>0.20680000000000001</c:v>
                </c:pt>
                <c:pt idx="9">
                  <c:v>0.21729999999999999</c:v>
                </c:pt>
                <c:pt idx="10">
                  <c:v>0.20419999999999999</c:v>
                </c:pt>
                <c:pt idx="11">
                  <c:v>0.29970000000000002</c:v>
                </c:pt>
                <c:pt idx="12">
                  <c:v>0.3286</c:v>
                </c:pt>
                <c:pt idx="13">
                  <c:v>0.23880000000000001</c:v>
                </c:pt>
                <c:pt idx="14">
                  <c:v>0.35670000000000002</c:v>
                </c:pt>
                <c:pt idx="15">
                  <c:v>0.2742</c:v>
                </c:pt>
                <c:pt idx="16">
                  <c:v>0.2238</c:v>
                </c:pt>
                <c:pt idx="17">
                  <c:v>0.22120000000000001</c:v>
                </c:pt>
                <c:pt idx="18">
                  <c:v>0.42609999999999998</c:v>
                </c:pt>
                <c:pt idx="19">
                  <c:v>0.42209999999999998</c:v>
                </c:pt>
                <c:pt idx="20">
                  <c:v>0.405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7E-469B-B8BA-C3228EA7244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1"/>
              <c:layout>
                <c:manualLayout>
                  <c:x val="-2.93981481481481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E7E-469B-B8BA-C3228EA724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8.5000000000000006E-3</c:v>
                </c:pt>
                <c:pt idx="1">
                  <c:v>8.5000000000000006E-3</c:v>
                </c:pt>
                <c:pt idx="2">
                  <c:v>1.7000000000000001E-2</c:v>
                </c:pt>
                <c:pt idx="3">
                  <c:v>1.9E-2</c:v>
                </c:pt>
                <c:pt idx="4">
                  <c:v>2.9499999999999998E-2</c:v>
                </c:pt>
                <c:pt idx="5">
                  <c:v>8.5000000000000006E-3</c:v>
                </c:pt>
                <c:pt idx="6">
                  <c:v>3.7999999999999999E-2</c:v>
                </c:pt>
                <c:pt idx="7">
                  <c:v>6.3500000000000001E-2</c:v>
                </c:pt>
                <c:pt idx="10">
                  <c:v>1.9E-2</c:v>
                </c:pt>
                <c:pt idx="11">
                  <c:v>0.18390000000000001</c:v>
                </c:pt>
                <c:pt idx="12">
                  <c:v>0.123</c:v>
                </c:pt>
                <c:pt idx="13">
                  <c:v>2.75E-2</c:v>
                </c:pt>
                <c:pt idx="14">
                  <c:v>8.5000000000000006E-3</c:v>
                </c:pt>
                <c:pt idx="15">
                  <c:v>3.5999999999999997E-2</c:v>
                </c:pt>
                <c:pt idx="16">
                  <c:v>8.5000000000000006E-3</c:v>
                </c:pt>
                <c:pt idx="17">
                  <c:v>1.9E-2</c:v>
                </c:pt>
                <c:pt idx="18">
                  <c:v>0.1119</c:v>
                </c:pt>
                <c:pt idx="19">
                  <c:v>8.2400000000000001E-2</c:v>
                </c:pt>
                <c:pt idx="20">
                  <c:v>0.16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E7E-469B-B8BA-C3228EA7244A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  <c:pt idx="6" formatCode="0%">
                  <c:v>8.5000000000000006E-3</c:v>
                </c:pt>
                <c:pt idx="7" formatCode="0%">
                  <c:v>3.9899999999999998E-2</c:v>
                </c:pt>
                <c:pt idx="8" formatCode="0%">
                  <c:v>1.0500000000000001E-2</c:v>
                </c:pt>
                <c:pt idx="11" formatCode="0%">
                  <c:v>3.7999999999999999E-2</c:v>
                </c:pt>
                <c:pt idx="12" formatCode="0%">
                  <c:v>2.75E-2</c:v>
                </c:pt>
                <c:pt idx="13" formatCode="0%">
                  <c:v>2.1000000000000001E-2</c:v>
                </c:pt>
                <c:pt idx="14" formatCode="0%">
                  <c:v>8.5000000000000006E-3</c:v>
                </c:pt>
                <c:pt idx="17" formatCode="0%">
                  <c:v>1.9E-2</c:v>
                </c:pt>
                <c:pt idx="19" formatCode="0%">
                  <c:v>1.9E-2</c:v>
                </c:pt>
                <c:pt idx="20" formatCode="0%">
                  <c:v>8.500000000000000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E7E-469B-B8BA-C3228EA72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67-4997-A13E-4373B10B45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1959999999999997</c:v>
                </c:pt>
                <c:pt idx="1">
                  <c:v>0.94040000000000001</c:v>
                </c:pt>
                <c:pt idx="2">
                  <c:v>0.84760000000000002</c:v>
                </c:pt>
                <c:pt idx="3">
                  <c:v>0.77759999999999996</c:v>
                </c:pt>
                <c:pt idx="4">
                  <c:v>0.76919999999999999</c:v>
                </c:pt>
                <c:pt idx="5">
                  <c:v>0.7722</c:v>
                </c:pt>
                <c:pt idx="6">
                  <c:v>0.67400000000000004</c:v>
                </c:pt>
                <c:pt idx="7">
                  <c:v>0.69820000000000004</c:v>
                </c:pt>
                <c:pt idx="8">
                  <c:v>0.7409</c:v>
                </c:pt>
                <c:pt idx="9">
                  <c:v>0.7409</c:v>
                </c:pt>
                <c:pt idx="10">
                  <c:v>0.72309999999999997</c:v>
                </c:pt>
                <c:pt idx="11">
                  <c:v>0.41289999999999999</c:v>
                </c:pt>
                <c:pt idx="12">
                  <c:v>0.53300000000000003</c:v>
                </c:pt>
                <c:pt idx="13">
                  <c:v>0.56630000000000003</c:v>
                </c:pt>
                <c:pt idx="14">
                  <c:v>0.65210000000000001</c:v>
                </c:pt>
                <c:pt idx="15">
                  <c:v>0.56930000000000003</c:v>
                </c:pt>
                <c:pt idx="16">
                  <c:v>0.49430000000000002</c:v>
                </c:pt>
                <c:pt idx="17">
                  <c:v>0.48280000000000001</c:v>
                </c:pt>
                <c:pt idx="18">
                  <c:v>0.43369999999999997</c:v>
                </c:pt>
                <c:pt idx="19">
                  <c:v>0.24970000000000001</c:v>
                </c:pt>
                <c:pt idx="20">
                  <c:v>0.241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7-4997-A13E-4373B10B452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7.349537037037036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B67-4997-A13E-4373B10B4523}"/>
                </c:ext>
              </c:extLst>
            </c:dLbl>
            <c:dLbl>
              <c:idx val="2"/>
              <c:layout>
                <c:manualLayout>
                  <c:x val="-4.409722222222222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67-4997-A13E-4373B10B4523}"/>
                </c:ext>
              </c:extLst>
            </c:dLbl>
            <c:dLbl>
              <c:idx val="4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B67-4997-A13E-4373B10B4523}"/>
                </c:ext>
              </c:extLst>
            </c:dLbl>
            <c:dLbl>
              <c:idx val="5"/>
              <c:layout>
                <c:manualLayout>
                  <c:x val="-3.674768518518532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B67-4997-A13E-4373B10B4523}"/>
                </c:ext>
              </c:extLst>
            </c:dLbl>
            <c:dLbl>
              <c:idx val="6"/>
              <c:layout>
                <c:manualLayout>
                  <c:x val="-8.8194444444444575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B67-4997-A13E-4373B10B4523}"/>
                </c:ext>
              </c:extLst>
            </c:dLbl>
            <c:dLbl>
              <c:idx val="7"/>
              <c:layout>
                <c:manualLayout>
                  <c:x val="-8.8194444444444575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B67-4997-A13E-4373B10B4523}"/>
                </c:ext>
              </c:extLst>
            </c:dLbl>
            <c:dLbl>
              <c:idx val="9"/>
              <c:layout>
                <c:manualLayout>
                  <c:x val="-2.2048611111111244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B67-4997-A13E-4373B10B4523}"/>
                </c:ext>
              </c:extLst>
            </c:dLbl>
            <c:dLbl>
              <c:idx val="10"/>
              <c:layout>
                <c:manualLayout>
                  <c:x val="-2.2048611111111244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B67-4997-A13E-4373B10B4523}"/>
                </c:ext>
              </c:extLst>
            </c:dLbl>
            <c:dLbl>
              <c:idx val="12"/>
              <c:layout>
                <c:manualLayout>
                  <c:x val="-5.144675925925926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7B67-4997-A13E-4373B10B45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5.11E-2</c:v>
                </c:pt>
                <c:pt idx="1">
                  <c:v>5.96E-2</c:v>
                </c:pt>
                <c:pt idx="2">
                  <c:v>0.13159999999999999</c:v>
                </c:pt>
                <c:pt idx="3">
                  <c:v>0.22239999999999999</c:v>
                </c:pt>
                <c:pt idx="4">
                  <c:v>0.19109999999999999</c:v>
                </c:pt>
                <c:pt idx="5">
                  <c:v>0.2069</c:v>
                </c:pt>
                <c:pt idx="6">
                  <c:v>0.29680000000000001</c:v>
                </c:pt>
                <c:pt idx="7">
                  <c:v>0.25269999999999998</c:v>
                </c:pt>
                <c:pt idx="8">
                  <c:v>0.2089</c:v>
                </c:pt>
                <c:pt idx="9">
                  <c:v>0.2382</c:v>
                </c:pt>
                <c:pt idx="10">
                  <c:v>0.26750000000000002</c:v>
                </c:pt>
                <c:pt idx="11">
                  <c:v>0.36780000000000002</c:v>
                </c:pt>
                <c:pt idx="12">
                  <c:v>0.37819999999999998</c:v>
                </c:pt>
                <c:pt idx="13">
                  <c:v>0.33239999999999997</c:v>
                </c:pt>
                <c:pt idx="14">
                  <c:v>0.33750000000000002</c:v>
                </c:pt>
                <c:pt idx="15">
                  <c:v>0.3523</c:v>
                </c:pt>
                <c:pt idx="16">
                  <c:v>0.44409999999999999</c:v>
                </c:pt>
                <c:pt idx="17">
                  <c:v>0.30819999999999997</c:v>
                </c:pt>
                <c:pt idx="18">
                  <c:v>0.4556</c:v>
                </c:pt>
                <c:pt idx="19">
                  <c:v>0.52359999999999995</c:v>
                </c:pt>
                <c:pt idx="20">
                  <c:v>0.4336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B67-4997-A13E-4373B10B452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1"/>
              <c:layout>
                <c:manualLayout>
                  <c:x val="-5.144675925925926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7B67-4997-A13E-4373B10B4523}"/>
                </c:ext>
              </c:extLst>
            </c:dLbl>
            <c:dLbl>
              <c:idx val="17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B67-4997-A13E-4373B10B4523}"/>
                </c:ext>
              </c:extLst>
            </c:dLbl>
            <c:dLbl>
              <c:idx val="19"/>
              <c:layout>
                <c:manualLayout>
                  <c:x val="-1.4699074074074074E-2"/>
                  <c:y val="1.129697446161424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7B67-4997-A13E-4373B10B45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  <c:pt idx="0" formatCode="0%">
                  <c:v>2.93E-2</c:v>
                </c:pt>
                <c:pt idx="2" formatCode="0%">
                  <c:v>2.0899999999999998E-2</c:v>
                </c:pt>
                <c:pt idx="4" formatCode="0%">
                  <c:v>3.9699999999999999E-2</c:v>
                </c:pt>
                <c:pt idx="5" formatCode="0%">
                  <c:v>2.0899999999999998E-2</c:v>
                </c:pt>
                <c:pt idx="6" formatCode="0%">
                  <c:v>2.93E-2</c:v>
                </c:pt>
                <c:pt idx="7" formatCode="0%">
                  <c:v>4.9099999999999998E-2</c:v>
                </c:pt>
                <c:pt idx="8" formatCode="0%">
                  <c:v>4.07E-2</c:v>
                </c:pt>
                <c:pt idx="9" formatCode="0%">
                  <c:v>2.0899999999999998E-2</c:v>
                </c:pt>
                <c:pt idx="10" formatCode="0%">
                  <c:v>9.4000000000000004E-3</c:v>
                </c:pt>
                <c:pt idx="11" formatCode="0%">
                  <c:v>0.21</c:v>
                </c:pt>
                <c:pt idx="12" formatCode="0%">
                  <c:v>7.9399999999999998E-2</c:v>
                </c:pt>
                <c:pt idx="13" formatCode="0%">
                  <c:v>0.1013</c:v>
                </c:pt>
                <c:pt idx="14" formatCode="0%">
                  <c:v>1.04E-2</c:v>
                </c:pt>
                <c:pt idx="15" formatCode="0%">
                  <c:v>7.8399999999999997E-2</c:v>
                </c:pt>
                <c:pt idx="16" formatCode="0%">
                  <c:v>5.11E-2</c:v>
                </c:pt>
                <c:pt idx="17" formatCode="0%">
                  <c:v>0.19850000000000001</c:v>
                </c:pt>
                <c:pt idx="18" formatCode="0%">
                  <c:v>0.11070000000000001</c:v>
                </c:pt>
                <c:pt idx="19" formatCode="0%">
                  <c:v>0.21740000000000001</c:v>
                </c:pt>
                <c:pt idx="20" formatCode="0%">
                  <c:v>0.315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B67-4997-A13E-4373B10B452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  <c:pt idx="8" formatCode="0%">
                  <c:v>9.4000000000000004E-3</c:v>
                </c:pt>
                <c:pt idx="11" formatCode="0%">
                  <c:v>9.4000000000000004E-3</c:v>
                </c:pt>
                <c:pt idx="12" formatCode="0%">
                  <c:v>9.4000000000000004E-3</c:v>
                </c:pt>
                <c:pt idx="16" formatCode="0%">
                  <c:v>1.04E-2</c:v>
                </c:pt>
                <c:pt idx="17" formatCode="0%">
                  <c:v>1.04E-2</c:v>
                </c:pt>
                <c:pt idx="19" formatCode="0%">
                  <c:v>9.4000000000000004E-3</c:v>
                </c:pt>
                <c:pt idx="20" formatCode="0%">
                  <c:v>9.4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B67-4997-A13E-4373B10B45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12-4740-BB38-AC849DDED44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5979999999999999</c:v>
                </c:pt>
                <c:pt idx="1">
                  <c:v>0.93899999999999995</c:v>
                </c:pt>
                <c:pt idx="2">
                  <c:v>0.84519999999999995</c:v>
                </c:pt>
                <c:pt idx="3">
                  <c:v>0.80249999999999999</c:v>
                </c:pt>
                <c:pt idx="4">
                  <c:v>0.81359999999999999</c:v>
                </c:pt>
                <c:pt idx="5">
                  <c:v>0.76</c:v>
                </c:pt>
                <c:pt idx="6">
                  <c:v>0.67479999999999996</c:v>
                </c:pt>
                <c:pt idx="7">
                  <c:v>0.75749999999999995</c:v>
                </c:pt>
                <c:pt idx="8">
                  <c:v>0.60140000000000005</c:v>
                </c:pt>
                <c:pt idx="9">
                  <c:v>0.66720000000000002</c:v>
                </c:pt>
                <c:pt idx="10">
                  <c:v>0.59309999999999996</c:v>
                </c:pt>
                <c:pt idx="11">
                  <c:v>0.65249999999999997</c:v>
                </c:pt>
                <c:pt idx="12">
                  <c:v>0.65149999999999997</c:v>
                </c:pt>
                <c:pt idx="13">
                  <c:v>0.51490000000000002</c:v>
                </c:pt>
                <c:pt idx="14">
                  <c:v>0.52329999999999999</c:v>
                </c:pt>
                <c:pt idx="15">
                  <c:v>0.46889999999999998</c:v>
                </c:pt>
                <c:pt idx="16">
                  <c:v>0.44790000000000002</c:v>
                </c:pt>
                <c:pt idx="17">
                  <c:v>0.42130000000000001</c:v>
                </c:pt>
                <c:pt idx="18">
                  <c:v>0.20810000000000001</c:v>
                </c:pt>
                <c:pt idx="19">
                  <c:v>0.13400000000000001</c:v>
                </c:pt>
                <c:pt idx="20">
                  <c:v>5.84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12-4740-BB38-AC849DDED44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2"/>
              <c:layout>
                <c:manualLayout>
                  <c:x val="-7.349537037037036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712-4740-BB38-AC849DDED446}"/>
                </c:ext>
              </c:extLst>
            </c:dLbl>
            <c:dLbl>
              <c:idx val="4"/>
              <c:layout>
                <c:manualLayout>
                  <c:x val="-7.349537037037036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712-4740-BB38-AC849DDED446}"/>
                </c:ext>
              </c:extLst>
            </c:dLbl>
            <c:dLbl>
              <c:idx val="5"/>
              <c:layout>
                <c:manualLayout>
                  <c:x val="-4.409722222222222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712-4740-BB38-AC849DDED446}"/>
                </c:ext>
              </c:extLst>
            </c:dLbl>
            <c:dLbl>
              <c:idx val="6"/>
              <c:layout>
                <c:manualLayout>
                  <c:x val="-8.819444444444457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712-4740-BB38-AC849DDED446}"/>
                </c:ext>
              </c:extLst>
            </c:dLbl>
            <c:dLbl>
              <c:idx val="7"/>
              <c:layout>
                <c:manualLayout>
                  <c:x val="-1.469907407407420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712-4740-BB38-AC849DDED446}"/>
                </c:ext>
              </c:extLst>
            </c:dLbl>
            <c:dLbl>
              <c:idx val="9"/>
              <c:layout>
                <c:manualLayout>
                  <c:x val="-5.1446759259259262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712-4740-BB38-AC849DDED446}"/>
                </c:ext>
              </c:extLst>
            </c:dLbl>
            <c:dLbl>
              <c:idx val="14"/>
              <c:layout>
                <c:manualLayout>
                  <c:x val="-0.10289351851851859"/>
                  <c:y val="1.129697446161424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712-4740-BB38-AC849DDED4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3.2899999999999999E-2</c:v>
                </c:pt>
                <c:pt idx="1">
                  <c:v>5.3600000000000002E-2</c:v>
                </c:pt>
                <c:pt idx="2">
                  <c:v>0.1353</c:v>
                </c:pt>
                <c:pt idx="3">
                  <c:v>0.19750000000000001</c:v>
                </c:pt>
                <c:pt idx="4">
                  <c:v>0.1583</c:v>
                </c:pt>
                <c:pt idx="5">
                  <c:v>0.2132</c:v>
                </c:pt>
                <c:pt idx="6">
                  <c:v>0.2656</c:v>
                </c:pt>
                <c:pt idx="7">
                  <c:v>0.1646</c:v>
                </c:pt>
                <c:pt idx="8">
                  <c:v>0.37180000000000002</c:v>
                </c:pt>
                <c:pt idx="9">
                  <c:v>0.31940000000000002</c:v>
                </c:pt>
                <c:pt idx="10">
                  <c:v>0.36549999999999999</c:v>
                </c:pt>
                <c:pt idx="11">
                  <c:v>0.27060000000000001</c:v>
                </c:pt>
                <c:pt idx="12">
                  <c:v>0.2097</c:v>
                </c:pt>
                <c:pt idx="13">
                  <c:v>0.34499999999999997</c:v>
                </c:pt>
                <c:pt idx="14">
                  <c:v>0.45600000000000002</c:v>
                </c:pt>
                <c:pt idx="15">
                  <c:v>0.42259999999999998</c:v>
                </c:pt>
                <c:pt idx="16">
                  <c:v>0.54</c:v>
                </c:pt>
                <c:pt idx="17">
                  <c:v>0.25469999999999998</c:v>
                </c:pt>
                <c:pt idx="18">
                  <c:v>0.64670000000000005</c:v>
                </c:pt>
                <c:pt idx="19">
                  <c:v>0.60770000000000002</c:v>
                </c:pt>
                <c:pt idx="20">
                  <c:v>0.489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712-4740-BB38-AC849DDED44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7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712-4740-BB38-AC849DDED4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  <c:pt idx="2" formatCode="0%">
                  <c:v>1.21E-2</c:v>
                </c:pt>
                <c:pt idx="4" formatCode="0%">
                  <c:v>2.07E-2</c:v>
                </c:pt>
                <c:pt idx="5" formatCode="0%">
                  <c:v>6.1000000000000004E-3</c:v>
                </c:pt>
                <c:pt idx="6" formatCode="0%">
                  <c:v>5.2400000000000002E-2</c:v>
                </c:pt>
                <c:pt idx="7" formatCode="0%">
                  <c:v>4.4999999999999998E-2</c:v>
                </c:pt>
                <c:pt idx="8" formatCode="0%">
                  <c:v>1.95E-2</c:v>
                </c:pt>
                <c:pt idx="9" formatCode="0%">
                  <c:v>6.1000000000000004E-3</c:v>
                </c:pt>
                <c:pt idx="10" formatCode="0%">
                  <c:v>3.4099999999999998E-2</c:v>
                </c:pt>
                <c:pt idx="11" formatCode="0%">
                  <c:v>7.0800000000000002E-2</c:v>
                </c:pt>
                <c:pt idx="12" formatCode="0%">
                  <c:v>0.106</c:v>
                </c:pt>
                <c:pt idx="13" formatCode="0%">
                  <c:v>0.1206</c:v>
                </c:pt>
                <c:pt idx="14" formatCode="0%">
                  <c:v>2.07E-2</c:v>
                </c:pt>
                <c:pt idx="15" formatCode="0%">
                  <c:v>0.1012</c:v>
                </c:pt>
                <c:pt idx="16" formatCode="0%">
                  <c:v>1.21E-2</c:v>
                </c:pt>
                <c:pt idx="17" formatCode="0%">
                  <c:v>0.30449999999999999</c:v>
                </c:pt>
                <c:pt idx="18" formatCode="0%">
                  <c:v>0.1452</c:v>
                </c:pt>
                <c:pt idx="19" formatCode="0%">
                  <c:v>0.24479999999999999</c:v>
                </c:pt>
                <c:pt idx="20" formatCode="0%">
                  <c:v>0.4459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712-4740-BB38-AC849DDED446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7.3000000000000001E-3</c:v>
                </c:pt>
                <c:pt idx="1">
                  <c:v>7.3000000000000001E-3</c:v>
                </c:pt>
                <c:pt idx="2">
                  <c:v>7.3000000000000001E-3</c:v>
                </c:pt>
                <c:pt idx="4">
                  <c:v>7.3000000000000001E-3</c:v>
                </c:pt>
                <c:pt idx="5">
                  <c:v>2.07E-2</c:v>
                </c:pt>
                <c:pt idx="6">
                  <c:v>7.3000000000000001E-3</c:v>
                </c:pt>
                <c:pt idx="7">
                  <c:v>3.2899999999999999E-2</c:v>
                </c:pt>
                <c:pt idx="8">
                  <c:v>7.3000000000000001E-3</c:v>
                </c:pt>
                <c:pt idx="9">
                  <c:v>7.3000000000000001E-3</c:v>
                </c:pt>
                <c:pt idx="10">
                  <c:v>7.3000000000000001E-3</c:v>
                </c:pt>
                <c:pt idx="11">
                  <c:v>6.1000000000000004E-3</c:v>
                </c:pt>
                <c:pt idx="12">
                  <c:v>3.2899999999999999E-2</c:v>
                </c:pt>
                <c:pt idx="13">
                  <c:v>1.95E-2</c:v>
                </c:pt>
                <c:pt idx="15">
                  <c:v>7.3000000000000001E-3</c:v>
                </c:pt>
                <c:pt idx="17">
                  <c:v>1.95E-2</c:v>
                </c:pt>
                <c:pt idx="19">
                  <c:v>1.34E-2</c:v>
                </c:pt>
                <c:pt idx="20">
                  <c:v>6.1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712-4740-BB38-AC849DDED4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найбільш важлива ціль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F03-4B1B-AFAA-DE4DC6D873F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94569999999999999</c:v>
                </c:pt>
                <c:pt idx="1">
                  <c:v>0.89449999999999996</c:v>
                </c:pt>
                <c:pt idx="2">
                  <c:v>0.81100000000000005</c:v>
                </c:pt>
                <c:pt idx="3">
                  <c:v>0.79900000000000004</c:v>
                </c:pt>
                <c:pt idx="4">
                  <c:v>0.76380000000000003</c:v>
                </c:pt>
                <c:pt idx="5">
                  <c:v>0.73009999999999997</c:v>
                </c:pt>
                <c:pt idx="6">
                  <c:v>0.72060000000000002</c:v>
                </c:pt>
                <c:pt idx="7">
                  <c:v>0.73219999999999996</c:v>
                </c:pt>
                <c:pt idx="8">
                  <c:v>0.68489999999999995</c:v>
                </c:pt>
                <c:pt idx="9">
                  <c:v>0.63109999999999999</c:v>
                </c:pt>
                <c:pt idx="10">
                  <c:v>0.53820000000000001</c:v>
                </c:pt>
                <c:pt idx="11">
                  <c:v>0.79649999999999999</c:v>
                </c:pt>
                <c:pt idx="12">
                  <c:v>0.62009999999999998</c:v>
                </c:pt>
                <c:pt idx="13">
                  <c:v>0.53059999999999996</c:v>
                </c:pt>
                <c:pt idx="14">
                  <c:v>0.52810000000000001</c:v>
                </c:pt>
                <c:pt idx="15">
                  <c:v>0.47189999999999999</c:v>
                </c:pt>
                <c:pt idx="16">
                  <c:v>0.43969999999999998</c:v>
                </c:pt>
                <c:pt idx="17">
                  <c:v>0.41410000000000002</c:v>
                </c:pt>
                <c:pt idx="18">
                  <c:v>0.18990000000000001</c:v>
                </c:pt>
                <c:pt idx="19">
                  <c:v>0.11210000000000001</c:v>
                </c:pt>
                <c:pt idx="20">
                  <c:v>7.53999999999999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03-4B1B-AFAA-DE4DC6D873F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8.81944444444444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03-4B1B-AFAA-DE4DC6D873FB}"/>
                </c:ext>
              </c:extLst>
            </c:dLbl>
            <c:dLbl>
              <c:idx val="2"/>
              <c:layout>
                <c:manualLayout>
                  <c:x val="-4.409722222222222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F03-4B1B-AFAA-DE4DC6D873FB}"/>
                </c:ext>
              </c:extLst>
            </c:dLbl>
            <c:dLbl>
              <c:idx val="3"/>
              <c:layout>
                <c:manualLayout>
                  <c:x val="-8.0844907407407407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F03-4B1B-AFAA-DE4DC6D873FB}"/>
                </c:ext>
              </c:extLst>
            </c:dLbl>
            <c:dLbl>
              <c:idx val="4"/>
              <c:layout>
                <c:manualLayout>
                  <c:x val="-1.469907407407420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03-4B1B-AFAA-DE4DC6D873FB}"/>
                </c:ext>
              </c:extLst>
            </c:dLbl>
            <c:dLbl>
              <c:idx val="5"/>
              <c:layout>
                <c:manualLayout>
                  <c:x val="-2.93981481481481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F03-4B1B-AFAA-DE4DC6D873FB}"/>
                </c:ext>
              </c:extLst>
            </c:dLbl>
            <c:dLbl>
              <c:idx val="7"/>
              <c:layout>
                <c:manualLayout>
                  <c:x val="-1.469907407407420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F03-4B1B-AFAA-DE4DC6D873FB}"/>
                </c:ext>
              </c:extLst>
            </c:dLbl>
            <c:dLbl>
              <c:idx val="9"/>
              <c:layout>
                <c:manualLayout>
                  <c:x val="-0.10289351851851865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03-4B1B-AFAA-DE4DC6D873FB}"/>
                </c:ext>
              </c:extLst>
            </c:dLbl>
            <c:dLbl>
              <c:idx val="10"/>
              <c:layout>
                <c:manualLayout>
                  <c:x val="-8.819444444444445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F03-4B1B-AFAA-DE4DC6D873FB}"/>
                </c:ext>
              </c:extLst>
            </c:dLbl>
            <c:dLbl>
              <c:idx val="11"/>
              <c:layout>
                <c:manualLayout>
                  <c:x val="-2.93981481481481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F03-4B1B-AFAA-DE4DC6D873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5.4300000000000001E-2</c:v>
                </c:pt>
                <c:pt idx="1">
                  <c:v>9.5000000000000001E-2</c:v>
                </c:pt>
                <c:pt idx="2">
                  <c:v>0.13420000000000001</c:v>
                </c:pt>
                <c:pt idx="3">
                  <c:v>0.19750000000000001</c:v>
                </c:pt>
                <c:pt idx="4">
                  <c:v>0.13619999999999999</c:v>
                </c:pt>
                <c:pt idx="5">
                  <c:v>0.2462</c:v>
                </c:pt>
                <c:pt idx="6">
                  <c:v>0.1714</c:v>
                </c:pt>
                <c:pt idx="7">
                  <c:v>0.13320000000000001</c:v>
                </c:pt>
                <c:pt idx="8">
                  <c:v>0.26079999999999998</c:v>
                </c:pt>
                <c:pt idx="9">
                  <c:v>0.35680000000000001</c:v>
                </c:pt>
                <c:pt idx="10">
                  <c:v>0.41360000000000002</c:v>
                </c:pt>
                <c:pt idx="11">
                  <c:v>0.11509999999999999</c:v>
                </c:pt>
                <c:pt idx="12">
                  <c:v>0.1699</c:v>
                </c:pt>
                <c:pt idx="13">
                  <c:v>0.28439999999999999</c:v>
                </c:pt>
                <c:pt idx="14">
                  <c:v>0.43219999999999997</c:v>
                </c:pt>
                <c:pt idx="15">
                  <c:v>0.42309999999999998</c:v>
                </c:pt>
                <c:pt idx="16">
                  <c:v>0.502</c:v>
                </c:pt>
                <c:pt idx="17">
                  <c:v>0.25080000000000002</c:v>
                </c:pt>
                <c:pt idx="18">
                  <c:v>0.63619999999999999</c:v>
                </c:pt>
                <c:pt idx="19">
                  <c:v>0.57640000000000002</c:v>
                </c:pt>
                <c:pt idx="20">
                  <c:v>0.4471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F03-4B1B-AFAA-DE4DC6D873F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найменш важлива ціль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dLbl>
              <c:idx val="13"/>
              <c:layout>
                <c:manualLayout>
                  <c:x val="-6.6145833333333334E-2"/>
                  <c:y val="2.426006793948717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F03-4B1B-AFAA-DE4DC6D873FB}"/>
                </c:ext>
              </c:extLst>
            </c:dLbl>
            <c:dLbl>
              <c:idx val="17"/>
              <c:layout>
                <c:manualLayout>
                  <c:x val="-4.409722222222222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F03-4B1B-AFAA-DE4DC6D873FB}"/>
                </c:ext>
              </c:extLst>
            </c:dLbl>
            <c:dLbl>
              <c:idx val="19"/>
              <c:layout>
                <c:manualLayout>
                  <c:x val="-4.4097222222222225E-2"/>
                  <c:y val="1.129697446161424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F03-4B1B-AFAA-DE4DC6D873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1">
                  <c:v>1.06E-2</c:v>
                </c:pt>
                <c:pt idx="2">
                  <c:v>5.4800000000000001E-2</c:v>
                </c:pt>
                <c:pt idx="3" formatCode="0.0%">
                  <c:v>3.5000000000000001E-3</c:v>
                </c:pt>
                <c:pt idx="4">
                  <c:v>9.6500000000000002E-2</c:v>
                </c:pt>
                <c:pt idx="5">
                  <c:v>2.3599999999999999E-2</c:v>
                </c:pt>
                <c:pt idx="6">
                  <c:v>0.1045</c:v>
                </c:pt>
                <c:pt idx="7">
                  <c:v>0.1241</c:v>
                </c:pt>
                <c:pt idx="8">
                  <c:v>5.4300000000000001E-2</c:v>
                </c:pt>
                <c:pt idx="9">
                  <c:v>1.21E-2</c:v>
                </c:pt>
                <c:pt idx="10">
                  <c:v>4.3200000000000002E-2</c:v>
                </c:pt>
                <c:pt idx="11">
                  <c:v>8.8400000000000006E-2</c:v>
                </c:pt>
                <c:pt idx="12">
                  <c:v>0.1925</c:v>
                </c:pt>
                <c:pt idx="13">
                  <c:v>0.1779</c:v>
                </c:pt>
                <c:pt idx="14">
                  <c:v>3.9699999999999999E-2</c:v>
                </c:pt>
                <c:pt idx="15">
                  <c:v>0.10150000000000001</c:v>
                </c:pt>
                <c:pt idx="16">
                  <c:v>5.8299999999999998E-2</c:v>
                </c:pt>
                <c:pt idx="17">
                  <c:v>0.31759999999999999</c:v>
                </c:pt>
                <c:pt idx="18">
                  <c:v>0.1739</c:v>
                </c:pt>
                <c:pt idx="19">
                  <c:v>0.31159999999999999</c:v>
                </c:pt>
                <c:pt idx="20">
                  <c:v>0.477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F03-4B1B-AFAA-DE4DC6D873FB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Бути у безпеці, не боятися за власне життя і життя родини</c:v>
                </c:pt>
                <c:pt idx="1">
                  <c:v>Бути фінансово незалежним</c:v>
                </c:pt>
                <c:pt idx="2">
                  <c:v>Мати цікаву роботу, що дає відчуття сенсу і надихає</c:v>
                </c:pt>
                <c:pt idx="3">
                  <c:v>Розвивати професійні навички</c:v>
                </c:pt>
                <c:pt idx="4">
                  <c:v>Мати власне житло</c:v>
                </c:pt>
                <c:pt idx="5">
                  <c:v>Жити у приємному, привабливому місті</c:v>
                </c:pt>
                <c:pt idx="6">
                  <c:v>Бути працевлаштованим</c:v>
                </c:pt>
                <c:pt idx="7">
                  <c:v>Мати кохану людину</c:v>
                </c:pt>
                <c:pt idx="8">
                  <c:v>Жити у місті, де є багато можливостей</c:v>
                </c:pt>
                <c:pt idx="9">
                  <c:v>Мати різноманітне і цікаве дозвілля</c:v>
                </c:pt>
                <c:pt idx="10">
                  <c:v>Зробити успішну кар'єру, досягти високої посади </c:v>
                </c:pt>
                <c:pt idx="11">
                  <c:v>Виростити і виховати дитину</c:v>
                </c:pt>
                <c:pt idx="12">
                  <c:v>Створити сім'ю</c:v>
                </c:pt>
                <c:pt idx="13">
                  <c:v>Мати власний автомобіль</c:v>
                </c:pt>
                <c:pt idx="14">
                  <c:v>Допомагати іншим людям, які цього потребують</c:v>
                </c:pt>
                <c:pt idx="15">
                  <c:v>Створити і розвивати власний бізнес</c:v>
                </c:pt>
                <c:pt idx="16">
                  <c:v>Бути багатим, заробляти багато грошей</c:v>
                </c:pt>
                <c:pt idx="17">
                  <c:v>Отримати якісну вищу освіту</c:v>
                </c:pt>
                <c:pt idx="18">
                  <c:v>Брати участь у громадських ініціативах</c:v>
                </c:pt>
                <c:pt idx="19">
                  <c:v>Мати владу і вплив</c:v>
                </c:pt>
                <c:pt idx="20">
                  <c:v>Стати відомим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  <c:pt idx="4" formatCode="0.0%">
                  <c:v>3.5000000000000001E-3</c:v>
                </c:pt>
                <c:pt idx="6" formatCode="0.0%">
                  <c:v>3.5000000000000001E-3</c:v>
                </c:pt>
                <c:pt idx="7" formatCode="0%">
                  <c:v>1.06E-2</c:v>
                </c:pt>
                <c:pt idx="10" formatCode="0%">
                  <c:v>5.0000000000000001E-3</c:v>
                </c:pt>
                <c:pt idx="12" formatCode="0%">
                  <c:v>1.7600000000000001E-2</c:v>
                </c:pt>
                <c:pt idx="13" formatCode="0%">
                  <c:v>7.0000000000000001E-3</c:v>
                </c:pt>
                <c:pt idx="15" formatCode="0.0%">
                  <c:v>3.5000000000000001E-3</c:v>
                </c:pt>
                <c:pt idx="17" formatCode="0%">
                  <c:v>1.7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F03-4B1B-AFAA-DE4DC6D873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78169999999999995</c:v>
                </c:pt>
                <c:pt idx="1">
                  <c:v>0.76</c:v>
                </c:pt>
                <c:pt idx="2">
                  <c:v>0.753</c:v>
                </c:pt>
                <c:pt idx="3">
                  <c:v>0.74439999999999995</c:v>
                </c:pt>
                <c:pt idx="4">
                  <c:v>0.69820000000000004</c:v>
                </c:pt>
                <c:pt idx="5">
                  <c:v>0.68130000000000002</c:v>
                </c:pt>
                <c:pt idx="6">
                  <c:v>0.68010000000000004</c:v>
                </c:pt>
                <c:pt idx="7">
                  <c:v>0.64600000000000002</c:v>
                </c:pt>
                <c:pt idx="8">
                  <c:v>0.61829999999999996</c:v>
                </c:pt>
                <c:pt idx="9">
                  <c:v>0.60350000000000004</c:v>
                </c:pt>
                <c:pt idx="10">
                  <c:v>0.59930000000000005</c:v>
                </c:pt>
                <c:pt idx="11">
                  <c:v>0.58740000000000003</c:v>
                </c:pt>
                <c:pt idx="12">
                  <c:v>0.58720000000000006</c:v>
                </c:pt>
                <c:pt idx="13">
                  <c:v>0.54449999999999998</c:v>
                </c:pt>
                <c:pt idx="14">
                  <c:v>0.53410000000000002</c:v>
                </c:pt>
                <c:pt idx="15">
                  <c:v>0.51390000000000002</c:v>
                </c:pt>
                <c:pt idx="16">
                  <c:v>0.46510000000000001</c:v>
                </c:pt>
                <c:pt idx="17">
                  <c:v>0.45900000000000002</c:v>
                </c:pt>
                <c:pt idx="18">
                  <c:v>0.41460000000000002</c:v>
                </c:pt>
                <c:pt idx="19">
                  <c:v>0.33689999999999998</c:v>
                </c:pt>
                <c:pt idx="20">
                  <c:v>0.274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674768518518518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dLbl>
              <c:idx val="1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A7-46BC-B805-32D8209EE2E0}"/>
                </c:ext>
              </c:extLst>
            </c:dLbl>
            <c:dLbl>
              <c:idx val="2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A7-46BC-B805-32D8209E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7399999999999999</c:v>
                </c:pt>
                <c:pt idx="1">
                  <c:v>0.1792</c:v>
                </c:pt>
                <c:pt idx="2">
                  <c:v>0.23300000000000001</c:v>
                </c:pt>
                <c:pt idx="3">
                  <c:v>0.20180000000000001</c:v>
                </c:pt>
                <c:pt idx="4">
                  <c:v>0.28129999999999999</c:v>
                </c:pt>
                <c:pt idx="5">
                  <c:v>0.25629999999999997</c:v>
                </c:pt>
                <c:pt idx="6">
                  <c:v>0.30099999999999999</c:v>
                </c:pt>
                <c:pt idx="7">
                  <c:v>0.33739999999999998</c:v>
                </c:pt>
                <c:pt idx="8">
                  <c:v>0.3644</c:v>
                </c:pt>
                <c:pt idx="9">
                  <c:v>0.35730000000000001</c:v>
                </c:pt>
                <c:pt idx="10">
                  <c:v>0.38300000000000001</c:v>
                </c:pt>
                <c:pt idx="11">
                  <c:v>0.38</c:v>
                </c:pt>
                <c:pt idx="12">
                  <c:v>0.35539999999999999</c:v>
                </c:pt>
                <c:pt idx="13">
                  <c:v>0.35959999999999998</c:v>
                </c:pt>
                <c:pt idx="14">
                  <c:v>0.43930000000000002</c:v>
                </c:pt>
                <c:pt idx="15">
                  <c:v>0.42309999999999998</c:v>
                </c:pt>
                <c:pt idx="16">
                  <c:v>0.49540000000000001</c:v>
                </c:pt>
                <c:pt idx="17">
                  <c:v>0.49280000000000002</c:v>
                </c:pt>
                <c:pt idx="18">
                  <c:v>0.5323</c:v>
                </c:pt>
                <c:pt idx="19">
                  <c:v>0.51870000000000005</c:v>
                </c:pt>
                <c:pt idx="20">
                  <c:v>0.5598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3.1199999999999999E-2</c:v>
                </c:pt>
                <c:pt idx="1">
                  <c:v>4.48E-2</c:v>
                </c:pt>
                <c:pt idx="2">
                  <c:v>9.9000000000000008E-3</c:v>
                </c:pt>
                <c:pt idx="3">
                  <c:v>4.2099999999999999E-2</c:v>
                </c:pt>
                <c:pt idx="4">
                  <c:v>1.67E-2</c:v>
                </c:pt>
                <c:pt idx="5">
                  <c:v>4.9700000000000001E-2</c:v>
                </c:pt>
                <c:pt idx="6">
                  <c:v>1.72E-2</c:v>
                </c:pt>
                <c:pt idx="7">
                  <c:v>1.41E-2</c:v>
                </c:pt>
                <c:pt idx="8">
                  <c:v>1.35E-2</c:v>
                </c:pt>
                <c:pt idx="9">
                  <c:v>2.86E-2</c:v>
                </c:pt>
                <c:pt idx="10">
                  <c:v>1.6E-2</c:v>
                </c:pt>
                <c:pt idx="11">
                  <c:v>2.3900000000000001E-2</c:v>
                </c:pt>
                <c:pt idx="12">
                  <c:v>4.5499999999999999E-2</c:v>
                </c:pt>
                <c:pt idx="13">
                  <c:v>9.0899999999999995E-2</c:v>
                </c:pt>
                <c:pt idx="14">
                  <c:v>2.4899999999999999E-2</c:v>
                </c:pt>
                <c:pt idx="15">
                  <c:v>5.96E-2</c:v>
                </c:pt>
                <c:pt idx="16">
                  <c:v>3.6999999999999998E-2</c:v>
                </c:pt>
                <c:pt idx="17">
                  <c:v>4.48E-2</c:v>
                </c:pt>
                <c:pt idx="18">
                  <c:v>4.7199999999999999E-2</c:v>
                </c:pt>
                <c:pt idx="19">
                  <c:v>0.1419</c:v>
                </c:pt>
                <c:pt idx="20">
                  <c:v>0.156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1.3100000000000001E-2</c:v>
                </c:pt>
                <c:pt idx="1">
                  <c:v>1.6E-2</c:v>
                </c:pt>
                <c:pt idx="2" formatCode="0.0%">
                  <c:v>4.1999999999999997E-3</c:v>
                </c:pt>
                <c:pt idx="3">
                  <c:v>1.17E-2</c:v>
                </c:pt>
                <c:pt idx="4" formatCode="0.0%">
                  <c:v>3.8E-3</c:v>
                </c:pt>
                <c:pt idx="5">
                  <c:v>1.2699999999999999E-2</c:v>
                </c:pt>
                <c:pt idx="6" formatCode="0.0%">
                  <c:v>1.6999999999999999E-3</c:v>
                </c:pt>
                <c:pt idx="7" formatCode="0.0%">
                  <c:v>2.5000000000000001E-3</c:v>
                </c:pt>
                <c:pt idx="8" formatCode="0.0%">
                  <c:v>3.7000000000000002E-3</c:v>
                </c:pt>
                <c:pt idx="9">
                  <c:v>1.06E-2</c:v>
                </c:pt>
                <c:pt idx="10" formatCode="0.0%">
                  <c:v>1.6999999999999999E-3</c:v>
                </c:pt>
                <c:pt idx="11">
                  <c:v>8.6999999999999994E-3</c:v>
                </c:pt>
                <c:pt idx="12">
                  <c:v>1.1900000000000001E-2</c:v>
                </c:pt>
                <c:pt idx="13">
                  <c:v>5.0000000000000001E-3</c:v>
                </c:pt>
                <c:pt idx="14" formatCode="0.0%">
                  <c:v>1.6999999999999999E-3</c:v>
                </c:pt>
                <c:pt idx="15" formatCode="0.0%">
                  <c:v>3.3999999999999998E-3</c:v>
                </c:pt>
                <c:pt idx="16" formatCode="0.0%">
                  <c:v>2.5000000000000001E-3</c:v>
                </c:pt>
                <c:pt idx="17" formatCode="0.0%">
                  <c:v>3.3999999999999998E-3</c:v>
                </c:pt>
                <c:pt idx="18">
                  <c:v>5.7999999999999996E-3</c:v>
                </c:pt>
                <c:pt idx="19" formatCode="0.0%">
                  <c:v>2.5000000000000001E-3</c:v>
                </c:pt>
                <c:pt idx="20">
                  <c:v>8.699999999999999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5C8-4F44-AD32-28F44F46E85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5C8-4F44-AD32-28F44F46E85C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50070000000000003</c:v>
                </c:pt>
                <c:pt idx="1">
                  <c:v>0.499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C8-4F44-AD32-28F44F46E8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E7E-469B-B8BA-C3228EA724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69630000000000003</c:v>
                </c:pt>
                <c:pt idx="1">
                  <c:v>0.67730000000000001</c:v>
                </c:pt>
                <c:pt idx="2">
                  <c:v>0.77480000000000004</c:v>
                </c:pt>
                <c:pt idx="3">
                  <c:v>0.61639999999999995</c:v>
                </c:pt>
                <c:pt idx="4">
                  <c:v>0.71789999999999998</c:v>
                </c:pt>
                <c:pt idx="5">
                  <c:v>0.68779999999999997</c:v>
                </c:pt>
                <c:pt idx="6">
                  <c:v>0.75780000000000003</c:v>
                </c:pt>
                <c:pt idx="7">
                  <c:v>0.7722</c:v>
                </c:pt>
                <c:pt idx="8">
                  <c:v>0.75329999999999997</c:v>
                </c:pt>
                <c:pt idx="9">
                  <c:v>0.71730000000000005</c:v>
                </c:pt>
                <c:pt idx="10">
                  <c:v>0.75719999999999998</c:v>
                </c:pt>
                <c:pt idx="11">
                  <c:v>0.6603</c:v>
                </c:pt>
                <c:pt idx="12">
                  <c:v>0.7238</c:v>
                </c:pt>
                <c:pt idx="13">
                  <c:v>0.71530000000000005</c:v>
                </c:pt>
                <c:pt idx="14">
                  <c:v>0.69179999999999997</c:v>
                </c:pt>
                <c:pt idx="15">
                  <c:v>0.59350000000000003</c:v>
                </c:pt>
                <c:pt idx="16">
                  <c:v>0.57850000000000001</c:v>
                </c:pt>
                <c:pt idx="17">
                  <c:v>0.55689999999999995</c:v>
                </c:pt>
                <c:pt idx="18">
                  <c:v>0.60540000000000005</c:v>
                </c:pt>
                <c:pt idx="19">
                  <c:v>0.54590000000000005</c:v>
                </c:pt>
                <c:pt idx="20">
                  <c:v>0.44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7E-469B-B8BA-C3228EA7244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6"/>
              <c:layout>
                <c:manualLayout>
                  <c:x val="-2.939814814814828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E7E-469B-B8BA-C3228EA7244A}"/>
                </c:ext>
              </c:extLst>
            </c:dLbl>
            <c:dLbl>
              <c:idx val="8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E46-48CD-8993-AE5BB74FF8D8}"/>
                </c:ext>
              </c:extLst>
            </c:dLbl>
            <c:dLbl>
              <c:idx val="10"/>
              <c:layout>
                <c:manualLayout>
                  <c:x val="-2.9398148148148149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E7E-469B-B8BA-C3228EA724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2467</c:v>
                </c:pt>
                <c:pt idx="1">
                  <c:v>0.20880000000000001</c:v>
                </c:pt>
                <c:pt idx="2">
                  <c:v>0.2147</c:v>
                </c:pt>
                <c:pt idx="3">
                  <c:v>0.29909999999999998</c:v>
                </c:pt>
                <c:pt idx="4">
                  <c:v>0.27360000000000001</c:v>
                </c:pt>
                <c:pt idx="5">
                  <c:v>0.2487</c:v>
                </c:pt>
                <c:pt idx="6">
                  <c:v>0.22320000000000001</c:v>
                </c:pt>
                <c:pt idx="7">
                  <c:v>0.21729999999999999</c:v>
                </c:pt>
                <c:pt idx="8">
                  <c:v>0.2278</c:v>
                </c:pt>
                <c:pt idx="9">
                  <c:v>0.24479999999999999</c:v>
                </c:pt>
                <c:pt idx="10">
                  <c:v>0.23430000000000001</c:v>
                </c:pt>
                <c:pt idx="11">
                  <c:v>0.30170000000000002</c:v>
                </c:pt>
                <c:pt idx="12">
                  <c:v>0.25719999999999998</c:v>
                </c:pt>
                <c:pt idx="13">
                  <c:v>0.22969999999999999</c:v>
                </c:pt>
                <c:pt idx="14">
                  <c:v>0.29970000000000002</c:v>
                </c:pt>
                <c:pt idx="15">
                  <c:v>0.3306</c:v>
                </c:pt>
                <c:pt idx="16">
                  <c:v>0.40060000000000001</c:v>
                </c:pt>
                <c:pt idx="17">
                  <c:v>0.41560000000000002</c:v>
                </c:pt>
                <c:pt idx="18">
                  <c:v>0.36709999999999998</c:v>
                </c:pt>
                <c:pt idx="19">
                  <c:v>0.37819999999999998</c:v>
                </c:pt>
                <c:pt idx="20">
                  <c:v>0.4744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7E-469B-B8BA-C3228EA7244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4.65E-2</c:v>
                </c:pt>
                <c:pt idx="1">
                  <c:v>8.2400000000000001E-2</c:v>
                </c:pt>
                <c:pt idx="3">
                  <c:v>7.3899999999999993E-2</c:v>
                </c:pt>
                <c:pt idx="5">
                  <c:v>3.5999999999999997E-2</c:v>
                </c:pt>
                <c:pt idx="6">
                  <c:v>1.9E-2</c:v>
                </c:pt>
                <c:pt idx="8">
                  <c:v>1.0500000000000001E-2</c:v>
                </c:pt>
                <c:pt idx="9">
                  <c:v>8.5000000000000006E-3</c:v>
                </c:pt>
                <c:pt idx="10">
                  <c:v>8.5000000000000006E-3</c:v>
                </c:pt>
                <c:pt idx="11">
                  <c:v>8.5000000000000006E-3</c:v>
                </c:pt>
                <c:pt idx="12">
                  <c:v>8.5000000000000006E-3</c:v>
                </c:pt>
                <c:pt idx="13">
                  <c:v>4.65E-2</c:v>
                </c:pt>
                <c:pt idx="14">
                  <c:v>8.5000000000000006E-3</c:v>
                </c:pt>
                <c:pt idx="15">
                  <c:v>6.7400000000000002E-2</c:v>
                </c:pt>
                <c:pt idx="16">
                  <c:v>1.0500000000000001E-2</c:v>
                </c:pt>
                <c:pt idx="17">
                  <c:v>2.75E-2</c:v>
                </c:pt>
                <c:pt idx="18">
                  <c:v>1.0500000000000001E-2</c:v>
                </c:pt>
                <c:pt idx="19">
                  <c:v>6.54E-2</c:v>
                </c:pt>
                <c:pt idx="20">
                  <c:v>6.35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E7E-469B-B8BA-C3228EA7244A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1.0500000000000001E-2</c:v>
                </c:pt>
                <c:pt idx="1">
                  <c:v>3.1399999999999997E-2</c:v>
                </c:pt>
                <c:pt idx="2">
                  <c:v>1.0500000000000001E-2</c:v>
                </c:pt>
                <c:pt idx="3">
                  <c:v>1.0500000000000001E-2</c:v>
                </c:pt>
                <c:pt idx="4">
                  <c:v>8.5000000000000006E-3</c:v>
                </c:pt>
                <c:pt idx="5">
                  <c:v>2.75E-2</c:v>
                </c:pt>
                <c:pt idx="7">
                  <c:v>1.0500000000000001E-2</c:v>
                </c:pt>
                <c:pt idx="8">
                  <c:v>8.5000000000000006E-3</c:v>
                </c:pt>
                <c:pt idx="9">
                  <c:v>2.9499999999999998E-2</c:v>
                </c:pt>
                <c:pt idx="11">
                  <c:v>2.9499999999999998E-2</c:v>
                </c:pt>
                <c:pt idx="12">
                  <c:v>1.0500000000000001E-2</c:v>
                </c:pt>
                <c:pt idx="13">
                  <c:v>8.5000000000000006E-3</c:v>
                </c:pt>
                <c:pt idx="15">
                  <c:v>8.5000000000000006E-3</c:v>
                </c:pt>
                <c:pt idx="16">
                  <c:v>1.0500000000000001E-2</c:v>
                </c:pt>
                <c:pt idx="18">
                  <c:v>1.7000000000000001E-2</c:v>
                </c:pt>
                <c:pt idx="19">
                  <c:v>1.0500000000000001E-2</c:v>
                </c:pt>
                <c:pt idx="20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E7E-469B-B8BA-C3228EA72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67-4997-A13E-4373B10B45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70220000000000005</c:v>
                </c:pt>
                <c:pt idx="1">
                  <c:v>0.69820000000000004</c:v>
                </c:pt>
                <c:pt idx="2">
                  <c:v>0.7389</c:v>
                </c:pt>
                <c:pt idx="3">
                  <c:v>0.74829999999999997</c:v>
                </c:pt>
                <c:pt idx="4">
                  <c:v>0.73050000000000004</c:v>
                </c:pt>
                <c:pt idx="5">
                  <c:v>0.66149999999999998</c:v>
                </c:pt>
                <c:pt idx="6">
                  <c:v>0.75129999999999997</c:v>
                </c:pt>
                <c:pt idx="7">
                  <c:v>0.65410000000000001</c:v>
                </c:pt>
                <c:pt idx="8">
                  <c:v>0.71160000000000001</c:v>
                </c:pt>
                <c:pt idx="9">
                  <c:v>0.62680000000000002</c:v>
                </c:pt>
                <c:pt idx="10">
                  <c:v>0.61040000000000005</c:v>
                </c:pt>
                <c:pt idx="11">
                  <c:v>0.66149999999999998</c:v>
                </c:pt>
                <c:pt idx="12">
                  <c:v>0.55279999999999996</c:v>
                </c:pt>
                <c:pt idx="13">
                  <c:v>0.46500000000000002</c:v>
                </c:pt>
                <c:pt idx="14">
                  <c:v>0.53100000000000003</c:v>
                </c:pt>
                <c:pt idx="15">
                  <c:v>0.60829999999999995</c:v>
                </c:pt>
                <c:pt idx="16">
                  <c:v>0.53500000000000003</c:v>
                </c:pt>
                <c:pt idx="17">
                  <c:v>0.47339999999999999</c:v>
                </c:pt>
                <c:pt idx="18">
                  <c:v>0.46500000000000002</c:v>
                </c:pt>
                <c:pt idx="19">
                  <c:v>0.36570000000000003</c:v>
                </c:pt>
                <c:pt idx="20">
                  <c:v>0.3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7-4997-A13E-4373B10B452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2"/>
              <c:layout>
                <c:manualLayout>
                  <c:x val="-2.204861111111111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67-4997-A13E-4373B10B4523}"/>
                </c:ext>
              </c:extLst>
            </c:dLbl>
            <c:dLbl>
              <c:idx val="7"/>
              <c:layout>
                <c:manualLayout>
                  <c:x val="-3.674768518518518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B67-4997-A13E-4373B10B4523}"/>
                </c:ext>
              </c:extLst>
            </c:dLbl>
            <c:dLbl>
              <c:idx val="9"/>
              <c:layout>
                <c:manualLayout>
                  <c:x val="-5.8796296296296298E-2"/>
                  <c:y val="5.648487230807123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B67-4997-A13E-4373B10B45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26850000000000002</c:v>
                </c:pt>
                <c:pt idx="1">
                  <c:v>0.2288</c:v>
                </c:pt>
                <c:pt idx="2">
                  <c:v>0.25169999999999998</c:v>
                </c:pt>
                <c:pt idx="3">
                  <c:v>0.24129999999999999</c:v>
                </c:pt>
                <c:pt idx="4">
                  <c:v>0.2591</c:v>
                </c:pt>
                <c:pt idx="5">
                  <c:v>0.30819999999999997</c:v>
                </c:pt>
                <c:pt idx="6">
                  <c:v>0.2487</c:v>
                </c:pt>
                <c:pt idx="7">
                  <c:v>0.33650000000000002</c:v>
                </c:pt>
                <c:pt idx="8">
                  <c:v>0.27889999999999998</c:v>
                </c:pt>
                <c:pt idx="9">
                  <c:v>0.36270000000000002</c:v>
                </c:pt>
                <c:pt idx="10">
                  <c:v>0.3896</c:v>
                </c:pt>
                <c:pt idx="11">
                  <c:v>0.31859999999999999</c:v>
                </c:pt>
                <c:pt idx="12">
                  <c:v>0.39600000000000002</c:v>
                </c:pt>
                <c:pt idx="13">
                  <c:v>0.44409999999999999</c:v>
                </c:pt>
                <c:pt idx="14">
                  <c:v>0.44919999999999999</c:v>
                </c:pt>
                <c:pt idx="15">
                  <c:v>0.38119999999999998</c:v>
                </c:pt>
                <c:pt idx="16">
                  <c:v>0.46500000000000002</c:v>
                </c:pt>
                <c:pt idx="17">
                  <c:v>0.4859</c:v>
                </c:pt>
                <c:pt idx="18">
                  <c:v>0.50470000000000004</c:v>
                </c:pt>
                <c:pt idx="19">
                  <c:v>0.53400000000000003</c:v>
                </c:pt>
                <c:pt idx="20">
                  <c:v>0.5905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B67-4997-A13E-4373B10B452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1">
                  <c:v>4.1700000000000001E-2</c:v>
                </c:pt>
                <c:pt idx="2">
                  <c:v>9.4000000000000004E-3</c:v>
                </c:pt>
                <c:pt idx="5">
                  <c:v>1.9900000000000001E-2</c:v>
                </c:pt>
                <c:pt idx="7">
                  <c:v>9.4000000000000004E-3</c:v>
                </c:pt>
                <c:pt idx="8">
                  <c:v>9.4000000000000004E-3</c:v>
                </c:pt>
                <c:pt idx="9">
                  <c:v>1.04E-2</c:v>
                </c:pt>
                <c:pt idx="11">
                  <c:v>1.9900000000000001E-2</c:v>
                </c:pt>
                <c:pt idx="12">
                  <c:v>2.0899999999999998E-2</c:v>
                </c:pt>
                <c:pt idx="13">
                  <c:v>9.0800000000000006E-2</c:v>
                </c:pt>
                <c:pt idx="14">
                  <c:v>1.9900000000000001E-2</c:v>
                </c:pt>
                <c:pt idx="15">
                  <c:v>1.04E-2</c:v>
                </c:pt>
                <c:pt idx="17">
                  <c:v>3.0300000000000001E-2</c:v>
                </c:pt>
                <c:pt idx="18">
                  <c:v>1.9900000000000001E-2</c:v>
                </c:pt>
                <c:pt idx="19">
                  <c:v>0.1003</c:v>
                </c:pt>
                <c:pt idx="20">
                  <c:v>6.0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B67-4997-A13E-4373B10B452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2.93E-2</c:v>
                </c:pt>
                <c:pt idx="1">
                  <c:v>3.1300000000000001E-2</c:v>
                </c:pt>
                <c:pt idx="3">
                  <c:v>1.04E-2</c:v>
                </c:pt>
                <c:pt idx="4">
                  <c:v>1.04E-2</c:v>
                </c:pt>
                <c:pt idx="5">
                  <c:v>1.04E-2</c:v>
                </c:pt>
                <c:pt idx="12">
                  <c:v>3.0300000000000001E-2</c:v>
                </c:pt>
                <c:pt idx="17">
                  <c:v>1.04E-2</c:v>
                </c:pt>
                <c:pt idx="18">
                  <c:v>1.04E-2</c:v>
                </c:pt>
                <c:pt idx="20">
                  <c:v>1.99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B67-4997-A13E-4373B10B45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12-4740-BB38-AC849DDED44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81110000000000004</c:v>
                </c:pt>
                <c:pt idx="1">
                  <c:v>0.81969999999999998</c:v>
                </c:pt>
                <c:pt idx="2">
                  <c:v>0.75519999999999998</c:v>
                </c:pt>
                <c:pt idx="3">
                  <c:v>0.77439999999999998</c:v>
                </c:pt>
                <c:pt idx="4">
                  <c:v>0.69879999999999998</c:v>
                </c:pt>
                <c:pt idx="5">
                  <c:v>0.70409999999999995</c:v>
                </c:pt>
                <c:pt idx="6">
                  <c:v>0.6381</c:v>
                </c:pt>
                <c:pt idx="7">
                  <c:v>0.54930000000000001</c:v>
                </c:pt>
                <c:pt idx="8">
                  <c:v>0.52380000000000004</c:v>
                </c:pt>
                <c:pt idx="9">
                  <c:v>0.54220000000000002</c:v>
                </c:pt>
                <c:pt idx="10">
                  <c:v>0.52349999999999997</c:v>
                </c:pt>
                <c:pt idx="11">
                  <c:v>0.5101</c:v>
                </c:pt>
                <c:pt idx="12">
                  <c:v>0.498</c:v>
                </c:pt>
                <c:pt idx="13">
                  <c:v>0.50680000000000003</c:v>
                </c:pt>
                <c:pt idx="14">
                  <c:v>0.44180000000000003</c:v>
                </c:pt>
                <c:pt idx="15">
                  <c:v>0.44440000000000002</c:v>
                </c:pt>
                <c:pt idx="16">
                  <c:v>0.38109999999999999</c:v>
                </c:pt>
                <c:pt idx="17">
                  <c:v>0.35049999999999998</c:v>
                </c:pt>
                <c:pt idx="18">
                  <c:v>0.32140000000000002</c:v>
                </c:pt>
                <c:pt idx="19">
                  <c:v>0.24709999999999999</c:v>
                </c:pt>
                <c:pt idx="20">
                  <c:v>0.1678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12-4740-BB38-AC849DDED44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4.409722222222235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712-4740-BB38-AC849DDED446}"/>
                </c:ext>
              </c:extLst>
            </c:dLbl>
            <c:dLbl>
              <c:idx val="1"/>
              <c:layout>
                <c:manualLayout>
                  <c:x val="-4.409722222222235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712-4740-BB38-AC849DDED446}"/>
                </c:ext>
              </c:extLst>
            </c:dLbl>
            <c:dLbl>
              <c:idx val="2"/>
              <c:layout>
                <c:manualLayout>
                  <c:x val="-2.204861111111124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712-4740-BB38-AC849DDED446}"/>
                </c:ext>
              </c:extLst>
            </c:dLbl>
            <c:dLbl>
              <c:idx val="3"/>
              <c:layout>
                <c:manualLayout>
                  <c:x val="-2.93981481481481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712-4740-BB38-AC849DDED446}"/>
                </c:ext>
              </c:extLst>
            </c:dLbl>
            <c:dLbl>
              <c:idx val="6"/>
              <c:layout>
                <c:manualLayout>
                  <c:x val="-3.674768518518532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712-4740-BB38-AC849DDED446}"/>
                </c:ext>
              </c:extLst>
            </c:dLbl>
            <c:dLbl>
              <c:idx val="8"/>
              <c:layout>
                <c:manualLayout>
                  <c:x val="-8.084490740740740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56F-4CA7-9678-7FC8D2130706}"/>
                </c:ext>
              </c:extLst>
            </c:dLbl>
            <c:dLbl>
              <c:idx val="11"/>
              <c:layout>
                <c:manualLayout>
                  <c:x val="-3.674768518518518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6F-4CA7-9678-7FC8D2130706}"/>
                </c:ext>
              </c:extLst>
            </c:dLbl>
            <c:dLbl>
              <c:idx val="17"/>
              <c:layout>
                <c:manualLayout>
                  <c:x val="-8.819444444444445E-2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56F-4CA7-9678-7FC8D21307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452</c:v>
                </c:pt>
                <c:pt idx="1">
                  <c:v>0.1487</c:v>
                </c:pt>
                <c:pt idx="2">
                  <c:v>0.2253</c:v>
                </c:pt>
                <c:pt idx="3">
                  <c:v>0.17929999999999999</c:v>
                </c:pt>
                <c:pt idx="4">
                  <c:v>0.28050000000000003</c:v>
                </c:pt>
                <c:pt idx="5">
                  <c:v>0.24349999999999999</c:v>
                </c:pt>
                <c:pt idx="6">
                  <c:v>0.32900000000000001</c:v>
                </c:pt>
                <c:pt idx="7">
                  <c:v>0.42870000000000003</c:v>
                </c:pt>
                <c:pt idx="8">
                  <c:v>0.46279999999999999</c:v>
                </c:pt>
                <c:pt idx="9">
                  <c:v>0.41270000000000001</c:v>
                </c:pt>
                <c:pt idx="10">
                  <c:v>0.44969999999999999</c:v>
                </c:pt>
                <c:pt idx="11">
                  <c:v>0.4471</c:v>
                </c:pt>
                <c:pt idx="12">
                  <c:v>0.39829999999999999</c:v>
                </c:pt>
                <c:pt idx="13">
                  <c:v>0.38719999999999999</c:v>
                </c:pt>
                <c:pt idx="14">
                  <c:v>0.51419999999999999</c:v>
                </c:pt>
                <c:pt idx="15">
                  <c:v>0.47399999999999998</c:v>
                </c:pt>
                <c:pt idx="16">
                  <c:v>0.57740000000000002</c:v>
                </c:pt>
                <c:pt idx="17">
                  <c:v>0.60319999999999996</c:v>
                </c:pt>
                <c:pt idx="18">
                  <c:v>0.63480000000000003</c:v>
                </c:pt>
                <c:pt idx="19">
                  <c:v>0.5847</c:v>
                </c:pt>
                <c:pt idx="20">
                  <c:v>0.6409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712-4740-BB38-AC849DDED44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2.4299999999999999E-2</c:v>
                </c:pt>
                <c:pt idx="1">
                  <c:v>2.5499999999999998E-2</c:v>
                </c:pt>
                <c:pt idx="2">
                  <c:v>1.21E-2</c:v>
                </c:pt>
                <c:pt idx="3">
                  <c:v>3.2899999999999999E-2</c:v>
                </c:pt>
                <c:pt idx="4">
                  <c:v>2.07E-2</c:v>
                </c:pt>
                <c:pt idx="5">
                  <c:v>3.8899999999999997E-2</c:v>
                </c:pt>
                <c:pt idx="6">
                  <c:v>2.5499999999999998E-2</c:v>
                </c:pt>
                <c:pt idx="7">
                  <c:v>2.1999999999999999E-2</c:v>
                </c:pt>
                <c:pt idx="8">
                  <c:v>6.1000000000000004E-3</c:v>
                </c:pt>
                <c:pt idx="9">
                  <c:v>3.7699999999999997E-2</c:v>
                </c:pt>
                <c:pt idx="10">
                  <c:v>1.95E-2</c:v>
                </c:pt>
                <c:pt idx="11">
                  <c:v>3.5400000000000001E-2</c:v>
                </c:pt>
                <c:pt idx="12">
                  <c:v>9.0300000000000005E-2</c:v>
                </c:pt>
                <c:pt idx="13">
                  <c:v>9.8599999999999993E-2</c:v>
                </c:pt>
                <c:pt idx="14">
                  <c:v>3.6700000000000003E-2</c:v>
                </c:pt>
                <c:pt idx="15">
                  <c:v>7.5600000000000001E-2</c:v>
                </c:pt>
                <c:pt idx="16">
                  <c:v>4.1500000000000002E-2</c:v>
                </c:pt>
                <c:pt idx="17">
                  <c:v>3.8899999999999997E-2</c:v>
                </c:pt>
                <c:pt idx="18">
                  <c:v>4.3799999999999999E-2</c:v>
                </c:pt>
                <c:pt idx="19">
                  <c:v>0.16819999999999999</c:v>
                </c:pt>
                <c:pt idx="20">
                  <c:v>0.191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712-4740-BB38-AC849DDED446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>
                  <c:v>1.95E-2</c:v>
                </c:pt>
                <c:pt idx="1">
                  <c:v>6.1000000000000004E-3</c:v>
                </c:pt>
                <c:pt idx="2">
                  <c:v>7.3000000000000001E-3</c:v>
                </c:pt>
                <c:pt idx="3">
                  <c:v>1.34E-2</c:v>
                </c:pt>
                <c:pt idx="5">
                  <c:v>1.34E-2</c:v>
                </c:pt>
                <c:pt idx="6">
                  <c:v>7.3000000000000001E-3</c:v>
                </c:pt>
                <c:pt idx="8">
                  <c:v>7.3000000000000001E-3</c:v>
                </c:pt>
                <c:pt idx="9">
                  <c:v>7.3000000000000001E-3</c:v>
                </c:pt>
                <c:pt idx="10">
                  <c:v>7.3000000000000001E-3</c:v>
                </c:pt>
                <c:pt idx="11">
                  <c:v>7.3000000000000001E-3</c:v>
                </c:pt>
                <c:pt idx="12">
                  <c:v>1.34E-2</c:v>
                </c:pt>
                <c:pt idx="13">
                  <c:v>7.3000000000000001E-3</c:v>
                </c:pt>
                <c:pt idx="14">
                  <c:v>7.3000000000000001E-3</c:v>
                </c:pt>
                <c:pt idx="15">
                  <c:v>6.1000000000000004E-3</c:v>
                </c:pt>
                <c:pt idx="17">
                  <c:v>7.3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712-4740-BB38-AC849DDED4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можете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F03-4B1B-AFAA-DE4DC6D873F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0.85529999999999995</c:v>
                </c:pt>
                <c:pt idx="1">
                  <c:v>0.80500000000000005</c:v>
                </c:pt>
                <c:pt idx="2">
                  <c:v>0.74370000000000003</c:v>
                </c:pt>
                <c:pt idx="3">
                  <c:v>0.8075</c:v>
                </c:pt>
                <c:pt idx="4">
                  <c:v>0.67030000000000001</c:v>
                </c:pt>
                <c:pt idx="5">
                  <c:v>0.67190000000000005</c:v>
                </c:pt>
                <c:pt idx="6">
                  <c:v>0.62309999999999999</c:v>
                </c:pt>
                <c:pt idx="7">
                  <c:v>0.62009999999999998</c:v>
                </c:pt>
                <c:pt idx="8">
                  <c:v>0.54669999999999996</c:v>
                </c:pt>
                <c:pt idx="9">
                  <c:v>0.55679999999999996</c:v>
                </c:pt>
                <c:pt idx="10">
                  <c:v>0.53820000000000001</c:v>
                </c:pt>
                <c:pt idx="11">
                  <c:v>0.55430000000000001</c:v>
                </c:pt>
                <c:pt idx="12">
                  <c:v>0.56930000000000003</c:v>
                </c:pt>
                <c:pt idx="13">
                  <c:v>0.49249999999999999</c:v>
                </c:pt>
                <c:pt idx="14">
                  <c:v>0.4899</c:v>
                </c:pt>
                <c:pt idx="15">
                  <c:v>0.46229999999999999</c:v>
                </c:pt>
                <c:pt idx="16">
                  <c:v>0.41160000000000002</c:v>
                </c:pt>
                <c:pt idx="17">
                  <c:v>0.45629999999999998</c:v>
                </c:pt>
                <c:pt idx="18">
                  <c:v>0.3251</c:v>
                </c:pt>
                <c:pt idx="19">
                  <c:v>0.2432</c:v>
                </c:pt>
                <c:pt idx="20">
                  <c:v>0.20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03-4B1B-AFAA-DE4DC6D873F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середня оцінка + "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5.144675925925926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03-4B1B-AFAA-DE4DC6D873FB}"/>
                </c:ext>
              </c:extLst>
            </c:dLbl>
            <c:dLbl>
              <c:idx val="1"/>
              <c:layout>
                <c:manualLayout>
                  <c:x val="-5.144675925925926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03-4B1B-AFAA-DE4DC6D873FB}"/>
                </c:ext>
              </c:extLst>
            </c:dLbl>
            <c:dLbl>
              <c:idx val="2"/>
              <c:layout>
                <c:manualLayout>
                  <c:x val="-2.93981481481481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F03-4B1B-AFAA-DE4DC6D873FB}"/>
                </c:ext>
              </c:extLst>
            </c:dLbl>
            <c:dLbl>
              <c:idx val="3"/>
              <c:layout>
                <c:manualLayout>
                  <c:x val="-2.93981481481481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F03-4B1B-AFAA-DE4DC6D873FB}"/>
                </c:ext>
              </c:extLst>
            </c:dLbl>
            <c:dLbl>
              <c:idx val="6"/>
              <c:layout>
                <c:manualLayout>
                  <c:x val="-0.10289351851851865"/>
                  <c:y val="2.426006792819019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F03-4B1B-AFAA-DE4DC6D873FB}"/>
                </c:ext>
              </c:extLst>
            </c:dLbl>
            <c:dLbl>
              <c:idx val="7"/>
              <c:layout>
                <c:manualLayout>
                  <c:x val="-2.939814814814814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F03-4B1B-AFAA-DE4DC6D873FB}"/>
                </c:ext>
              </c:extLst>
            </c:dLbl>
            <c:dLbl>
              <c:idx val="8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A11-4A7A-B881-AC20D0161477}"/>
                </c:ext>
              </c:extLst>
            </c:dLbl>
            <c:dLbl>
              <c:idx val="11"/>
              <c:layout>
                <c:manualLayout>
                  <c:x val="-5.879629629629629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F03-4B1B-AFAA-DE4DC6D873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C$2:$C$22</c:f>
              <c:numCache>
                <c:formatCode>0%</c:formatCode>
                <c:ptCount val="21"/>
                <c:pt idx="0">
                  <c:v>0.10150000000000001</c:v>
                </c:pt>
                <c:pt idx="1">
                  <c:v>0.15629999999999999</c:v>
                </c:pt>
                <c:pt idx="2">
                  <c:v>0.2412</c:v>
                </c:pt>
                <c:pt idx="3">
                  <c:v>0.13420000000000001</c:v>
                </c:pt>
                <c:pt idx="4">
                  <c:v>0.29699999999999999</c:v>
                </c:pt>
                <c:pt idx="5">
                  <c:v>0.2457</c:v>
                </c:pt>
                <c:pt idx="6">
                  <c:v>0.35830000000000001</c:v>
                </c:pt>
                <c:pt idx="7">
                  <c:v>0.35930000000000001</c:v>
                </c:pt>
                <c:pt idx="8">
                  <c:v>0.43120000000000003</c:v>
                </c:pt>
                <c:pt idx="9">
                  <c:v>0.39400000000000002</c:v>
                </c:pt>
                <c:pt idx="10">
                  <c:v>0.43569999999999998</c:v>
                </c:pt>
                <c:pt idx="11">
                  <c:v>0.41710000000000003</c:v>
                </c:pt>
                <c:pt idx="12">
                  <c:v>0.37440000000000001</c:v>
                </c:pt>
                <c:pt idx="13">
                  <c:v>0.38900000000000001</c:v>
                </c:pt>
                <c:pt idx="14">
                  <c:v>0.47939999999999999</c:v>
                </c:pt>
                <c:pt idx="15">
                  <c:v>0.47089999999999999</c:v>
                </c:pt>
                <c:pt idx="16">
                  <c:v>0.52010000000000001</c:v>
                </c:pt>
                <c:pt idx="17">
                  <c:v>0.47739999999999999</c:v>
                </c:pt>
                <c:pt idx="18">
                  <c:v>0.58889999999999998</c:v>
                </c:pt>
                <c:pt idx="19">
                  <c:v>0.56230000000000002</c:v>
                </c:pt>
                <c:pt idx="20">
                  <c:v>0.551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F03-4B1B-AFAA-DE4DC6D873F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зовсім не зможете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D$2:$D$22</c:f>
              <c:numCache>
                <c:formatCode>0%</c:formatCode>
                <c:ptCount val="21"/>
                <c:pt idx="0">
                  <c:v>3.9699999999999999E-2</c:v>
                </c:pt>
                <c:pt idx="1">
                  <c:v>3.3700000000000001E-2</c:v>
                </c:pt>
                <c:pt idx="2">
                  <c:v>1.5100000000000001E-2</c:v>
                </c:pt>
                <c:pt idx="3">
                  <c:v>4.6199999999999998E-2</c:v>
                </c:pt>
                <c:pt idx="4">
                  <c:v>3.27E-2</c:v>
                </c:pt>
                <c:pt idx="5">
                  <c:v>7.8899999999999998E-2</c:v>
                </c:pt>
                <c:pt idx="6">
                  <c:v>1.8599999999999998E-2</c:v>
                </c:pt>
                <c:pt idx="7">
                  <c:v>2.06E-2</c:v>
                </c:pt>
                <c:pt idx="8">
                  <c:v>2.2100000000000002E-2</c:v>
                </c:pt>
                <c:pt idx="9">
                  <c:v>4.4200000000000003E-2</c:v>
                </c:pt>
                <c:pt idx="10">
                  <c:v>2.6100000000000002E-2</c:v>
                </c:pt>
                <c:pt idx="11">
                  <c:v>2.86E-2</c:v>
                </c:pt>
                <c:pt idx="12">
                  <c:v>5.28E-2</c:v>
                </c:pt>
                <c:pt idx="13">
                  <c:v>0.11509999999999999</c:v>
                </c:pt>
                <c:pt idx="14">
                  <c:v>3.0700000000000002E-2</c:v>
                </c:pt>
                <c:pt idx="15">
                  <c:v>6.6799999999999998E-2</c:v>
                </c:pt>
                <c:pt idx="16">
                  <c:v>6.83E-2</c:v>
                </c:pt>
                <c:pt idx="17">
                  <c:v>6.6299999999999998E-2</c:v>
                </c:pt>
                <c:pt idx="18">
                  <c:v>8.5900000000000004E-2</c:v>
                </c:pt>
                <c:pt idx="19">
                  <c:v>0.19450000000000001</c:v>
                </c:pt>
                <c:pt idx="20">
                  <c:v>0.2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F03-4B1B-AFAA-DE4DC6D873FB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22</c:f>
              <c:strCache>
                <c:ptCount val="21"/>
                <c:pt idx="0">
                  <c:v>Мати кохану людину</c:v>
                </c:pt>
                <c:pt idx="1">
                  <c:v>Виростити і виховати дитину</c:v>
                </c:pt>
                <c:pt idx="2">
                  <c:v>Жити у приємному, привабливому місті</c:v>
                </c:pt>
                <c:pt idx="3">
                  <c:v>Створити сім'ю</c:v>
                </c:pt>
                <c:pt idx="4">
                  <c:v>Допомагати іншим людям, які цього потребують</c:v>
                </c:pt>
                <c:pt idx="5">
                  <c:v>Мати власний автомобіль</c:v>
                </c:pt>
                <c:pt idx="6">
                  <c:v>Бути працевлаштованим</c:v>
                </c:pt>
                <c:pt idx="7">
                  <c:v>Розвивати професійні навички</c:v>
                </c:pt>
                <c:pt idx="8">
                  <c:v>Бути фінансово незалежним</c:v>
                </c:pt>
                <c:pt idx="9">
                  <c:v>Бути у безпеці, не боятися за власне життя і життя родини</c:v>
                </c:pt>
                <c:pt idx="10">
                  <c:v>Мати різноманітне і цікаве дозвілля</c:v>
                </c:pt>
                <c:pt idx="11">
                  <c:v>Мати цікаву роботу, що дає відчуття сенсу і надихає</c:v>
                </c:pt>
                <c:pt idx="12">
                  <c:v>Отримати якісну вищу освіту</c:v>
                </c:pt>
                <c:pt idx="13">
                  <c:v>Мати власне житло</c:v>
                </c:pt>
                <c:pt idx="14">
                  <c:v>Жити у місті, де є багато можливостей</c:v>
                </c:pt>
                <c:pt idx="15">
                  <c:v>Брати участь у громадських ініціативах</c:v>
                </c:pt>
                <c:pt idx="16">
                  <c:v>Зробити успішну кар'єру, досягти високої посади </c:v>
                </c:pt>
                <c:pt idx="17">
                  <c:v>Створити і розвивати власний бізнес</c:v>
                </c:pt>
                <c:pt idx="18">
                  <c:v>Бути багатим, заробляти багато грошей</c:v>
                </c:pt>
                <c:pt idx="19">
                  <c:v>Стати відомим</c:v>
                </c:pt>
                <c:pt idx="20">
                  <c:v>Мати владу і вплив</c:v>
                </c:pt>
              </c:strCache>
            </c:strRef>
          </c:cat>
          <c:val>
            <c:numRef>
              <c:f>Лист1!$E$2:$E$22</c:f>
              <c:numCache>
                <c:formatCode>0%</c:formatCode>
                <c:ptCount val="21"/>
                <c:pt idx="0" formatCode="0.0%">
                  <c:v>3.5000000000000001E-3</c:v>
                </c:pt>
                <c:pt idx="1">
                  <c:v>5.0000000000000001E-3</c:v>
                </c:pt>
                <c:pt idx="3">
                  <c:v>1.21E-2</c:v>
                </c:pt>
                <c:pt idx="5" formatCode="0.0%">
                  <c:v>3.5000000000000001E-3</c:v>
                </c:pt>
                <c:pt idx="9">
                  <c:v>5.0000000000000001E-3</c:v>
                </c:pt>
                <c:pt idx="12" formatCode="0.0%">
                  <c:v>3.5000000000000001E-3</c:v>
                </c:pt>
                <c:pt idx="13" formatCode="0.0%">
                  <c:v>3.5000000000000001E-3</c:v>
                </c:pt>
                <c:pt idx="20" formatCode="0.0%">
                  <c:v>3.5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F03-4B1B-AFAA-DE4DC6D873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ажливість цілей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2">
                  <a:lumMod val="50000"/>
                </a:schemeClr>
              </a:solidFill>
              <a:ln w="9525">
                <a:solidFill>
                  <a:schemeClr val="accent2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4919352336511339E-3"/>
                  <c:y val="0"/>
                </c:manualLayout>
              </c:layout>
              <c:tx>
                <c:rich>
                  <a:bodyPr/>
                  <a:lstStyle/>
                  <a:p>
                    <a:fld id="{D0889662-7D3D-4F1A-8FA3-A3E69E3E144D}" type="CELLRANGE">
                      <a:rPr lang="uk-UA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8F9-4AD8-A914-EE8FCDCFA3EE}"/>
                </c:ext>
              </c:extLst>
            </c:dLbl>
            <c:dLbl>
              <c:idx val="1"/>
              <c:layout>
                <c:manualLayout>
                  <c:x val="-0.10915221276881439"/>
                  <c:y val="1.2348914122934429E-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5F52DBC-CA81-4E7B-8FC8-A72510E3EA5E}" type="CELLRANGE">
                      <a:rPr lang="uk-UA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490969280081885"/>
                      <c:h val="0.10415172962595878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8F9-4AD8-A914-EE8FCDCFA3EE}"/>
                </c:ext>
              </c:extLst>
            </c:dLbl>
            <c:dLbl>
              <c:idx val="2"/>
              <c:layout>
                <c:manualLayout>
                  <c:x val="-0.13867136464968854"/>
                  <c:y val="-1.2546496748901379E-2"/>
                </c:manualLayout>
              </c:layout>
              <c:tx>
                <c:rich>
                  <a:bodyPr/>
                  <a:lstStyle/>
                  <a:p>
                    <a:fld id="{F68D2702-5F52-4903-A3C9-687DC7F25239}" type="CELLRANGE">
                      <a:rPr lang="uk-UA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8F9-4AD8-A914-EE8FCDCFA3EE}"/>
                </c:ext>
              </c:extLst>
            </c:dLbl>
            <c:dLbl>
              <c:idx val="3"/>
              <c:layout>
                <c:manualLayout>
                  <c:x val="-5.4919352336510333E-3"/>
                  <c:y val="-1.2546496748901379E-2"/>
                </c:manualLayout>
              </c:layout>
              <c:tx>
                <c:rich>
                  <a:bodyPr/>
                  <a:lstStyle/>
                  <a:p>
                    <a:fld id="{71462F29-68FE-42ED-B5C6-3CC7C517F6AE}" type="CELLRANGE">
                      <a:rPr lang="uk-UA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8F9-4AD8-A914-EE8FCDCFA3EE}"/>
                </c:ext>
              </c:extLst>
            </c:dLbl>
            <c:dLbl>
              <c:idx val="4"/>
              <c:layout>
                <c:manualLayout>
                  <c:x val="-1.3729838084127583E-2"/>
                  <c:y val="3.1366241872253446E-2"/>
                </c:manualLayout>
              </c:layout>
              <c:tx>
                <c:rich>
                  <a:bodyPr/>
                  <a:lstStyle/>
                  <a:p>
                    <a:fld id="{0331650C-0714-4262-8CC5-D4F479E09BB7}" type="CELLRANGE">
                      <a:rPr lang="uk-UA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8F9-4AD8-A914-EE8FCDCFA3EE}"/>
                </c:ext>
              </c:extLst>
            </c:dLbl>
            <c:dLbl>
              <c:idx val="5"/>
              <c:layout>
                <c:manualLayout>
                  <c:x val="-5.4919352336510333E-3"/>
                  <c:y val="1.8819745123352067E-2"/>
                </c:manualLayout>
              </c:layout>
              <c:tx>
                <c:rich>
                  <a:bodyPr/>
                  <a:lstStyle/>
                  <a:p>
                    <a:fld id="{DF18D40E-D92C-4363-958E-2CD0F6925588}" type="CELLRANGE">
                      <a:rPr lang="uk-UA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8F9-4AD8-A914-EE8FCDCFA3EE}"/>
                </c:ext>
              </c:extLst>
            </c:dLbl>
            <c:dLbl>
              <c:idx val="6"/>
              <c:layout>
                <c:manualLayout>
                  <c:x val="-5.2173384719684912E-2"/>
                  <c:y val="2.5092993497802699E-2"/>
                </c:manualLayout>
              </c:layout>
              <c:tx>
                <c:rich>
                  <a:bodyPr/>
                  <a:lstStyle/>
                  <a:p>
                    <a:fld id="{852A3C3F-9D86-41D7-B19F-3149A07F4DD8}" type="CELLRANGE">
                      <a:rPr lang="uk-UA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8F9-4AD8-A914-EE8FCDCFA3EE}"/>
                </c:ext>
              </c:extLst>
            </c:dLbl>
            <c:dLbl>
              <c:idx val="7"/>
              <c:layout>
                <c:manualLayout>
                  <c:x val="-0.17299595986000754"/>
                  <c:y val="1.2546496748901322E-2"/>
                </c:manualLayout>
              </c:layout>
              <c:tx>
                <c:rich>
                  <a:bodyPr/>
                  <a:lstStyle/>
                  <a:p>
                    <a:fld id="{E911D88C-2659-4632-8D4B-59E156976DFC}" type="CELLRANGE">
                      <a:rPr lang="ru-RU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8F9-4AD8-A914-EE8FCDCFA3EE}"/>
                </c:ext>
              </c:extLst>
            </c:dLbl>
            <c:dLbl>
              <c:idx val="8"/>
              <c:layout>
                <c:manualLayout>
                  <c:x val="-0.33775401686953854"/>
                  <c:y val="-1.568312093612672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16EC6A6-604C-437E-A256-8C4B7CD8F4E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444299290145751"/>
                      <c:h val="4.833537872514256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4EE-4BE8-9B38-F0E9AD0EDB72}"/>
                </c:ext>
              </c:extLst>
            </c:dLbl>
            <c:dLbl>
              <c:idx val="9"/>
              <c:layout>
                <c:manualLayout>
                  <c:x val="-1.441622187937267E-2"/>
                  <c:y val="-2.35246814041900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47FF31B-D83D-4BD3-AE06-E80873685585}" type="CELLRANGE">
                      <a:rPr lang="uk-UA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132896400155377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DF-4C61-81FF-3713F78B1273}"/>
                </c:ext>
              </c:extLst>
            </c:dLbl>
            <c:dLbl>
              <c:idx val="10"/>
              <c:layout>
                <c:manualLayout>
                  <c:x val="-5.3546368528097577E-2"/>
                  <c:y val="3.1366241872253446E-2"/>
                </c:manualLayout>
              </c:layout>
              <c:tx>
                <c:rich>
                  <a:bodyPr/>
                  <a:lstStyle/>
                  <a:p>
                    <a:fld id="{121E5B74-B606-48AF-A4F7-05A9A3CA86CA}" type="CELLRANGE">
                      <a:rPr lang="uk-UA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4EE-4BE8-9B38-F0E9AD0EDB72}"/>
                </c:ext>
              </c:extLst>
            </c:dLbl>
            <c:dLbl>
              <c:idx val="11"/>
              <c:layout>
                <c:manualLayout>
                  <c:x val="-4.1189514252382752E-3"/>
                  <c:y val="-1.5683120936126723E-2"/>
                </c:manualLayout>
              </c:layout>
              <c:tx>
                <c:rich>
                  <a:bodyPr/>
                  <a:lstStyle/>
                  <a:p>
                    <a:fld id="{7CCE5B6A-B87F-489D-A20B-616DEEDF3D61}" type="CELLRANGE">
                      <a:rPr lang="uk-UA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DF-4C61-81FF-3713F78B1273}"/>
                </c:ext>
              </c:extLst>
            </c:dLbl>
            <c:dLbl>
              <c:idx val="12"/>
              <c:layout>
                <c:manualLayout>
                  <c:x val="-1.7848789509365859E-2"/>
                  <c:y val="6.116417165089410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57973EF-BBDA-4DFA-A5F2-2FBD6A080A93}" type="CELLRANGE">
                      <a:rPr lang="uk-UA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3621632905859694E-2"/>
                      <c:h val="0.13238134731098691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4EE-4BE8-9B38-F0E9AD0EDB72}"/>
                </c:ext>
              </c:extLst>
            </c:dLbl>
            <c:dLbl>
              <c:idx val="13"/>
              <c:layout>
                <c:manualLayout>
                  <c:x val="-2.9519205935354949E-2"/>
                  <c:y val="6.900573211895752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13E3F19-70DF-4CDE-AE5B-EAAB9A607963}" type="CELLRANGE">
                      <a:rPr lang="ru-RU" dirty="0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89188055213841"/>
                      <c:h val="0.13616085596745223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4EE-4BE8-9B38-F0E9AD0EDB72}"/>
                </c:ext>
              </c:extLst>
            </c:dLbl>
            <c:dLbl>
              <c:idx val="14"/>
              <c:layout>
                <c:manualLayout>
                  <c:x val="-3.9816476389489347E-2"/>
                  <c:y val="3.763949024670413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242363B-5C4A-41E2-940E-C0D5BE3654CC}" type="CELLRANGE">
                      <a:rPr lang="uk-UA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282123848112525"/>
                      <c:h val="5.46086270995932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DF-4C61-81FF-3713F78B1273}"/>
                </c:ext>
              </c:extLst>
            </c:dLbl>
            <c:dLbl>
              <c:idx val="15"/>
              <c:layout>
                <c:manualLayout>
                  <c:x val="-0.13729838084127588"/>
                  <c:y val="5.332261118283086E-2"/>
                </c:manualLayout>
              </c:layout>
              <c:tx>
                <c:rich>
                  <a:bodyPr/>
                  <a:lstStyle/>
                  <a:p>
                    <a:fld id="{8A61EA70-890D-43A3-AE3A-B72AB851BF6E}" type="CELLRANGE">
                      <a:rPr lang="ru-RU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4EE-4BE8-9B38-F0E9AD0EDB72}"/>
                </c:ext>
              </c:extLst>
            </c:dLbl>
            <c:dLbl>
              <c:idx val="16"/>
              <c:layout>
                <c:manualLayout>
                  <c:x val="-0.12356854275714826"/>
                  <c:y val="-3.1366241872253564E-2"/>
                </c:manualLayout>
              </c:layout>
              <c:tx>
                <c:rich>
                  <a:bodyPr/>
                  <a:lstStyle/>
                  <a:p>
                    <a:fld id="{F69DCF1C-A180-4699-85B9-94CFE2CEA04A}" type="CELLRANGE">
                      <a:rPr lang="uk-UA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4EE-4BE8-9B38-F0E9AD0EDB72}"/>
                </c:ext>
              </c:extLst>
            </c:dLbl>
            <c:dLbl>
              <c:idx val="17"/>
              <c:layout>
                <c:manualLayout>
                  <c:x val="-2.8146222126942191E-2"/>
                  <c:y val="0.12232834330178845"/>
                </c:manualLayout>
              </c:layout>
              <c:tx>
                <c:rich>
                  <a:bodyPr/>
                  <a:lstStyle/>
                  <a:p>
                    <a:fld id="{A06EB87E-AEFC-4ECE-8658-0D647DD4C4FB}" type="CELLRANGE">
                      <a:rPr lang="ru-RU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767102378213362"/>
                      <c:h val="8.597486897184669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4EE-4BE8-9B38-F0E9AD0EDB72}"/>
                </c:ext>
              </c:extLst>
            </c:dLbl>
            <c:dLbl>
              <c:idx val="18"/>
              <c:layout>
                <c:manualLayout>
                  <c:x val="-5.4054480646171587E-8"/>
                  <c:y val="-5.959585955728154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138B94E-EA45-401E-B649-2BD11FF9C701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879344669422794"/>
                      <c:h val="6.088187547404393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4EE-4BE8-9B38-F0E9AD0EDB72}"/>
                </c:ext>
              </c:extLst>
            </c:dLbl>
            <c:dLbl>
              <c:idx val="19"/>
              <c:layout>
                <c:manualLayout>
                  <c:x val="0"/>
                  <c:y val="-1.72514330297394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2FF3F8B-02BA-4A93-8EB7-E18D032138BD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07529454016231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DF-4C61-81FF-3713F78B1273}"/>
                </c:ext>
              </c:extLst>
            </c:dLbl>
            <c:dLbl>
              <c:idx val="20"/>
              <c:layout>
                <c:manualLayout>
                  <c:x val="-0.26841833454469427"/>
                  <c:y val="-1.411480884251410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060BB59-E044-4030-93CF-B8A454C8ACFC}" type="CELLRANGE">
                      <a:rPr lang="ru-RU"/>
                      <a:pPr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969988736127325"/>
                      <c:h val="5.147200291236790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4EE-4BE8-9B38-F0E9AD0ED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22</c:f>
              <c:numCache>
                <c:formatCode>0%</c:formatCode>
                <c:ptCount val="21"/>
                <c:pt idx="0">
                  <c:v>0.61829999999999996</c:v>
                </c:pt>
                <c:pt idx="1">
                  <c:v>0.68130000000000002</c:v>
                </c:pt>
                <c:pt idx="2">
                  <c:v>0.54449999999999998</c:v>
                </c:pt>
                <c:pt idx="3">
                  <c:v>0.78169999999999995</c:v>
                </c:pt>
                <c:pt idx="4">
                  <c:v>0.74439999999999995</c:v>
                </c:pt>
                <c:pt idx="5">
                  <c:v>0.76</c:v>
                </c:pt>
                <c:pt idx="6">
                  <c:v>0.68010000000000004</c:v>
                </c:pt>
                <c:pt idx="7">
                  <c:v>0.41460000000000002</c:v>
                </c:pt>
                <c:pt idx="8">
                  <c:v>0.46510000000000001</c:v>
                </c:pt>
                <c:pt idx="9">
                  <c:v>0.58740000000000003</c:v>
                </c:pt>
                <c:pt idx="10">
                  <c:v>0.33689999999999998</c:v>
                </c:pt>
                <c:pt idx="11">
                  <c:v>0.64600000000000002</c:v>
                </c:pt>
                <c:pt idx="12">
                  <c:v>0.58720000000000006</c:v>
                </c:pt>
                <c:pt idx="13">
                  <c:v>0.45900000000000002</c:v>
                </c:pt>
                <c:pt idx="14">
                  <c:v>0.59930000000000005</c:v>
                </c:pt>
                <c:pt idx="15">
                  <c:v>0.51390000000000002</c:v>
                </c:pt>
                <c:pt idx="16">
                  <c:v>0.27460000000000001</c:v>
                </c:pt>
                <c:pt idx="17">
                  <c:v>0.69820000000000004</c:v>
                </c:pt>
                <c:pt idx="18">
                  <c:v>0.60350000000000004</c:v>
                </c:pt>
                <c:pt idx="19">
                  <c:v>0.753</c:v>
                </c:pt>
                <c:pt idx="20">
                  <c:v>0.53410000000000002</c:v>
                </c:pt>
              </c:numCache>
            </c:numRef>
          </c:xVal>
          <c:yVal>
            <c:numRef>
              <c:f>Sheet1!$B$2:$B$22</c:f>
              <c:numCache>
                <c:formatCode>0%</c:formatCode>
                <c:ptCount val="21"/>
                <c:pt idx="0">
                  <c:v>0.90939999999999999</c:v>
                </c:pt>
                <c:pt idx="1">
                  <c:v>0.5766</c:v>
                </c:pt>
                <c:pt idx="2">
                  <c:v>0.7883</c:v>
                </c:pt>
                <c:pt idx="3">
                  <c:v>0.71960000000000002</c:v>
                </c:pt>
                <c:pt idx="4">
                  <c:v>0.58909999999999996</c:v>
                </c:pt>
                <c:pt idx="5">
                  <c:v>0.62360000000000004</c:v>
                </c:pt>
                <c:pt idx="6">
                  <c:v>0.7258</c:v>
                </c:pt>
                <c:pt idx="7">
                  <c:v>0.5292</c:v>
                </c:pt>
                <c:pt idx="8">
                  <c:v>0.63859999999999995</c:v>
                </c:pt>
                <c:pt idx="9">
                  <c:v>0.84040000000000004</c:v>
                </c:pt>
                <c:pt idx="10">
                  <c:v>0.18240000000000001</c:v>
                </c:pt>
                <c:pt idx="11">
                  <c:v>0.7994</c:v>
                </c:pt>
                <c:pt idx="12">
                  <c:v>0.50539999999999996</c:v>
                </c:pt>
                <c:pt idx="13">
                  <c:v>0.53959999999999997</c:v>
                </c:pt>
                <c:pt idx="14">
                  <c:v>0.69389999999999996</c:v>
                </c:pt>
                <c:pt idx="15">
                  <c:v>0.29980000000000001</c:v>
                </c:pt>
                <c:pt idx="16">
                  <c:v>0.22720000000000001</c:v>
                </c:pt>
                <c:pt idx="17">
                  <c:v>0.57110000000000005</c:v>
                </c:pt>
                <c:pt idx="18">
                  <c:v>0.91720000000000002</c:v>
                </c:pt>
                <c:pt idx="19">
                  <c:v>0.75509999999999999</c:v>
                </c:pt>
                <c:pt idx="20">
                  <c:v>0.69850000000000001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22</c15:f>
                <c15:dlblRangeCache>
                  <c:ptCount val="21"/>
                  <c:pt idx="0">
                    <c:v>Бути фінансово незалежним</c:v>
                  </c:pt>
                  <c:pt idx="1">
                    <c:v>Мати власний автомобіль</c:v>
                  </c:pt>
                  <c:pt idx="2">
                    <c:v>Мати власне житло</c:v>
                  </c:pt>
                  <c:pt idx="3">
                    <c:v>Мати кохану людину</c:v>
                  </c:pt>
                  <c:pt idx="4">
                    <c:v>Створити сім'ю</c:v>
                  </c:pt>
                  <c:pt idx="5">
                    <c:v>Виростити і виховати дитину</c:v>
                  </c:pt>
                  <c:pt idx="6">
                    <c:v>Бути працевлаштованим</c:v>
                  </c:pt>
                  <c:pt idx="7">
                    <c:v>Бути багатим, заробляти багато грошей</c:v>
                  </c:pt>
                  <c:pt idx="8">
                    <c:v>Зробити успішну кар'єру, досягти високої посади </c:v>
                  </c:pt>
                  <c:pt idx="9">
                    <c:v>Мати цікаву роботу, що дає відчуття сенсу і надихає</c:v>
                  </c:pt>
                  <c:pt idx="10">
                    <c:v>Стати відомим</c:v>
                  </c:pt>
                  <c:pt idx="11">
                    <c:v>Розвивати професійні навички</c:v>
                  </c:pt>
                  <c:pt idx="12">
                    <c:v>Отримати якісну вищу освіту</c:v>
                  </c:pt>
                  <c:pt idx="13">
                    <c:v>Створити і розвивати власний бізнес</c:v>
                  </c:pt>
                  <c:pt idx="14">
                    <c:v>Мати різноманітне і цікаве дозвілля</c:v>
                  </c:pt>
                  <c:pt idx="15">
                    <c:v>Брати участь у громадських ініціативах</c:v>
                  </c:pt>
                  <c:pt idx="16">
                    <c:v>Мати владу і вплив</c:v>
                  </c:pt>
                  <c:pt idx="17">
                    <c:v>Допомагати іншим людям, які цього потребують</c:v>
                  </c:pt>
                  <c:pt idx="18">
                    <c:v>Бути у безпеці, не боятися за власне життя і життя родини</c:v>
                  </c:pt>
                  <c:pt idx="19">
                    <c:v>Жити у приємному, привабливому місті</c:v>
                  </c:pt>
                  <c:pt idx="20">
                    <c:v>Жити у місті, де є багато можливостей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88F9-4AD8-A914-EE8FCDCFA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647952"/>
        <c:axId val="299654432"/>
      </c:scatterChart>
      <c:valAx>
        <c:axId val="299647952"/>
        <c:scaling>
          <c:orientation val="minMax"/>
          <c:max val="1"/>
          <c:min val="0"/>
        </c:scaling>
        <c:delete val="0"/>
        <c:axPos val="b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54432"/>
        <c:crossesAt val="0.63000000000000012"/>
        <c:crossBetween val="midCat"/>
        <c:majorUnit val="0.2"/>
        <c:minorUnit val="0.1"/>
      </c:valAx>
      <c:valAx>
        <c:axId val="299654432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647952"/>
        <c:crossesAt val="0.58000000000000007"/>
        <c:crossBetween val="midCat"/>
        <c:majorUnit val="0.2"/>
        <c:min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2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5B-4621-83A9-2A4E36AC32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6020000000000001</c:v>
                </c:pt>
                <c:pt idx="1">
                  <c:v>0.65959999999999996</c:v>
                </c:pt>
                <c:pt idx="2">
                  <c:v>0.62409999999999999</c:v>
                </c:pt>
                <c:pt idx="3">
                  <c:v>0.58050000000000002</c:v>
                </c:pt>
                <c:pt idx="4">
                  <c:v>0.57289999999999996</c:v>
                </c:pt>
                <c:pt idx="5">
                  <c:v>0.55449999999999999</c:v>
                </c:pt>
                <c:pt idx="6">
                  <c:v>0.54449999999999998</c:v>
                </c:pt>
                <c:pt idx="7">
                  <c:v>0.4849</c:v>
                </c:pt>
                <c:pt idx="8">
                  <c:v>0.4487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5B-4621-83A9-2A4E36AC32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281653746770040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0A-4251-8A7D-0252565727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31319999999999998</c:v>
                </c:pt>
                <c:pt idx="1">
                  <c:v>0.32250000000000001</c:v>
                </c:pt>
                <c:pt idx="2">
                  <c:v>0.36009999999999998</c:v>
                </c:pt>
                <c:pt idx="3">
                  <c:v>0.3775</c:v>
                </c:pt>
                <c:pt idx="4">
                  <c:v>0.37469999999999998</c:v>
                </c:pt>
                <c:pt idx="5">
                  <c:v>0.3911</c:v>
                </c:pt>
                <c:pt idx="6">
                  <c:v>0.36199999999999999</c:v>
                </c:pt>
                <c:pt idx="7">
                  <c:v>0.4718</c:v>
                </c:pt>
                <c:pt idx="8">
                  <c:v>0.4842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2-4CE2-B312-034563E1B76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2.41E-2</c:v>
                </c:pt>
                <c:pt idx="1">
                  <c:v>1.5800000000000002E-2</c:v>
                </c:pt>
                <c:pt idx="2">
                  <c:v>1.3299999999999999E-2</c:v>
                </c:pt>
                <c:pt idx="3">
                  <c:v>3.6200000000000003E-2</c:v>
                </c:pt>
                <c:pt idx="4">
                  <c:v>5.2299999999999999E-2</c:v>
                </c:pt>
                <c:pt idx="5">
                  <c:v>4.7300000000000002E-2</c:v>
                </c:pt>
                <c:pt idx="6">
                  <c:v>8.4400000000000003E-2</c:v>
                </c:pt>
                <c:pt idx="7">
                  <c:v>3.9199999999999999E-2</c:v>
                </c:pt>
                <c:pt idx="8">
                  <c:v>6.45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2-4CE2-B312-034563E1B76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0.0%</c:formatCode>
                <c:ptCount val="9"/>
                <c:pt idx="0">
                  <c:v>2.5000000000000001E-3</c:v>
                </c:pt>
                <c:pt idx="1">
                  <c:v>2E-3</c:v>
                </c:pt>
                <c:pt idx="2">
                  <c:v>2.5000000000000001E-3</c:v>
                </c:pt>
                <c:pt idx="3" formatCode="0%">
                  <c:v>5.7999999999999996E-3</c:v>
                </c:pt>
                <c:pt idx="5" formatCode="0%">
                  <c:v>7.1000000000000004E-3</c:v>
                </c:pt>
                <c:pt idx="6" formatCode="0%">
                  <c:v>9.1000000000000004E-3</c:v>
                </c:pt>
                <c:pt idx="7">
                  <c:v>4.1000000000000003E-3</c:v>
                </c:pt>
                <c:pt idx="8">
                  <c:v>2.5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02-4CE2-B312-034563E1B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2D-45B7-9F57-552B67B6813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1-BC2D-45B7-9F57-552B67B6813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2-BC2D-45B7-9F57-552B67B6813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3-BC2D-45B7-9F57-552B67B6813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.25432816537467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2D-45B7-9F57-552B67B681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5-BC2D-45B7-9F57-552B67B6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8192933751700153E-3"/>
          <c:y val="7.4981107122614771E-2"/>
          <c:w val="0.98848891511509784"/>
          <c:h val="0.8851726336671075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05-4359-A1B0-0AB3899B0F6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9630000000000003</c:v>
                </c:pt>
                <c:pt idx="1">
                  <c:v>0.76119999999999999</c:v>
                </c:pt>
                <c:pt idx="2">
                  <c:v>0.6603</c:v>
                </c:pt>
                <c:pt idx="3">
                  <c:v>0.61980000000000002</c:v>
                </c:pt>
                <c:pt idx="5">
                  <c:v>0.63290000000000002</c:v>
                </c:pt>
                <c:pt idx="6">
                  <c:v>0.53990000000000005</c:v>
                </c:pt>
                <c:pt idx="7">
                  <c:v>0.51639999999999997</c:v>
                </c:pt>
                <c:pt idx="8">
                  <c:v>0.468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05-4359-A1B0-0AB3899B0F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2.461240310077519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A32-4540-8601-02AED7BE71CD}"/>
                </c:ext>
              </c:extLst>
            </c:dLbl>
            <c:dLbl>
              <c:idx val="1"/>
              <c:layout>
                <c:manualLayout>
                  <c:x val="-2.461240310077534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32-4540-8601-02AED7BE71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28470000000000001</c:v>
                </c:pt>
                <c:pt idx="1">
                  <c:v>0.21990000000000001</c:v>
                </c:pt>
                <c:pt idx="2">
                  <c:v>0.31869999999999998</c:v>
                </c:pt>
                <c:pt idx="3">
                  <c:v>0.35270000000000001</c:v>
                </c:pt>
                <c:pt idx="5">
                  <c:v>0.31869999999999998</c:v>
                </c:pt>
                <c:pt idx="6">
                  <c:v>0.31869999999999998</c:v>
                </c:pt>
                <c:pt idx="7">
                  <c:v>0.43709999999999999</c:v>
                </c:pt>
                <c:pt idx="8">
                  <c:v>0.46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5-4359-A1B0-0AB3899B0F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8.5000000000000006E-3</c:v>
                </c:pt>
                <c:pt idx="1">
                  <c:v>1.0500000000000001E-2</c:v>
                </c:pt>
                <c:pt idx="2">
                  <c:v>1.0500000000000001E-2</c:v>
                </c:pt>
                <c:pt idx="3">
                  <c:v>1.0500000000000001E-2</c:v>
                </c:pt>
                <c:pt idx="5">
                  <c:v>1.9E-2</c:v>
                </c:pt>
                <c:pt idx="6">
                  <c:v>0.10340000000000001</c:v>
                </c:pt>
                <c:pt idx="7">
                  <c:v>2.9499999999999998E-2</c:v>
                </c:pt>
                <c:pt idx="8">
                  <c:v>5.68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05-4359-A1B0-0AB3899B0F6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0%</c:formatCode>
                <c:ptCount val="9"/>
                <c:pt idx="0">
                  <c:v>1.0500000000000001E-2</c:v>
                </c:pt>
                <c:pt idx="1">
                  <c:v>8.5000000000000006E-3</c:v>
                </c:pt>
                <c:pt idx="2">
                  <c:v>1.0500000000000001E-2</c:v>
                </c:pt>
                <c:pt idx="3">
                  <c:v>1.7000000000000001E-2</c:v>
                </c:pt>
                <c:pt idx="5">
                  <c:v>2.9499999999999998E-2</c:v>
                </c:pt>
                <c:pt idx="6">
                  <c:v>3.7999999999999999E-2</c:v>
                </c:pt>
                <c:pt idx="7">
                  <c:v>1.7000000000000001E-2</c:v>
                </c:pt>
                <c:pt idx="8">
                  <c:v>1.05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05-4359-A1B0-0AB3899B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27F-49C8-B8D5-5085D4622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75029999999999997</c:v>
                </c:pt>
                <c:pt idx="1">
                  <c:v>0.69079999999999997</c:v>
                </c:pt>
                <c:pt idx="2">
                  <c:v>0.64170000000000005</c:v>
                </c:pt>
                <c:pt idx="3">
                  <c:v>0.54979999999999996</c:v>
                </c:pt>
                <c:pt idx="4">
                  <c:v>0.43070000000000003</c:v>
                </c:pt>
                <c:pt idx="5">
                  <c:v>0.59050000000000002</c:v>
                </c:pt>
                <c:pt idx="6">
                  <c:v>0.52249999999999996</c:v>
                </c:pt>
                <c:pt idx="7">
                  <c:v>0.5151</c:v>
                </c:pt>
                <c:pt idx="8">
                  <c:v>0.5194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F-49C8-B8D5-5085D4622A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4.92248062015503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7F-49C8-B8D5-5085D4622AA0}"/>
                </c:ext>
              </c:extLst>
            </c:dLbl>
            <c:dLbl>
              <c:idx val="1"/>
              <c:layout>
                <c:manualLayout>
                  <c:x val="-4.922480620155053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A4-4856-9BC3-C6BE86BEEE76}"/>
                </c:ext>
              </c:extLst>
            </c:dLbl>
            <c:dLbl>
              <c:idx val="2"/>
              <c:layout>
                <c:manualLayout>
                  <c:x val="-3.281653746770026E-2"/>
                  <c:y val="3.39786744243823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7F-49C8-B8D5-5085D4622A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2392</c:v>
                </c:pt>
                <c:pt idx="1">
                  <c:v>0.28939999999999999</c:v>
                </c:pt>
                <c:pt idx="2">
                  <c:v>0.34789999999999999</c:v>
                </c:pt>
                <c:pt idx="3">
                  <c:v>0.41889999999999999</c:v>
                </c:pt>
                <c:pt idx="4">
                  <c:v>0.56930000000000003</c:v>
                </c:pt>
                <c:pt idx="5">
                  <c:v>0.37819999999999998</c:v>
                </c:pt>
                <c:pt idx="6">
                  <c:v>0.40749999999999997</c:v>
                </c:pt>
                <c:pt idx="7">
                  <c:v>0.46400000000000002</c:v>
                </c:pt>
                <c:pt idx="8">
                  <c:v>0.4398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7F-49C8-B8D5-5085D4622AA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1.04E-2</c:v>
                </c:pt>
                <c:pt idx="1">
                  <c:v>1.9900000000000001E-2</c:v>
                </c:pt>
                <c:pt idx="2">
                  <c:v>1.04E-2</c:v>
                </c:pt>
                <c:pt idx="3">
                  <c:v>2.0899999999999998E-2</c:v>
                </c:pt>
                <c:pt idx="5">
                  <c:v>3.1300000000000001E-2</c:v>
                </c:pt>
                <c:pt idx="6">
                  <c:v>7.0000000000000007E-2</c:v>
                </c:pt>
                <c:pt idx="7">
                  <c:v>2.0899999999999998E-2</c:v>
                </c:pt>
                <c:pt idx="8">
                  <c:v>4.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7F-49C8-B8D5-5085D4622AA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  <c:pt idx="3" formatCode="0%">
                  <c:v>1.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7F-49C8-B8D5-5085D4622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860-409A-BEC4-9CA9D09CDB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492</c:v>
                </c:pt>
                <c:pt idx="1">
                  <c:v>0.60270000000000001</c:v>
                </c:pt>
                <c:pt idx="2">
                  <c:v>0.56630000000000003</c:v>
                </c:pt>
                <c:pt idx="3">
                  <c:v>0.5746</c:v>
                </c:pt>
                <c:pt idx="4">
                  <c:v>0.5786</c:v>
                </c:pt>
                <c:pt idx="5">
                  <c:v>0.51739999999999997</c:v>
                </c:pt>
                <c:pt idx="6">
                  <c:v>0.4904</c:v>
                </c:pt>
                <c:pt idx="7">
                  <c:v>0.46029999999999999</c:v>
                </c:pt>
                <c:pt idx="8">
                  <c:v>0.396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60-409A-BEC4-9CA9D09CDB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28165374677002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BA6-45B0-A39A-B81951D4BF48}"/>
                </c:ext>
              </c:extLst>
            </c:dLbl>
            <c:dLbl>
              <c:idx val="1"/>
              <c:layout>
                <c:manualLayout>
                  <c:x val="-0.10665374677002584"/>
                  <c:y val="5.8374918165661593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BA6-45B0-A39A-B81951D4BF48}"/>
                </c:ext>
              </c:extLst>
            </c:dLbl>
            <c:dLbl>
              <c:idx val="2"/>
              <c:layout>
                <c:manualLayout>
                  <c:x val="-9.8449612403100781E-2"/>
                  <c:y val="3.39786744243823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BA6-45B0-A39A-B81951D4BF48}"/>
                </c:ext>
              </c:extLst>
            </c:dLbl>
            <c:dLbl>
              <c:idx val="5"/>
              <c:layout>
                <c:manualLayout>
                  <c:x val="-2.461240310077519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0D7-4262-9D41-F96C63B3AA59}"/>
                </c:ext>
              </c:extLst>
            </c:dLbl>
            <c:dLbl>
              <c:idx val="6"/>
              <c:layout>
                <c:manualLayout>
                  <c:x val="-9.844961240310078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860-409A-BEC4-9CA9D09CDB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33260000000000001</c:v>
                </c:pt>
                <c:pt idx="1">
                  <c:v>0.39129999999999998</c:v>
                </c:pt>
                <c:pt idx="2">
                  <c:v>0.4264</c:v>
                </c:pt>
                <c:pt idx="3">
                  <c:v>0.39129999999999998</c:v>
                </c:pt>
                <c:pt idx="4">
                  <c:v>0.38279999999999997</c:v>
                </c:pt>
                <c:pt idx="5">
                  <c:v>0.42770000000000002</c:v>
                </c:pt>
                <c:pt idx="6">
                  <c:v>0.434</c:v>
                </c:pt>
                <c:pt idx="7">
                  <c:v>0.5202</c:v>
                </c:pt>
                <c:pt idx="8">
                  <c:v>0.54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60-409A-BEC4-9CA9D09CDB4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1.8200000000000001E-2</c:v>
                </c:pt>
                <c:pt idx="1">
                  <c:v>6.1000000000000004E-3</c:v>
                </c:pt>
                <c:pt idx="2">
                  <c:v>7.3000000000000001E-3</c:v>
                </c:pt>
                <c:pt idx="3">
                  <c:v>3.4099999999999998E-2</c:v>
                </c:pt>
                <c:pt idx="4">
                  <c:v>3.85E-2</c:v>
                </c:pt>
                <c:pt idx="5">
                  <c:v>5.4899999999999997E-2</c:v>
                </c:pt>
                <c:pt idx="6">
                  <c:v>7.5600000000000001E-2</c:v>
                </c:pt>
                <c:pt idx="7">
                  <c:v>1.95E-2</c:v>
                </c:pt>
                <c:pt idx="8">
                  <c:v>5.60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60-409A-BEC4-9CA9D09CDB4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4-C860-409A-BEC4-9CA9D09CD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DF-48B8-A968-A5B47639A80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DF-48B8-A968-A5B47639A80B}"/>
              </c:ext>
            </c:extLst>
          </c:dPt>
          <c:dLbls>
            <c:spPr>
              <a:noFill/>
              <a:ln w="12700"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1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Чоловік</c:v>
                </c:pt>
                <c:pt idx="1">
                  <c:v>Жінк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48409999999999997</c:v>
                </c:pt>
                <c:pt idx="1">
                  <c:v>0.5159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DF-48B8-A968-A5B47639A8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97507389937106914"/>
          <c:h val="0.95741192884548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7 - повністю згодні + 6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BB0-4AA2-B08D-C980FFB472A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60250000000000004</c:v>
                </c:pt>
                <c:pt idx="1">
                  <c:v>0.61460000000000004</c:v>
                </c:pt>
                <c:pt idx="2">
                  <c:v>0.62860000000000005</c:v>
                </c:pt>
                <c:pt idx="3">
                  <c:v>0.57240000000000002</c:v>
                </c:pt>
                <c:pt idx="4">
                  <c:v>0.57809999999999995</c:v>
                </c:pt>
                <c:pt idx="5">
                  <c:v>0.5101</c:v>
                </c:pt>
                <c:pt idx="6">
                  <c:v>0.59150000000000003</c:v>
                </c:pt>
                <c:pt idx="7">
                  <c:v>0.46579999999999999</c:v>
                </c:pt>
                <c:pt idx="8">
                  <c:v>0.436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B0-4AA2-B08D-C980FFB472A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 + 4 - нейтральна оцінка +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5.7428940568475452E-2"/>
                  <c:y val="2.9187459082830797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892-4217-90DC-1B70926EA80A}"/>
                </c:ext>
              </c:extLst>
            </c:dLbl>
            <c:dLbl>
              <c:idx val="1"/>
              <c:layout>
                <c:manualLayout>
                  <c:x val="-8.2041343669250727E-2"/>
                  <c:y val="5.8374918165661593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BB0-4AA2-B08D-C980FFB472AA}"/>
                </c:ext>
              </c:extLst>
            </c:dLbl>
            <c:dLbl>
              <c:idx val="2"/>
              <c:layout>
                <c:manualLayout>
                  <c:x val="-3.2816537467700184E-2"/>
                  <c:y val="3.39786744243823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892-4217-90DC-1B70926EA8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3533</c:v>
                </c:pt>
                <c:pt idx="1">
                  <c:v>0.36180000000000001</c:v>
                </c:pt>
                <c:pt idx="2">
                  <c:v>0.3513</c:v>
                </c:pt>
                <c:pt idx="3">
                  <c:v>0.36630000000000001</c:v>
                </c:pt>
                <c:pt idx="4">
                  <c:v>0.36280000000000001</c:v>
                </c:pt>
                <c:pt idx="5">
                  <c:v>0.42159999999999997</c:v>
                </c:pt>
                <c:pt idx="6">
                  <c:v>0.3246</c:v>
                </c:pt>
                <c:pt idx="7">
                  <c:v>0.46779999999999999</c:v>
                </c:pt>
                <c:pt idx="8">
                  <c:v>0.478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B0-4AA2-B08D-C980FFB472A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 - абсолютно не згодні + 2</c:v>
                </c:pt>
              </c:strCache>
            </c:strRef>
          </c:tx>
          <c:spPr>
            <a:solidFill>
              <a:srgbClr val="FF9F9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50"/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4.4200000000000003E-2</c:v>
                </c:pt>
                <c:pt idx="1">
                  <c:v>2.3599999999999999E-2</c:v>
                </c:pt>
                <c:pt idx="2">
                  <c:v>2.01E-2</c:v>
                </c:pt>
                <c:pt idx="3">
                  <c:v>6.13E-2</c:v>
                </c:pt>
                <c:pt idx="4">
                  <c:v>5.9200000000000003E-2</c:v>
                </c:pt>
                <c:pt idx="5">
                  <c:v>6.83E-2</c:v>
                </c:pt>
                <c:pt idx="6">
                  <c:v>8.3900000000000002E-2</c:v>
                </c:pt>
                <c:pt idx="7">
                  <c:v>6.6299999999999998E-2</c:v>
                </c:pt>
                <c:pt idx="8">
                  <c:v>8.54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B0-4AA2-B08D-C980FFB472AA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Лист1!$A$2:$A$10</c:f>
              <c:strCache>
                <c:ptCount val="9"/>
                <c:pt idx="0">
                  <c:v>Я почуваю себе безпечно і спокійно у Вінниці</c:v>
                </c:pt>
                <c:pt idx="1">
                  <c:v>Я задоволений/на життям у Вінниці</c:v>
                </c:pt>
                <c:pt idx="2">
                  <c:v>Я відчуваю гордість за місто Вінниці</c:v>
                </c:pt>
                <c:pt idx="3">
                  <c:v>Я бачу себе щасливою людиною у Вінниці через 10 років</c:v>
                </c:pt>
                <c:pt idx="4">
                  <c:v>Я бачу своїх дітей щасливими у Вінниці через 10 років </c:v>
                </c:pt>
                <c:pt idx="5">
                  <c:v>Я відчуваю оптимізм щодо свого майбутнього у Вінниці</c:v>
                </c:pt>
                <c:pt idx="6">
                  <c:v>Я планую протягом наступних десяти років жити у Вінниці</c:v>
                </c:pt>
                <c:pt idx="7">
                  <c:v>Я можу повністю реалізувати себе у Вінниці</c:v>
                </c:pt>
                <c:pt idx="8">
                  <c:v>Я готовий/ва долучатися до громадських ініціатив для розвитку Вінниці</c:v>
                </c:pt>
              </c:strCache>
            </c:strRef>
          </c:cat>
          <c:val>
            <c:numRef>
              <c:f>Лист1!$E$2:$E$10</c:f>
              <c:numCache>
                <c:formatCode>General</c:formatCode>
                <c:ptCount val="9"/>
              </c:numCache>
            </c:numRef>
          </c:val>
          <c:extLst>
            <c:ext xmlns:c16="http://schemas.microsoft.com/office/drawing/2014/chart" uri="{C3380CC4-5D6E-409C-BE32-E72D297353CC}">
              <c16:uniqueId val="{00000004-1BB0-4AA2-B08D-C980FFB472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9B-4806-A400-32476AB6894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9B-4806-A400-32476AB68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28100000000000003</c:v>
                </c:pt>
                <c:pt idx="1">
                  <c:v>0.18690000000000001</c:v>
                </c:pt>
                <c:pt idx="2">
                  <c:v>0.1794</c:v>
                </c:pt>
                <c:pt idx="3">
                  <c:v>0.17549999999999999</c:v>
                </c:pt>
                <c:pt idx="4">
                  <c:v>0.16450000000000001</c:v>
                </c:pt>
                <c:pt idx="5">
                  <c:v>0.1605</c:v>
                </c:pt>
                <c:pt idx="6">
                  <c:v>0.14149999999999999</c:v>
                </c:pt>
                <c:pt idx="7">
                  <c:v>0.13650000000000001</c:v>
                </c:pt>
                <c:pt idx="8">
                  <c:v>0.12470000000000001</c:v>
                </c:pt>
                <c:pt idx="9">
                  <c:v>0.11459999999999999</c:v>
                </c:pt>
                <c:pt idx="10">
                  <c:v>0.1041</c:v>
                </c:pt>
                <c:pt idx="11">
                  <c:v>9.3100000000000002E-2</c:v>
                </c:pt>
                <c:pt idx="12">
                  <c:v>8.8400000000000006E-2</c:v>
                </c:pt>
                <c:pt idx="13">
                  <c:v>8.5300000000000001E-2</c:v>
                </c:pt>
                <c:pt idx="14">
                  <c:v>8.1799999999999998E-2</c:v>
                </c:pt>
                <c:pt idx="15">
                  <c:v>7.8899999999999998E-2</c:v>
                </c:pt>
                <c:pt idx="16">
                  <c:v>7.7200000000000005E-2</c:v>
                </c:pt>
                <c:pt idx="17">
                  <c:v>7.46E-2</c:v>
                </c:pt>
                <c:pt idx="18">
                  <c:v>6.8599999999999994E-2</c:v>
                </c:pt>
                <c:pt idx="19">
                  <c:v>3.7499999999999999E-2</c:v>
                </c:pt>
                <c:pt idx="20">
                  <c:v>2.7199999999999998E-2</c:v>
                </c:pt>
                <c:pt idx="21">
                  <c:v>2.64E-2</c:v>
                </c:pt>
                <c:pt idx="22">
                  <c:v>1.7500000000000002E-2</c:v>
                </c:pt>
                <c:pt idx="23">
                  <c:v>1.0999999999999999E-2</c:v>
                </c:pt>
                <c:pt idx="24">
                  <c:v>0.1145</c:v>
                </c:pt>
                <c:pt idx="25">
                  <c:v>8.3199999999999996E-2</c:v>
                </c:pt>
                <c:pt idx="26">
                  <c:v>7.700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B-4806-A400-32476AB68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6-406B-BBE8-A10380AF8A0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6-406B-BBE8-A10380AF8A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714</c:v>
                </c:pt>
                <c:pt idx="1">
                  <c:v>9.4899999999999998E-2</c:v>
                </c:pt>
                <c:pt idx="2">
                  <c:v>0.1244</c:v>
                </c:pt>
                <c:pt idx="3">
                  <c:v>0.18390000000000001</c:v>
                </c:pt>
                <c:pt idx="4">
                  <c:v>9.7500000000000003E-2</c:v>
                </c:pt>
                <c:pt idx="5">
                  <c:v>3.9899999999999998E-2</c:v>
                </c:pt>
                <c:pt idx="6">
                  <c:v>0.20280000000000001</c:v>
                </c:pt>
                <c:pt idx="7">
                  <c:v>8.6400000000000005E-2</c:v>
                </c:pt>
                <c:pt idx="8">
                  <c:v>7.1999999999999995E-2</c:v>
                </c:pt>
                <c:pt idx="9">
                  <c:v>9.4899999999999998E-2</c:v>
                </c:pt>
                <c:pt idx="10">
                  <c:v>7.7899999999999997E-2</c:v>
                </c:pt>
                <c:pt idx="11">
                  <c:v>3.7999999999999999E-2</c:v>
                </c:pt>
                <c:pt idx="12">
                  <c:v>3.9899999999999998E-2</c:v>
                </c:pt>
                <c:pt idx="13">
                  <c:v>1.7000000000000001E-2</c:v>
                </c:pt>
                <c:pt idx="14">
                  <c:v>0.1074</c:v>
                </c:pt>
                <c:pt idx="15">
                  <c:v>5.5E-2</c:v>
                </c:pt>
                <c:pt idx="16">
                  <c:v>8.5000000000000006E-3</c:v>
                </c:pt>
                <c:pt idx="17">
                  <c:v>2.5499999999999998E-2</c:v>
                </c:pt>
                <c:pt idx="18">
                  <c:v>5.8900000000000001E-2</c:v>
                </c:pt>
                <c:pt idx="19">
                  <c:v>1.0500000000000001E-2</c:v>
                </c:pt>
                <c:pt idx="20">
                  <c:v>0</c:v>
                </c:pt>
                <c:pt idx="21">
                  <c:v>8.5000000000000006E-3</c:v>
                </c:pt>
                <c:pt idx="22">
                  <c:v>0</c:v>
                </c:pt>
                <c:pt idx="23">
                  <c:v>0</c:v>
                </c:pt>
                <c:pt idx="24">
                  <c:v>9.69E-2</c:v>
                </c:pt>
                <c:pt idx="25">
                  <c:v>0.20880000000000001</c:v>
                </c:pt>
                <c:pt idx="26">
                  <c:v>8.500000000000000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B6-406B-BBE8-A10380AF8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31-49AE-A848-B2E25F3578B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31-49AE-A848-B2E25F3578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31359999999999999</c:v>
                </c:pt>
                <c:pt idx="1">
                  <c:v>0.15679999999999999</c:v>
                </c:pt>
                <c:pt idx="2">
                  <c:v>0.11509999999999999</c:v>
                </c:pt>
                <c:pt idx="3">
                  <c:v>0.16619999999999999</c:v>
                </c:pt>
                <c:pt idx="4">
                  <c:v>0.1191</c:v>
                </c:pt>
                <c:pt idx="5">
                  <c:v>7.0999999999999994E-2</c:v>
                </c:pt>
                <c:pt idx="6">
                  <c:v>0.15040000000000001</c:v>
                </c:pt>
                <c:pt idx="7">
                  <c:v>9.7199999999999995E-2</c:v>
                </c:pt>
                <c:pt idx="8">
                  <c:v>0.1067</c:v>
                </c:pt>
                <c:pt idx="9">
                  <c:v>0.1484</c:v>
                </c:pt>
                <c:pt idx="10">
                  <c:v>7.7399999999999997E-2</c:v>
                </c:pt>
                <c:pt idx="11">
                  <c:v>0.14099999999999999</c:v>
                </c:pt>
                <c:pt idx="12">
                  <c:v>0.1191</c:v>
                </c:pt>
                <c:pt idx="13">
                  <c:v>3.7699999999999997E-2</c:v>
                </c:pt>
                <c:pt idx="14">
                  <c:v>6.9000000000000006E-2</c:v>
                </c:pt>
                <c:pt idx="15">
                  <c:v>8.7800000000000003E-2</c:v>
                </c:pt>
                <c:pt idx="16">
                  <c:v>0.13059999999999999</c:v>
                </c:pt>
                <c:pt idx="17">
                  <c:v>8.6800000000000002E-2</c:v>
                </c:pt>
                <c:pt idx="18">
                  <c:v>6.59E-2</c:v>
                </c:pt>
                <c:pt idx="19">
                  <c:v>5.0099999999999999E-2</c:v>
                </c:pt>
                <c:pt idx="20">
                  <c:v>1.8800000000000001E-2</c:v>
                </c:pt>
                <c:pt idx="21">
                  <c:v>9.4000000000000004E-3</c:v>
                </c:pt>
                <c:pt idx="22">
                  <c:v>3.0300000000000001E-2</c:v>
                </c:pt>
                <c:pt idx="23">
                  <c:v>0</c:v>
                </c:pt>
                <c:pt idx="24">
                  <c:v>0.19950000000000001</c:v>
                </c:pt>
                <c:pt idx="25">
                  <c:v>3.9699999999999999E-2</c:v>
                </c:pt>
                <c:pt idx="2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1-49AE-A848-B2E25F357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7F6-41C6-95F2-D245F4CAF8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7F6-41C6-95F2-D245F4CAF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34420000000000001</c:v>
                </c:pt>
                <c:pt idx="1">
                  <c:v>0.17910000000000001</c:v>
                </c:pt>
                <c:pt idx="2">
                  <c:v>0.2291</c:v>
                </c:pt>
                <c:pt idx="3">
                  <c:v>0.2132</c:v>
                </c:pt>
                <c:pt idx="4">
                  <c:v>0.2142</c:v>
                </c:pt>
                <c:pt idx="5">
                  <c:v>0.23619999999999999</c:v>
                </c:pt>
                <c:pt idx="6">
                  <c:v>8.4199999999999997E-2</c:v>
                </c:pt>
                <c:pt idx="7">
                  <c:v>0.18029999999999999</c:v>
                </c:pt>
                <c:pt idx="8">
                  <c:v>0.17530000000000001</c:v>
                </c:pt>
                <c:pt idx="9">
                  <c:v>0.151</c:v>
                </c:pt>
                <c:pt idx="10">
                  <c:v>0.1108</c:v>
                </c:pt>
                <c:pt idx="11">
                  <c:v>0.1305</c:v>
                </c:pt>
                <c:pt idx="12">
                  <c:v>0.1158</c:v>
                </c:pt>
                <c:pt idx="13">
                  <c:v>9.1600000000000001E-2</c:v>
                </c:pt>
                <c:pt idx="14">
                  <c:v>4.02E-2</c:v>
                </c:pt>
                <c:pt idx="15">
                  <c:v>0.1216</c:v>
                </c:pt>
                <c:pt idx="16">
                  <c:v>0.106</c:v>
                </c:pt>
                <c:pt idx="17">
                  <c:v>0.1022</c:v>
                </c:pt>
                <c:pt idx="18">
                  <c:v>8.7499999999999994E-2</c:v>
                </c:pt>
                <c:pt idx="19">
                  <c:v>4.7500000000000001E-2</c:v>
                </c:pt>
                <c:pt idx="20">
                  <c:v>4.4999999999999998E-2</c:v>
                </c:pt>
                <c:pt idx="21">
                  <c:v>3.1600000000000003E-2</c:v>
                </c:pt>
                <c:pt idx="22">
                  <c:v>1.34E-2</c:v>
                </c:pt>
                <c:pt idx="23">
                  <c:v>7.3000000000000001E-3</c:v>
                </c:pt>
                <c:pt idx="24">
                  <c:v>8.6499999999999994E-2</c:v>
                </c:pt>
                <c:pt idx="25">
                  <c:v>1.21E-2</c:v>
                </c:pt>
                <c:pt idx="26">
                  <c:v>1.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F6-41C6-95F2-D245F4CAF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D16-4524-B099-77E09153C86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D16-4524-B099-77E09153C8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Комфорт / Комфортне / Затишне</c:v>
                </c:pt>
                <c:pt idx="1">
                  <c:v>Безпека / Безпечне</c:v>
                </c:pt>
                <c:pt idx="2">
                  <c:v>Інфраструктура</c:v>
                </c:pt>
                <c:pt idx="3">
                  <c:v>Транспорт (сполучення / розв'язки)</c:v>
                </c:pt>
                <c:pt idx="4">
                  <c:v>Чисте / Доглянуте</c:v>
                </c:pt>
                <c:pt idx="5">
                  <c:v>Компактне / Маленьке / Не велике населення</c:v>
                </c:pt>
                <c:pt idx="6">
                  <c:v>Розвиток / Розвинене / Сучасне</c:v>
                </c:pt>
                <c:pt idx="7">
                  <c:v>Спокійне / Тихе</c:v>
                </c:pt>
                <c:pt idx="8">
                  <c:v>Зелене / Зелені зони / Екологія</c:v>
                </c:pt>
                <c:pt idx="9">
                  <c:v>Зони відпочинку (парки / водойми / фонтан)</c:v>
                </c:pt>
                <c:pt idx="10">
                  <c:v>Можливості (для реалізації / кар'єри / бізнесу)</c:v>
                </c:pt>
                <c:pt idx="11">
                  <c:v>Громадський транспорт (розвинений / гарний / доглянутий / зручний)</c:v>
                </c:pt>
                <c:pt idx="12">
                  <c:v>Зручне</c:v>
                </c:pt>
                <c:pt idx="13">
                  <c:v>Географічне розташування</c:v>
                </c:pt>
                <c:pt idx="14">
                  <c:v>Гарне / Красиве / Приємне</c:v>
                </c:pt>
                <c:pt idx="15">
                  <c:v>Багато місць для дозвілля (кафе / магазини) / Різноманітні активності</c:v>
                </c:pt>
                <c:pt idx="16">
                  <c:v>Логістика</c:v>
                </c:pt>
                <c:pt idx="17">
                  <c:v>Люди (хороші / приємні / добрі)</c:v>
                </c:pt>
                <c:pt idx="18">
                  <c:v>Багато навчальних закладів</c:v>
                </c:pt>
                <c:pt idx="19">
                  <c:v>Доступне / Помірні ціни</c:v>
                </c:pt>
                <c:pt idx="20">
                  <c:v>Багато різноманіття для дітей</c:v>
                </c:pt>
                <c:pt idx="21">
                  <c:v>Благоустрій</c:v>
                </c:pt>
                <c:pt idx="22">
                  <c:v>Інклюзія / Безбар'єрність</c:v>
                </c:pt>
                <c:pt idx="23">
                  <c:v>Хороша місцева влада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переваг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29849999999999999</c:v>
                </c:pt>
                <c:pt idx="1">
                  <c:v>0.26579999999999998</c:v>
                </c:pt>
                <c:pt idx="2">
                  <c:v>0.21360000000000001</c:v>
                </c:pt>
                <c:pt idx="3">
                  <c:v>0.1507</c:v>
                </c:pt>
                <c:pt idx="4">
                  <c:v>0.19800000000000001</c:v>
                </c:pt>
                <c:pt idx="5">
                  <c:v>0.23269999999999999</c:v>
                </c:pt>
                <c:pt idx="6">
                  <c:v>0.13320000000000001</c:v>
                </c:pt>
                <c:pt idx="7">
                  <c:v>0.1598</c:v>
                </c:pt>
                <c:pt idx="8">
                  <c:v>0.13569999999999999</c:v>
                </c:pt>
                <c:pt idx="9">
                  <c:v>8.9399999999999993E-2</c:v>
                </c:pt>
                <c:pt idx="10">
                  <c:v>0.12909999999999999</c:v>
                </c:pt>
                <c:pt idx="11">
                  <c:v>8.3900000000000002E-2</c:v>
                </c:pt>
                <c:pt idx="12">
                  <c:v>8.8900000000000007E-2</c:v>
                </c:pt>
                <c:pt idx="13">
                  <c:v>0.14779999999999999</c:v>
                </c:pt>
                <c:pt idx="14">
                  <c:v>9.7000000000000003E-2</c:v>
                </c:pt>
                <c:pt idx="15">
                  <c:v>6.3799999999999996E-2</c:v>
                </c:pt>
                <c:pt idx="16">
                  <c:v>7.9899999999999999E-2</c:v>
                </c:pt>
                <c:pt idx="17">
                  <c:v>8.3900000000000002E-2</c:v>
                </c:pt>
                <c:pt idx="18">
                  <c:v>6.4299999999999996E-2</c:v>
                </c:pt>
                <c:pt idx="19">
                  <c:v>4.3200000000000002E-2</c:v>
                </c:pt>
                <c:pt idx="20">
                  <c:v>3.7699999999999997E-2</c:v>
                </c:pt>
                <c:pt idx="21">
                  <c:v>4.2700000000000002E-2</c:v>
                </c:pt>
                <c:pt idx="22">
                  <c:v>2.5600000000000001E-2</c:v>
                </c:pt>
                <c:pt idx="23">
                  <c:v>2.5600000000000001E-2</c:v>
                </c:pt>
                <c:pt idx="24">
                  <c:v>0.105</c:v>
                </c:pt>
                <c:pt idx="25">
                  <c:v>6.5299999999999997E-2</c:v>
                </c:pt>
                <c:pt idx="26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16-4524-B099-77E09153C8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E686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9B-4806-A400-32476AB6894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9B-4806-A400-32476AB68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132</c:v>
                </c:pt>
                <c:pt idx="1">
                  <c:v>0.1114</c:v>
                </c:pt>
                <c:pt idx="2">
                  <c:v>0.1043</c:v>
                </c:pt>
                <c:pt idx="3">
                  <c:v>0.1027</c:v>
                </c:pt>
                <c:pt idx="4">
                  <c:v>9.0700000000000003E-2</c:v>
                </c:pt>
                <c:pt idx="5">
                  <c:v>8.1000000000000003E-2</c:v>
                </c:pt>
                <c:pt idx="6">
                  <c:v>6.2300000000000001E-2</c:v>
                </c:pt>
                <c:pt idx="7">
                  <c:v>5.8299999999999998E-2</c:v>
                </c:pt>
                <c:pt idx="8">
                  <c:v>5.8000000000000003E-2</c:v>
                </c:pt>
                <c:pt idx="9">
                  <c:v>5.5199999999999999E-2</c:v>
                </c:pt>
                <c:pt idx="10">
                  <c:v>5.4300000000000001E-2</c:v>
                </c:pt>
                <c:pt idx="11">
                  <c:v>0.05</c:v>
                </c:pt>
                <c:pt idx="12">
                  <c:v>3.8199999999999998E-2</c:v>
                </c:pt>
                <c:pt idx="13">
                  <c:v>3.5000000000000003E-2</c:v>
                </c:pt>
                <c:pt idx="14">
                  <c:v>3.49E-2</c:v>
                </c:pt>
                <c:pt idx="15">
                  <c:v>3.1899999999999998E-2</c:v>
                </c:pt>
                <c:pt idx="16">
                  <c:v>2.92E-2</c:v>
                </c:pt>
                <c:pt idx="17">
                  <c:v>2.6800000000000001E-2</c:v>
                </c:pt>
                <c:pt idx="18">
                  <c:v>2.4400000000000002E-2</c:v>
                </c:pt>
                <c:pt idx="19">
                  <c:v>2.2700000000000001E-2</c:v>
                </c:pt>
                <c:pt idx="20">
                  <c:v>2.06E-2</c:v>
                </c:pt>
                <c:pt idx="21">
                  <c:v>2.0199999999999999E-2</c:v>
                </c:pt>
                <c:pt idx="22">
                  <c:v>1.66E-2</c:v>
                </c:pt>
                <c:pt idx="23">
                  <c:v>1.4999999999999999E-2</c:v>
                </c:pt>
                <c:pt idx="24">
                  <c:v>7.4899999999999994E-2</c:v>
                </c:pt>
                <c:pt idx="25">
                  <c:v>0.15</c:v>
                </c:pt>
                <c:pt idx="26">
                  <c:v>0.2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B-4806-A400-32476AB68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6-406B-BBE8-A10380AF8A0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6-406B-BBE8-A10380AF8A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5.6899999999999999E-2</c:v>
                </c:pt>
                <c:pt idx="1">
                  <c:v>6.7400000000000002E-2</c:v>
                </c:pt>
                <c:pt idx="2">
                  <c:v>1.9E-2</c:v>
                </c:pt>
                <c:pt idx="3">
                  <c:v>8.0500000000000002E-2</c:v>
                </c:pt>
                <c:pt idx="4">
                  <c:v>2.1000000000000001E-2</c:v>
                </c:pt>
                <c:pt idx="5">
                  <c:v>4.8399999999999999E-2</c:v>
                </c:pt>
                <c:pt idx="6">
                  <c:v>8.5000000000000006E-3</c:v>
                </c:pt>
                <c:pt idx="7">
                  <c:v>5.04E-2</c:v>
                </c:pt>
                <c:pt idx="8">
                  <c:v>0</c:v>
                </c:pt>
                <c:pt idx="9">
                  <c:v>3.5999999999999997E-2</c:v>
                </c:pt>
                <c:pt idx="10">
                  <c:v>3.5999999999999997E-2</c:v>
                </c:pt>
                <c:pt idx="11">
                  <c:v>2.5499999999999998E-2</c:v>
                </c:pt>
                <c:pt idx="12">
                  <c:v>1.9E-2</c:v>
                </c:pt>
                <c:pt idx="13">
                  <c:v>0</c:v>
                </c:pt>
                <c:pt idx="14">
                  <c:v>0</c:v>
                </c:pt>
                <c:pt idx="15">
                  <c:v>8.5000000000000006E-3</c:v>
                </c:pt>
                <c:pt idx="16">
                  <c:v>2.75E-2</c:v>
                </c:pt>
                <c:pt idx="17">
                  <c:v>8.5000000000000006E-3</c:v>
                </c:pt>
                <c:pt idx="18">
                  <c:v>8.5000000000000006E-3</c:v>
                </c:pt>
                <c:pt idx="19">
                  <c:v>1.7000000000000001E-2</c:v>
                </c:pt>
                <c:pt idx="20">
                  <c:v>0</c:v>
                </c:pt>
                <c:pt idx="21">
                  <c:v>0</c:v>
                </c:pt>
                <c:pt idx="22">
                  <c:v>8.5000000000000006E-3</c:v>
                </c:pt>
                <c:pt idx="23">
                  <c:v>0</c:v>
                </c:pt>
                <c:pt idx="24">
                  <c:v>5.2400000000000002E-2</c:v>
                </c:pt>
                <c:pt idx="25">
                  <c:v>0.26179999999999998</c:v>
                </c:pt>
                <c:pt idx="26">
                  <c:v>0.343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B6-406B-BBE8-A10380AF8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31-49AE-A848-B2E25F3578B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31-49AE-A848-B2E25F3578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9.4000000000000004E-3</c:v>
                </c:pt>
                <c:pt idx="1">
                  <c:v>0.1464</c:v>
                </c:pt>
                <c:pt idx="2">
                  <c:v>8.7800000000000003E-2</c:v>
                </c:pt>
                <c:pt idx="3">
                  <c:v>5.0099999999999999E-2</c:v>
                </c:pt>
                <c:pt idx="4">
                  <c:v>8.7800000000000003E-2</c:v>
                </c:pt>
                <c:pt idx="5">
                  <c:v>5.11E-2</c:v>
                </c:pt>
                <c:pt idx="6">
                  <c:v>6.0600000000000001E-2</c:v>
                </c:pt>
                <c:pt idx="7">
                  <c:v>6.8000000000000005E-2</c:v>
                </c:pt>
                <c:pt idx="8">
                  <c:v>9.0800000000000006E-2</c:v>
                </c:pt>
                <c:pt idx="9">
                  <c:v>3.8699999999999998E-2</c:v>
                </c:pt>
                <c:pt idx="10">
                  <c:v>5.8500000000000003E-2</c:v>
                </c:pt>
                <c:pt idx="11">
                  <c:v>1.9900000000000001E-2</c:v>
                </c:pt>
                <c:pt idx="12">
                  <c:v>9.4000000000000004E-3</c:v>
                </c:pt>
                <c:pt idx="13">
                  <c:v>1.9900000000000001E-2</c:v>
                </c:pt>
                <c:pt idx="14">
                  <c:v>2.93E-2</c:v>
                </c:pt>
                <c:pt idx="15">
                  <c:v>2.8299999999999999E-2</c:v>
                </c:pt>
                <c:pt idx="16">
                  <c:v>1.04E-2</c:v>
                </c:pt>
                <c:pt idx="17">
                  <c:v>9.4000000000000004E-3</c:v>
                </c:pt>
                <c:pt idx="18">
                  <c:v>1.8800000000000001E-2</c:v>
                </c:pt>
                <c:pt idx="19">
                  <c:v>0</c:v>
                </c:pt>
                <c:pt idx="20">
                  <c:v>3.0300000000000001E-2</c:v>
                </c:pt>
                <c:pt idx="21">
                  <c:v>1.9900000000000001E-2</c:v>
                </c:pt>
                <c:pt idx="22">
                  <c:v>2.93E-2</c:v>
                </c:pt>
                <c:pt idx="23">
                  <c:v>0</c:v>
                </c:pt>
                <c:pt idx="24">
                  <c:v>5.7500000000000002E-2</c:v>
                </c:pt>
                <c:pt idx="25">
                  <c:v>0.1807</c:v>
                </c:pt>
                <c:pt idx="26">
                  <c:v>0.263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1-49AE-A848-B2E25F357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18837603077158E-2"/>
          <c:y val="2.6673698631288319E-2"/>
          <c:w val="0.84860639412997918"/>
          <c:h val="0.95741192884548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DC5B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7F6-41C6-95F2-D245F4CAF87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7F6-41C6-95F2-D245F4CAF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Лист1!$A$2:$A$28</c:f>
              <c:strCache>
                <c:ptCount val="27"/>
                <c:pt idx="0">
                  <c:v>Інфраструктура (погана / не розвинена / застаріла)</c:v>
                </c:pt>
                <c:pt idx="1">
                  <c:v>Благоустрій (відсутність туалетів / мало смітників / брудно / не доглянуто / мало озеленення)</c:v>
                </c:pt>
                <c:pt idx="2">
                  <c:v>Високі ціни на житло (оренда / купівля)</c:v>
                </c:pt>
                <c:pt idx="3">
                  <c:v>Мало дозвілля / Мало розваг / Мало культурних заходів</c:v>
                </c:pt>
                <c:pt idx="4">
                  <c:v>Дороги (погані / вузькі)</c:v>
                </c:pt>
                <c:pt idx="5">
                  <c:v>Затори</c:v>
                </c:pt>
                <c:pt idx="6">
                  <c:v>Мало паркомісць</c:v>
                </c:pt>
                <c:pt idx="7">
                  <c:v>Рівень заробітної плати (низька / середня)</c:v>
                </c:pt>
                <c:pt idx="8">
                  <c:v>Багато машин (великий трафік / завантажені дороги)</c:v>
                </c:pt>
                <c:pt idx="9">
                  <c:v>Мало можливостей (для розвитку / кар'єри / бізнесу)</c:v>
                </c:pt>
                <c:pt idx="10">
                  <c:v>Транспорт (система / розв'язки / мало громадського транспорту)</c:v>
                </c:pt>
                <c:pt idx="11">
                  <c:v>Мало місць для відпочинку (майданчики / парки)</c:v>
                </c:pt>
                <c:pt idx="12">
                  <c:v>Зростання цін (продукти / комуналка)</c:v>
                </c:pt>
                <c:pt idx="13">
                  <c:v>Перенаселення (багато людей приїхало / переселенці)</c:v>
                </c:pt>
                <c:pt idx="14">
                  <c:v>Розвиток міста (повільний / відсутній)</c:v>
                </c:pt>
                <c:pt idx="15">
                  <c:v>Освіта / Навчальні заклади (погана якість / мало)</c:v>
                </c:pt>
                <c:pt idx="16">
                  <c:v>Робота (відсутня / важко знайти / мало вакансій)</c:v>
                </c:pt>
                <c:pt idx="17">
                  <c:v>Незадовільна робота міської влади</c:v>
                </c:pt>
                <c:pt idx="18">
                  <c:v>Інклюзивність / Безбар'єрність (мало / відсутня)</c:v>
                </c:pt>
                <c:pt idx="19">
                  <c:v>Забудова міста</c:v>
                </c:pt>
                <c:pt idx="20">
                  <c:v>Незадовільна якість водопровідної води</c:v>
                </c:pt>
                <c:pt idx="21">
                  <c:v>Корупція</c:v>
                </c:pt>
                <c:pt idx="22">
                  <c:v>Екологія (забруднення водойм / повітря)</c:v>
                </c:pt>
                <c:pt idx="23">
                  <c:v>Маленьке місто</c:v>
                </c:pt>
                <c:pt idx="24">
                  <c:v>Інше</c:v>
                </c:pt>
                <c:pt idx="25">
                  <c:v>Важко сказати</c:v>
                </c:pt>
                <c:pt idx="26">
                  <c:v>Немає недоліків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12570000000000001</c:v>
                </c:pt>
                <c:pt idx="1">
                  <c:v>0.13020000000000001</c:v>
                </c:pt>
                <c:pt idx="2">
                  <c:v>0.1497</c:v>
                </c:pt>
                <c:pt idx="3">
                  <c:v>0.1573</c:v>
                </c:pt>
                <c:pt idx="4">
                  <c:v>0.10979999999999999</c:v>
                </c:pt>
                <c:pt idx="5">
                  <c:v>9.1300000000000006E-2</c:v>
                </c:pt>
                <c:pt idx="6">
                  <c:v>0.1085</c:v>
                </c:pt>
                <c:pt idx="7">
                  <c:v>6.4500000000000002E-2</c:v>
                </c:pt>
                <c:pt idx="8">
                  <c:v>7.4399999999999994E-2</c:v>
                </c:pt>
                <c:pt idx="9">
                  <c:v>7.6899999999999996E-2</c:v>
                </c:pt>
                <c:pt idx="10">
                  <c:v>6.3200000000000006E-2</c:v>
                </c:pt>
                <c:pt idx="11">
                  <c:v>7.7899999999999997E-2</c:v>
                </c:pt>
                <c:pt idx="12">
                  <c:v>4.6300000000000001E-2</c:v>
                </c:pt>
                <c:pt idx="13">
                  <c:v>8.3000000000000004E-2</c:v>
                </c:pt>
                <c:pt idx="14">
                  <c:v>3.8899999999999997E-2</c:v>
                </c:pt>
                <c:pt idx="15">
                  <c:v>3.2899999999999999E-2</c:v>
                </c:pt>
                <c:pt idx="16">
                  <c:v>4.3799999999999999E-2</c:v>
                </c:pt>
                <c:pt idx="17">
                  <c:v>5.2400000000000002E-2</c:v>
                </c:pt>
                <c:pt idx="18">
                  <c:v>3.8899999999999997E-2</c:v>
                </c:pt>
                <c:pt idx="19">
                  <c:v>2.6800000000000001E-2</c:v>
                </c:pt>
                <c:pt idx="20">
                  <c:v>1.34E-2</c:v>
                </c:pt>
                <c:pt idx="21">
                  <c:v>3.0300000000000001E-2</c:v>
                </c:pt>
                <c:pt idx="22">
                  <c:v>2.5499999999999998E-2</c:v>
                </c:pt>
                <c:pt idx="23">
                  <c:v>2.1999999999999999E-2</c:v>
                </c:pt>
                <c:pt idx="24">
                  <c:v>7.4399999999999994E-2</c:v>
                </c:pt>
                <c:pt idx="25">
                  <c:v>9.1300000000000006E-2</c:v>
                </c:pt>
                <c:pt idx="26">
                  <c:v>0.175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F6-41C6-95F2-D245F4CAF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772864"/>
        <c:axId val="138774400"/>
      </c:barChart>
      <c:catAx>
        <c:axId val="13877286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38774400"/>
        <c:crosses val="autoZero"/>
        <c:auto val="1"/>
        <c:lblAlgn val="ctr"/>
        <c:lblOffset val="100"/>
        <c:noMultiLvlLbl val="0"/>
      </c:catAx>
      <c:valAx>
        <c:axId val="138774400"/>
        <c:scaling>
          <c:orientation val="minMax"/>
          <c:max val="1.15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3877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Аркуш1!$A$2:$B$10</cx:f>
        <cx:lvl ptCount="9">
          <cx:pt idx="0">Планують переїзд в інше місто / Планують виїзд за кордон</cx:pt>
          <cx:pt idx="1">Планують переїзд в інше місто / Невпевнені щодо переїзду за кордон</cx:pt>
          <cx:pt idx="2">Планують переїзд в інше місто / Не планують виїзд за кордон</cx:pt>
          <cx:pt idx="3">Невпевнені щодо переїзду в інше місто / Планують виїзд за кордон</cx:pt>
          <cx:pt idx="4">Невпевнені щодо переїзду в інше місто / Невпевнені щодо переїзду за кордон</cx:pt>
          <cx:pt idx="5">Невпевнені щодо переїзду в інше місто / Не планують виїзд за кордон</cx:pt>
          <cx:pt idx="6">Не планують переїзд в інше місто / Планують виїзд за кордон</cx:pt>
          <cx:pt idx="7">Не планують переїзд в інше місто / Невпевнені щодо переїзду за кордон</cx:pt>
          <cx:pt idx="8">Не планують переїзд в інше місто / Не планують виїзд за кордон</cx:pt>
        </cx:lvl>
        <cx:lvl ptCount="9">
          <cx:pt idx="0">Планують переїзд в інше місто</cx:pt>
          <cx:pt idx="1">Планують переїзд в інше місто</cx:pt>
          <cx:pt idx="2">Планують переїзд в інше місто</cx:pt>
          <cx:pt idx="3">Невпевнені щодо переїзду в інше місто</cx:pt>
          <cx:pt idx="4">Невпевнені щодо переїзду в інше місто</cx:pt>
          <cx:pt idx="5">Невпевнені щодо переїзду в інше місто</cx:pt>
          <cx:pt idx="6">Не планують переїзд в інше місто</cx:pt>
          <cx:pt idx="7">Не планують переїзд в інше місто</cx:pt>
          <cx:pt idx="8">Не планують переїзд в інше місто</cx:pt>
        </cx:lvl>
      </cx:strDim>
      <cx:numDim type="size">
        <cx:f>Аркуш1!$C$2:$C$10</cx:f>
        <cx:lvl ptCount="9" formatCode="###0,0%">
          <cx:pt idx="0">0.044092137159538095</cx:pt>
          <cx:pt idx="1">0.041980361713053943</cx:pt>
          <cx:pt idx="2">0.042214910557794597</cx:pt>
          <cx:pt idx="3">0.022502958464343237</cx:pt>
          <cx:pt idx="4">0.17965788921231457</cx:pt>
          <cx:pt idx="5">0.094788700585718907</cx:pt>
          <cx:pt idx="6">0.058356462513966541</cx:pt>
          <cx:pt idx="7">0.072942712788264794</cx:pt>
          <cx:pt idx="8">0.44346386700500529</cx:pt>
        </cx:lvl>
      </cx:numDim>
    </cx:data>
  </cx:chartData>
  <cx:chart>
    <cx:plotArea>
      <cx:plotAreaRegion>
        <cx:series layoutId="treemap" uniqueId="{E24B6282-A594-4C1E-A588-9BBEEEF3C63F}">
          <cx:dataPt idx="1">
            <cx:spPr>
              <a:solidFill>
                <a:srgbClr val="FFC1C1"/>
              </a:solidFill>
            </cx:spPr>
          </cx:dataPt>
          <cx:dataPt idx="2">
            <cx:spPr>
              <a:solidFill>
                <a:srgbClr val="FFD5D5"/>
              </a:solidFill>
            </cx:spPr>
          </cx:dataPt>
          <cx:dataPt idx="3">
            <cx:spPr>
              <a:solidFill>
                <a:srgbClr val="FFD5D5"/>
              </a:solidFill>
            </cx:spPr>
          </cx:dataPt>
          <cx:dataPt idx="5">
            <cx:spPr>
              <a:solidFill>
                <a:srgbClr val="FADECE"/>
              </a:solidFill>
            </cx:spPr>
          </cx:dataPt>
          <cx:dataPt idx="6">
            <cx:spPr>
              <a:solidFill>
                <a:srgbClr val="0F9ED5"/>
              </a:solidFill>
            </cx:spPr>
          </cx:dataPt>
          <cx:dataPt idx="7">
            <cx:spPr>
              <a:solidFill>
                <a:srgbClr val="0F9ED5">
                  <a:lumMod val="60000"/>
                  <a:lumOff val="40000"/>
                </a:srgbClr>
              </a:solidFill>
            </cx:spPr>
          </cx:dataPt>
          <cx:dataPt idx="8">
            <cx:spPr>
              <a:gradFill>
                <a:gsLst>
                  <a:gs pos="0">
                    <a:prstClr val="white"/>
                  </a:gs>
                  <a:gs pos="100000">
                    <a:srgbClr val="4EA72E">
                      <a:lumMod val="75000"/>
                    </a:srgbClr>
                  </a:gs>
                </a:gsLst>
                <a:lin ang="16200000" scaled="1"/>
              </a:gradFill>
            </cx:spPr>
          </cx:dataPt>
          <cx:dataPt idx="9">
            <cx:spPr>
              <a:solidFill>
                <a:srgbClr val="FADECE"/>
              </a:solidFill>
            </cx:spPr>
          </cx:dataPt>
          <cx:dataPt idx="10">
            <cx:spPr>
              <a:solidFill>
                <a:srgbClr val="4EA72E">
                  <a:lumMod val="60000"/>
                  <a:lumOff val="40000"/>
                </a:srgbClr>
              </a:solidFill>
            </cx:spPr>
          </cx:dataPt>
          <cx:dataPt idx="11">
            <cx:spPr>
              <a:solidFill>
                <a:srgbClr val="4EA72E"/>
              </a:solidFill>
            </cx:spPr>
          </cx:dataPt>
          <cx:dataLabels pos="inEnd">
            <cx:spPr>
              <a:effectLst>
                <a:glow rad="101600">
                  <a:schemeClr val="bg1">
                    <a:alpha val="40000"/>
                  </a:schemeClr>
                </a:glow>
              </a:effectLst>
            </cx:spPr>
            <cx:txPr>
              <a:bodyPr spcFirstLastPara="1" vertOverflow="ellipsis" horzOverflow="overflow" wrap="square" lIns="38100" tIns="19050" rIns="38100" bIns="19050" anchor="ctr" anchorCtr="1">
                <a:spAutoFit/>
              </a:bodyPr>
              <a:lstStyle/>
              <a:p>
                <a:pPr algn="ctr" rtl="0">
                  <a:defRPr sz="1400" i="1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pPr>
                <a:endParaRPr lang="uk-UA" sz="1400" b="0" i="1" u="none" strike="noStrike" baseline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x:txPr>
            <cx:visibility seriesName="0" categoryName="1" value="1"/>
            <cx:separator>, </cx:separator>
            <cx:dataLabel idx="1">
              <cx:txPr>
                <a:bodyPr spcFirstLastPara="1" vertOverflow="ellipsis" horzOverflow="overflow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sz="1300"/>
                  </a:pPr>
                  <a:r>
                    <a:rPr lang="uk-UA" sz="1300" b="0" i="1" u="none" strike="noStrike" baseline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Планують переїзд в інше місто / Планують виїзд за кордон, 4,4%</a:t>
                  </a:r>
                </a:p>
              </cx:txPr>
              <cx:visibility seriesName="0" categoryName="1" value="1"/>
              <cx:separator>, </cx:separator>
            </cx:dataLabel>
            <cx:dataLabel idx="2">
              <cx:txPr>
                <a:bodyPr spcFirstLastPara="1" vertOverflow="ellipsis" horzOverflow="overflow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sz="1300"/>
                  </a:pPr>
                  <a:r>
                    <a:rPr lang="uk-UA" sz="1300" b="0" i="1" u="none" strike="noStrike" baseline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Планують переїзд в інше місто / Невпевнені щодо переїзду за кордон, 4,2%</a:t>
                  </a:r>
                </a:p>
              </cx:txPr>
              <cx:visibility seriesName="0" categoryName="1" value="1"/>
              <cx:separator>, </cx:separator>
            </cx:dataLabel>
            <cx:dataLabel idx="3">
              <cx:txPr>
                <a:bodyPr spcFirstLastPara="1" vertOverflow="ellipsis" horzOverflow="overflow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sz="1300"/>
                  </a:pPr>
                  <a:r>
                    <a:rPr lang="uk-UA" sz="1300" b="0" i="1" u="none" strike="noStrike" baseline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Планують переїзд в інше місто / Не планують виїзд за кордон, 4,2%</a:t>
                  </a:r>
                </a:p>
              </cx:txPr>
              <cx:visibility seriesName="0" categoryName="1" value="1"/>
              <cx:separator>, </cx:separator>
            </cx:dataLabel>
            <cx:dataLabel idx="5">
              <cx:txPr>
                <a:bodyPr spcFirstLastPara="1" vertOverflow="ellipsis" horzOverflow="overflow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sz="760"/>
                  </a:pPr>
                  <a:r>
                    <a:rPr lang="uk-UA" sz="760" b="0" i="1" u="none" strike="noStrike" baseline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Невпевнені щодо переїзду в інше місто / Планують виїзд за кордон, 2,3%</a:t>
                  </a:r>
                </a:p>
              </cx:txPr>
              <cx:visibility seriesName="0" categoryName="1" value="1"/>
              <cx:separator>, </cx:separator>
            </cx:dataLabel>
            <cx:dataLabel idx="6">
              <cx:txPr>
                <a:bodyPr spcFirstLastPara="1" vertOverflow="ellipsis" horzOverflow="overflow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sz="1300"/>
                  </a:pPr>
                  <a:r>
                    <a:rPr lang="uk-UA" sz="1300" b="0" i="1" u="none" strike="noStrike" baseline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Невпевнені щодо переїзду в інше місто / Невпевнені щодо переїзду за кордон, 18,0%</a:t>
                  </a:r>
                </a:p>
              </cx:txPr>
              <cx:visibility seriesName="0" categoryName="1" value="1"/>
              <cx:separator>, </cx:separator>
            </cx:dataLabel>
            <cx:dataLabel idx="7">
              <cx:txPr>
                <a:bodyPr spcFirstLastPara="1" vertOverflow="ellipsis" horzOverflow="overflow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sz="1300"/>
                  </a:pPr>
                  <a:r>
                    <a:rPr lang="uk-UA" sz="1300" b="0" i="1" u="none" strike="noStrike" baseline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Невпевнені щодо переїзду в інше місто / Не планують виїзд за кордон, 9,5%</a:t>
                  </a:r>
                </a:p>
              </cx:txPr>
              <cx:visibility seriesName="0" categoryName="1" value="1"/>
              <cx:separator>, </cx:separator>
            </cx:dataLabel>
            <cx:dataLabel idx="9">
              <cx:txPr>
                <a:bodyPr spcFirstLastPara="1" vertOverflow="ellipsis" horzOverflow="overflow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sz="1300"/>
                  </a:pPr>
                  <a:r>
                    <a:rPr lang="uk-UA" sz="1300" b="0" i="1" u="none" strike="noStrike" baseline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Не планують переїзд в інше місто / Планують виїзд за кордон, 5,8%</a:t>
                  </a:r>
                </a:p>
              </cx:txPr>
              <cx:visibility seriesName="0" categoryName="1" value="1"/>
              <cx:separator>, </cx:separator>
            </cx:dataLabel>
            <cx:dataLabel idx="10">
              <cx:txPr>
                <a:bodyPr spcFirstLastPara="1" vertOverflow="ellipsis" horzOverflow="overflow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sz="1300"/>
                  </a:pPr>
                  <a:r>
                    <a:rPr lang="uk-UA" sz="1300" b="0" i="1" u="none" strike="noStrike" baseline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Не планують переїзд в інше місто / Невпевнені щодо переїзду за кордон, 7,3%</a:t>
                  </a:r>
                </a:p>
              </cx:txPr>
              <cx:visibility seriesName="0" categoryName="1" value="1"/>
              <cx:separator>, </cx:separator>
            </cx:dataLabel>
            <cx:dataLabel idx="11">
              <cx:txPr>
                <a:bodyPr spcFirstLastPara="1" vertOverflow="ellipsis" horzOverflow="overflow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sz="1600"/>
                  </a:pPr>
                  <a:r>
                    <a:rPr lang="uk-UA" sz="1600" b="0" i="1" u="none" strike="noStrike" baseline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Не планують переїзд в інше місто / Не планують виїзд за кордон, 44,3%</a:t>
                  </a:r>
                </a:p>
              </cx:txPr>
              <cx:visibility seriesName="0" categoryName="1" value="1"/>
              <cx:separator>, </cx:separator>
            </cx:dataLabel>
            <cx:dataLabelHidden idx="0"/>
            <cx:dataLabelHidden idx="4"/>
            <cx:dataLabelHidden idx="8"/>
          </cx:dataLabels>
          <cx:dataId val="0"/>
          <cx:layoutPr>
            <cx:parentLabelLayout val="overlapping"/>
          </cx:layoutPr>
        </cx:series>
      </cx:plotAreaRegion>
    </cx:plotArea>
  </cx:chart>
  <cx:spPr>
    <a:noFill/>
    <a:ln>
      <a:noFill/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414">
  <cs:axisTitle>
    <cs:lnRef idx="0"/>
    <cs:fillRef idx="0"/>
    <cs:effectRef idx="0"/>
    <cs:fontRef idx="major">
      <a:schemeClr val="dk1">
        <a:lumMod val="50000"/>
        <a:lumOff val="50000"/>
      </a:schemeClr>
    </cs:fontRef>
    <cs:spPr>
      <a:solidFill>
        <a:schemeClr val="bg1">
          <a:lumMod val="8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ajor">
      <a:schemeClr val="dk1">
        <a:lumMod val="50000"/>
        <a:lumOff val="50000"/>
      </a:schemeClr>
    </cs:fontRef>
    <cs:defRPr sz="1197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/>
        </a:fgClr>
        <a:bgClr>
          <a:schemeClr val="dk1">
            <a:lumMod val="10000"/>
            <a:lumOff val="90000"/>
          </a:schemeClr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/>
    <cs:bodyPr lIns="38100" tIns="19050" rIns="38100" bIns="19050">
      <a:spAutoFit/>
    </cs:bodyPr>
  </cs:dataLabel>
  <cs:dataLabelCallout>
    <cs:lnRef idx="0"/>
    <cs:fillRef idx="0"/>
    <cs:effectRef idx="0"/>
    <cs:fontRef idx="major">
      <a:schemeClr val="dk1">
        <a:lumMod val="50000"/>
        <a:lumOff val="50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9525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  <a:lumOff val="10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50000"/>
        </a:schemeClr>
      </a:solidFill>
    </cs:spPr>
    <cs:defRPr sz="1197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ajor">
      <a:schemeClr val="dk1">
        <a:lumMod val="50000"/>
        <a:lumOff val="50000"/>
      </a:schemeClr>
    </cs:fontRef>
    <cs:defRPr sz="1197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chemeClr val="bg1">
            <a:lumMod val="50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spc="0" normalizeH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ajor">
      <a:schemeClr val="dk1">
        <a:lumMod val="50000"/>
        <a:lumOff val="50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ajor">
      <a:schemeClr val="dk1">
        <a:lumMod val="50000"/>
        <a:lumOff val="50000"/>
      </a:schemeClr>
    </cs:fontRef>
    <cs:defRPr sz="1197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F974A7-EA93-4693-B0F7-771BDC95BC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D03CE8-D89D-4F56-9BEC-4E55097D8E23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86519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9C0C23-E6C4-DB49-CE65-5AA873272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56A36268-0B39-5604-FB36-61FB5B6F5E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7C971D2D-4E21-2A2B-A4B0-DE04609DE6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F10E4035-69F6-5121-1269-35C5152559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1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8421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3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932439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C374E0-9FAD-347B-20D2-21038DAF6A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D0564797-C5BC-8E6A-74AE-C3DA0BEFCC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3D475C8C-1BC5-4CC2-9C06-93F0EBE5BA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A41CFD5D-EBAB-1D40-8B2F-6EF001174A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3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840779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B87116-89E3-A7A5-372B-3A12594779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36FB8224-CC99-CFEB-2938-8AD0069962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E7A8ECA4-24A8-BF31-8AD1-A1DCD69E97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FE7780B5-018D-90CD-E4DA-D9A79B5B6B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3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244685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5E8E31-7829-0707-692A-BBD3A1EDB9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B11D005E-7FAF-0540-6801-494DC3F486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626BBC4E-7C15-6210-11B8-A34F9CB0E0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331D28D1-BB67-6D19-889F-0B1D8F0F66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3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778755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CDC946-6D59-64BC-D4C2-F24E0120D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13E6BAD8-8544-822B-78C1-0853ACDA36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226C563B-7856-5ADF-F0F5-42ADE6B1A5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0B87312D-D58B-524F-A5F4-A17F8FC646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4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426520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9C0C23-E6C4-DB49-CE65-5AA873272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56A36268-0B39-5604-FB36-61FB5B6F5E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7C971D2D-4E21-2A2B-A4B0-DE04609DE6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F10E4035-69F6-5121-1269-35C5152559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5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8421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BE3520-A1A0-7DA9-1764-4ED217F0AF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16591A90-2C13-D931-4438-D01163B88A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4D945F7D-B82F-558E-BAD1-0080B4A35D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5D40969D-B20C-9FDB-A7CF-E1F9FC5282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5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40212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DF8A48-6A44-E0D6-DA9A-5FB65698B7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7D791C03-100C-E9AE-6806-15372EB2E4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5875F822-B8F5-94E0-E44E-D6C9071F73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4A0E67BA-52A9-2E29-B0D0-D69EF671FB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60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72666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64C2A-C705-D475-94BA-579A64F31C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E92F96EB-9B98-93DF-69F2-E345713872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D6E4FC12-EA33-5CAD-4E74-03A189AA91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D6926E19-D5E2-495A-85CE-EC1F62454C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6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404625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F228B4-DE86-35D8-4538-0530A9E5A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2E3CD1C2-1624-4F67-E54F-5569F1A000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CE90528C-1B1B-478D-8721-289C131D51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190244CF-C8FB-779C-55D4-650FA0E6B1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6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79275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DF8A48-6A44-E0D6-DA9A-5FB65698B7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7D791C03-100C-E9AE-6806-15372EB2E4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5875F822-B8F5-94E0-E44E-D6C9071F73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4A0E67BA-52A9-2E29-B0D0-D69EF671FB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1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72666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74B593-FB88-FE95-8986-01027B26C9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A86BF432-C280-B28D-A6AF-1C72609318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01B7DE34-1787-53C9-498A-A01CA5BF8D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978FB1E5-6A2A-7355-1E8B-BD5586A81D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6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322676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54F4C1-8AEF-91E6-84E9-EEADA8F4D5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B90E7D73-4B8E-2FCD-48AD-EF47E9B070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23A63C07-0E4D-A757-B397-F8EC4B5475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6399971A-93F1-A645-6A98-194B48DB8E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D03CE8-D89D-4F56-9BEC-4E55097D8E23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11374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61FD2-CE89-208A-ADD2-60800FE661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15BCCEB7-B480-FA72-670B-424BCBE41C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3E8C2837-2692-0544-04BB-D76D2FD261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1633804E-34B5-F658-1111-55E26A8267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D03CE8-D89D-4F56-9BEC-4E55097D8E23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2756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1EFE8A-31E6-9087-5960-E7EF2FC78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B5299989-B56D-34D2-1167-635F762EA5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3BBCA3CC-2A45-DF18-2DDC-8180456AA6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98FAB139-F5B4-B01E-7F64-0E122E0F8B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D03CE8-D89D-4F56-9BEC-4E55097D8E23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71497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5B96B4-A844-3465-3788-7EEDDF03A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B5545502-572A-2BD5-83C2-E9C1B449E8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5DC35315-8EA5-31B0-CCB6-1AF1845ECC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97D0EB9D-5DBF-B00A-D1C3-5B05E0A14F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D03CE8-D89D-4F56-9BEC-4E55097D8E23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14610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025368-7F30-00E7-1A16-80BEE268B3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375A77CC-5903-BF54-4DFE-D4DCDDAACC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AFBB139B-2B46-3257-1F2F-8642F28C27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D46EC7DB-9CFD-D87B-4C50-439C13D568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D03CE8-D89D-4F56-9BEC-4E55097D8E23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90161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F74375-5738-59A1-91E3-C7807F5B37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B03C9C87-EBAD-3492-7D63-63F59AAD45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2F72B573-3CE2-8275-8DC7-FAAD13A3F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1333DE5B-1CF3-3B2C-7C23-0F4B3663F7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D03CE8-D89D-4F56-9BEC-4E55097D8E23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294456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60AD28-ABCD-FD2D-3632-679926987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2BCFCA05-59C9-7854-E542-B7AC75838E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774F3017-5F41-EABB-7F0D-131B9C9AB4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0163A49F-8B19-BDB7-4B3A-8755D5C8BA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7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3409159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1C7D18-ED3D-12B9-32E2-A3AAFA92F0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752F1D0F-7072-8628-7CA8-CC20F10360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E2DB934C-D998-1A4D-6B9F-1842E06871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67301D9E-9A04-95DB-95A7-AB13478CBE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7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1187656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BE36E2-CBC4-0EC8-7135-780369B6A2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80FB7B7A-01F5-8542-D8CB-28B4DAA0B3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47CC35B3-5611-6F18-8A08-1A4A68FB0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9EEC9116-7B99-F59A-61E6-660160321F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7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7245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F228B4-DE86-35D8-4538-0530A9E5A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2E3CD1C2-1624-4F67-E54F-5569F1A000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CE90528C-1B1B-478D-8721-289C131D51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190244CF-C8FB-779C-55D4-650FA0E6B1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2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7927547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621359-69E7-E712-54A4-BE5A589ED0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62FBE27A-04B4-4035-85BB-596DD6852C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68165878-E9FC-C943-5E25-A827F7303C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47D87C26-7783-7A43-B2E4-1E8F8F09A3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80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8278486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950-9251-7024-C6E0-AECC4549D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88672BB8-086B-F395-BB34-03D3AC4018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C2961AC4-CDAE-CE1A-C5E0-29CF3F6CE8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B425A6E0-875F-0325-4370-FEB14AE3FA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8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7261680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AA15E9-A09A-28BB-5CBE-0757A1BE6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7EFF7043-E940-810C-AD2A-B011B10964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DD9B16DE-1DAD-C81B-4F9A-3A18030C49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0195A7B6-254D-D1C1-91C1-D6B47DA144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8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8078743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0C053B-48F8-7BCD-B020-2C9195FE7A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8CDB9AD9-2834-F031-6E23-2D2821E7EF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A6DA86C9-6E05-862A-5A71-6030DF187F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B921A0A5-CCF1-0A21-72C4-8A1BC2745B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8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33044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B4EEC4-2085-9D51-388D-28934D5D20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D953B267-588A-D8DA-C46D-86469F65F0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B2BD6FEC-8BE0-B3A5-921D-ECDFB1FD42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D0F3D8CD-FBD1-6841-B06A-3F36652C80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8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5005151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5D90B-B040-2114-A293-132C4F3BB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0E11DFC2-7BD3-17D6-3303-52E66057CF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AE8ECCEF-B956-561B-362D-B0C15D5EE1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C4068041-F813-1B3E-0DFB-A1FC36663A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9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9587793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793C5F-6E7F-3238-1FF8-E83028D4E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C7FB6658-7D31-159A-72F8-EDD0B107CC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9DE11F66-FF38-19EA-59BC-1F69863945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FC9B7419-5A67-2389-B0AF-FE85856F27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9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5020433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10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724695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54F4C1-8AEF-91E6-84E9-EEADA8F4D5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B90E7D73-4B8E-2FCD-48AD-EF47E9B070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23A63C07-0E4D-A757-B397-F8EC4B5475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6399971A-93F1-A645-6A98-194B48DB8E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D03CE8-D89D-4F56-9BEC-4E55097D8E23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11374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60AD28-ABCD-FD2D-3632-679926987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2BCFCA05-59C9-7854-E542-B7AC75838E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774F3017-5F41-EABB-7F0D-131B9C9AB4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0163A49F-8B19-BDB7-4B3A-8755D5C8BA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2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062219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BE36E2-CBC4-0EC8-7135-780369B6A2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80FB7B7A-01F5-8542-D8CB-28B4DAA0B3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47CC35B3-5611-6F18-8A08-1A4A68FB0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9EEC9116-7B99-F59A-61E6-660160321F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2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72452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950-9251-7024-C6E0-AECC4549D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88672BB8-086B-F395-BB34-03D3AC4018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C2961AC4-CDAE-CE1A-C5E0-29CF3F6CE8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B425A6E0-875F-0325-4370-FEB14AE3FA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2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1726168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0C053B-48F8-7BCD-B020-2C9195FE7A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8CDB9AD9-2834-F031-6E23-2D2821E7EF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A6DA86C9-6E05-862A-5A71-6030DF187F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B921A0A5-CCF1-0A21-72C4-8A1BC2745B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2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3304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5D90B-B040-2114-A293-132C4F3BB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>
            <a:extLst>
              <a:ext uri="{FF2B5EF4-FFF2-40B4-BE49-F238E27FC236}">
                <a16:creationId xmlns:a16="http://schemas.microsoft.com/office/drawing/2014/main" id="{0E11DFC2-7BD3-17D6-3303-52E66057CF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>
            <a:extLst>
              <a:ext uri="{FF2B5EF4-FFF2-40B4-BE49-F238E27FC236}">
                <a16:creationId xmlns:a16="http://schemas.microsoft.com/office/drawing/2014/main" id="{AE8ECCEF-B956-561B-362D-B0C15D5EE1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C4068041-F813-1B3E-0DFB-A1FC36663A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D03CE8-D89D-4F56-9BEC-4E55097D8E23}" type="slidenum">
              <a:rPr lang="uk-UA" smtClean="0"/>
              <a:t>3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95877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D637EE-66E4-D262-ADA7-8FFDD05B5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2832C56B-E6D0-34F1-AEF1-3CB66E0560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830D2E42-9E85-6F19-7730-5F0828FF3B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2C2B07D5-AA1E-5FA8-897D-6ADDB96C4A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04A26032-7BB4-3597-4880-FB499047CB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29900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B9C8EC-AB00-D3C7-EF9F-467DBFF6B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E87AEDAD-8EE5-7FCB-E428-F27D1BA95B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FEC89035-DB67-3143-7112-1D6F7EE87D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77370CFB-2FD7-C7A4-361A-16B999896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6F0F77C7-EB91-FCEA-88C6-746B1924E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FC708CA6-7B9B-36B3-8591-A7DF2E52410F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202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13420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>
            <a:extLst>
              <a:ext uri="{FF2B5EF4-FFF2-40B4-BE49-F238E27FC236}">
                <a16:creationId xmlns:a16="http://schemas.microsoft.com/office/drawing/2014/main" id="{CA55902D-676B-0FF1-EEB3-B50D254652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945EB6FB-6785-1EF1-8AFF-9C63EA7666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B06712E2-7699-10F9-5453-FA65A3BD9B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D2EFD52A-BC77-059B-2C61-0024EC2EB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0951726C-64F2-BAFC-3D50-4A86DDE9E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3827D816-AD52-240B-6DE1-2ECF7B1F1129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202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02290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D637EE-66E4-D262-ADA7-8FFDD05B5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2832C56B-E6D0-34F1-AEF1-3CB66E0560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830D2E42-9E85-6F19-7730-5F0828FF3B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2C2B07D5-AA1E-5FA8-897D-6ADDB96C4A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04A26032-7BB4-3597-4880-FB499047CB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5765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зва та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7AA09A-9F4C-FBD1-C200-9EF67CC64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CEF6024C-3032-F243-7142-6BC02F2ECA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92B99C96-16B3-2C3B-2B96-150928DCE2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289DD49E-AEBE-1CB1-660F-DA2685343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B9BEAD98-E43A-EFCE-CBBB-A82DB703B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7" name="Rechteck 13">
            <a:extLst>
              <a:ext uri="{FF2B5EF4-FFF2-40B4-BE49-F238E27FC236}">
                <a16:creationId xmlns:a16="http://schemas.microsoft.com/office/drawing/2014/main" id="{B34D693E-3F4D-F98C-8786-5A51B8F0C984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833257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Назва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825BFBE-5821-7A0B-5564-970DA6B709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50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25BFBE-5821-7A0B-5564-970DA6B70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0DF497-A81E-A2CD-BC34-D814FC6AA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1E458BFA-A22B-2CC0-BA3B-9ACE584497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19261021-FF79-614A-D38B-49B87654A1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F00E7A5E-22DF-AE2A-339D-B8C9746F9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8C619067-21E9-6B2F-02FC-3F438BB96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3A5C4E60-AD3A-C057-C4B1-0A916B49039B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4083193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40D586-27BA-7DE7-A562-30F995B50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E3D5309E-649A-0236-8736-55919F01E4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4BA597F1-AE18-8AD5-4C05-1C9B2EA5CF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B2DD2B19-6E12-424A-6B71-EB51A82BB8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D2B97037-02DD-86FE-F8F1-D4CBD7D15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A3999DAA-D537-4DC6-A515-BE112CBF5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37E9BD9C-DB5E-753B-49F8-D9CC86D7FFE4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32237617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643F5D-43AE-A851-434C-3294FD34D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A1482E41-D5DA-477C-AC75-F98BAA98E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0A9B24C9-AC09-01BA-132C-60C4902D5C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C4589C05-49DA-39DF-3701-FAD519A82D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6" name="Місце для вмісту 5">
            <a:extLst>
              <a:ext uri="{FF2B5EF4-FFF2-40B4-BE49-F238E27FC236}">
                <a16:creationId xmlns:a16="http://schemas.microsoft.com/office/drawing/2014/main" id="{254BBFBA-1B48-5F1E-C058-D59A0EBD91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>
            <a:extLst>
              <a:ext uri="{FF2B5EF4-FFF2-40B4-BE49-F238E27FC236}">
                <a16:creationId xmlns:a16="http://schemas.microsoft.com/office/drawing/2014/main" id="{7791F969-B726-4EC7-BF50-38730AA160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8" name="Місце для нижнього колонтитула 7">
            <a:extLst>
              <a:ext uri="{FF2B5EF4-FFF2-40B4-BE49-F238E27FC236}">
                <a16:creationId xmlns:a16="http://schemas.microsoft.com/office/drawing/2014/main" id="{AFC37D4F-D485-795A-3F90-6A6636BF0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>
            <a:extLst>
              <a:ext uri="{FF2B5EF4-FFF2-40B4-BE49-F238E27FC236}">
                <a16:creationId xmlns:a16="http://schemas.microsoft.com/office/drawing/2014/main" id="{0A3341BA-2717-1891-59D5-19B4EE61D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11" name="Rechteck 13">
            <a:extLst>
              <a:ext uri="{FF2B5EF4-FFF2-40B4-BE49-F238E27FC236}">
                <a16:creationId xmlns:a16="http://schemas.microsoft.com/office/drawing/2014/main" id="{5FC86A30-1810-3BCB-450D-FAC47EBD057C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8952924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3979A21-5C3F-22DB-781E-AE611B9D49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741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979A21-5C3F-22DB-781E-AE611B9D49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D63652-6FB6-7160-8A70-D1239DAB4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71399B1C-B4E5-C588-AABA-6A7CDCF7C2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20DF1662-DE21-9A3B-44E7-0B03E74E8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2D3CFFF7-9831-57BC-84F2-961CDF611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7" name="Rechteck 13">
            <a:extLst>
              <a:ext uri="{FF2B5EF4-FFF2-40B4-BE49-F238E27FC236}">
                <a16:creationId xmlns:a16="http://schemas.microsoft.com/office/drawing/2014/main" id="{8635F790-63F1-8CC5-B371-631C26435C8B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25765147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>
            <a:extLst>
              <a:ext uri="{FF2B5EF4-FFF2-40B4-BE49-F238E27FC236}">
                <a16:creationId xmlns:a16="http://schemas.microsoft.com/office/drawing/2014/main" id="{1B399240-960E-1CB8-BFDB-8AD690E0F1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3" name="Місце для нижнього колонтитула 2">
            <a:extLst>
              <a:ext uri="{FF2B5EF4-FFF2-40B4-BE49-F238E27FC236}">
                <a16:creationId xmlns:a16="http://schemas.microsoft.com/office/drawing/2014/main" id="{0742FC72-5CA0-231B-8716-32128012F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6FD13874-8BD0-B756-A14E-47CC1790D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6" name="Rechteck 13">
            <a:extLst>
              <a:ext uri="{FF2B5EF4-FFF2-40B4-BE49-F238E27FC236}">
                <a16:creationId xmlns:a16="http://schemas.microsoft.com/office/drawing/2014/main" id="{D85BC89D-0FF7-D409-24A4-AA716BFAD2DC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31980493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A0624F-28FE-C942-C075-5A3F1BA2E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9E0BFB94-4010-B37F-05E2-4C2718100A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C36153FB-64ED-77A7-4697-35B92199CB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528BCF36-A533-4A3E-9CBC-991616F8E1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6054D8DE-508E-2187-0772-EF17ADA85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093FEC9B-B7CC-6F1C-1272-3B61BBC01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840849D2-1488-45AE-C514-BB605A24191D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1560019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зва та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7AA09A-9F4C-FBD1-C200-9EF67CC64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CEF6024C-3032-F243-7142-6BC02F2ECA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92B99C96-16B3-2C3B-2B96-150928DCE2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289DD49E-AEBE-1CB1-660F-DA2685343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B9BEAD98-E43A-EFCE-CBBB-A82DB703B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7" name="Rechteck 13">
            <a:extLst>
              <a:ext uri="{FF2B5EF4-FFF2-40B4-BE49-F238E27FC236}">
                <a16:creationId xmlns:a16="http://schemas.microsoft.com/office/drawing/2014/main" id="{B34D693E-3F4D-F98C-8786-5A51B8F0C984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19780223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215EB5-C4D5-7F6E-A7F2-A68F3AD21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зображення 2">
            <a:extLst>
              <a:ext uri="{FF2B5EF4-FFF2-40B4-BE49-F238E27FC236}">
                <a16:creationId xmlns:a16="http://schemas.microsoft.com/office/drawing/2014/main" id="{250C49EE-89D1-A32D-C09C-8F478772D5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EB85CBE6-1B6F-FBD7-DA9C-ACA7F70E6B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70A04F20-45F0-1495-B4A4-CBD20A62D8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0D8D37FD-EEE1-B293-9D7F-AF407CBA4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71D565BE-FD73-C44F-69CF-45D7CF57E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52578B41-F90B-AE2B-AAB5-663167C1E567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21684129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B9C8EC-AB00-D3C7-EF9F-467DBFF6B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E87AEDAD-8EE5-7FCB-E428-F27D1BA95B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FEC89035-DB67-3143-7112-1D6F7EE87D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77370CFB-2FD7-C7A4-361A-16B999896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6F0F77C7-EB91-FCEA-88C6-746B1924E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FC708CA6-7B9B-36B3-8591-A7DF2E52410F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11072459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>
            <a:extLst>
              <a:ext uri="{FF2B5EF4-FFF2-40B4-BE49-F238E27FC236}">
                <a16:creationId xmlns:a16="http://schemas.microsoft.com/office/drawing/2014/main" id="{CA55902D-676B-0FF1-EEB3-B50D254652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945EB6FB-6785-1EF1-8AFF-9C63EA7666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B06712E2-7699-10F9-5453-FA65A3BD9B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D2EFD52A-BC77-059B-2C61-0024EC2EB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0951726C-64F2-BAFC-3D50-4A86DDE9E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3827D816-AD52-240B-6DE1-2ECF7B1F1129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Дослідження репутації та цінностей Контінентал серед працівників компанії 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| 2025</a:t>
            </a:r>
          </a:p>
        </p:txBody>
      </p:sp>
    </p:spTree>
    <p:extLst>
      <p:ext uri="{BB962C8B-B14F-4D97-AF65-F5344CB8AC3E}">
        <p14:creationId xmlns:p14="http://schemas.microsoft.com/office/powerpoint/2010/main" val="21196644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Назва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825BFBE-5821-7A0B-5564-970DA6B709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50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25BFBE-5821-7A0B-5564-970DA6B70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0DF497-A81E-A2CD-BC34-D814FC6AA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1E458BFA-A22B-2CC0-BA3B-9ACE584497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19261021-FF79-614A-D38B-49B87654A1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F00E7A5E-22DF-AE2A-339D-B8C9746F9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8C619067-21E9-6B2F-02FC-3F438BB96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3A5C4E60-AD3A-C057-C4B1-0A916B49039B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202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35939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40D586-27BA-7DE7-A562-30F995B50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E3D5309E-649A-0236-8736-55919F01E4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4BA597F1-AE18-8AD5-4C05-1C9B2EA5CF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B2DD2B19-6E12-424A-6B71-EB51A82BB8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D2B97037-02DD-86FE-F8F1-D4CBD7D15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A3999DAA-D537-4DC6-A515-BE112CBF5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37E9BD9C-DB5E-753B-49F8-D9CC86D7FFE4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202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48781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643F5D-43AE-A851-434C-3294FD34D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A1482E41-D5DA-477C-AC75-F98BAA98E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0A9B24C9-AC09-01BA-132C-60C4902D5C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C4589C05-49DA-39DF-3701-FAD519A82D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6" name="Місце для вмісту 5">
            <a:extLst>
              <a:ext uri="{FF2B5EF4-FFF2-40B4-BE49-F238E27FC236}">
                <a16:creationId xmlns:a16="http://schemas.microsoft.com/office/drawing/2014/main" id="{254BBFBA-1B48-5F1E-C058-D59A0EBD91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>
            <a:extLst>
              <a:ext uri="{FF2B5EF4-FFF2-40B4-BE49-F238E27FC236}">
                <a16:creationId xmlns:a16="http://schemas.microsoft.com/office/drawing/2014/main" id="{7791F969-B726-4EC7-BF50-38730AA160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8" name="Місце для нижнього колонтитула 7">
            <a:extLst>
              <a:ext uri="{FF2B5EF4-FFF2-40B4-BE49-F238E27FC236}">
                <a16:creationId xmlns:a16="http://schemas.microsoft.com/office/drawing/2014/main" id="{AFC37D4F-D485-795A-3F90-6A6636BF0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>
            <a:extLst>
              <a:ext uri="{FF2B5EF4-FFF2-40B4-BE49-F238E27FC236}">
                <a16:creationId xmlns:a16="http://schemas.microsoft.com/office/drawing/2014/main" id="{0A3341BA-2717-1891-59D5-19B4EE61D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11" name="Rechteck 13">
            <a:extLst>
              <a:ext uri="{FF2B5EF4-FFF2-40B4-BE49-F238E27FC236}">
                <a16:creationId xmlns:a16="http://schemas.microsoft.com/office/drawing/2014/main" id="{5FC86A30-1810-3BCB-450D-FAC47EBD057C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202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4091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3979A21-5C3F-22DB-781E-AE611B9D49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741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979A21-5C3F-22DB-781E-AE611B9D49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D63652-6FB6-7160-8A70-D1239DAB4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71399B1C-B4E5-C588-AABA-6A7CDCF7C2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20DF1662-DE21-9A3B-44E7-0B03E74E8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2D3CFFF7-9831-57BC-84F2-961CDF611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7" name="Rechteck 13">
            <a:extLst>
              <a:ext uri="{FF2B5EF4-FFF2-40B4-BE49-F238E27FC236}">
                <a16:creationId xmlns:a16="http://schemas.microsoft.com/office/drawing/2014/main" id="{8635F790-63F1-8CC5-B371-631C26435C8B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202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135067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>
            <a:extLst>
              <a:ext uri="{FF2B5EF4-FFF2-40B4-BE49-F238E27FC236}">
                <a16:creationId xmlns:a16="http://schemas.microsoft.com/office/drawing/2014/main" id="{1B399240-960E-1CB8-BFDB-8AD690E0F1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3" name="Місце для нижнього колонтитула 2">
            <a:extLst>
              <a:ext uri="{FF2B5EF4-FFF2-40B4-BE49-F238E27FC236}">
                <a16:creationId xmlns:a16="http://schemas.microsoft.com/office/drawing/2014/main" id="{0742FC72-5CA0-231B-8716-32128012F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6FD13874-8BD0-B756-A14E-47CC1790D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6" name="Rechteck 13">
            <a:extLst>
              <a:ext uri="{FF2B5EF4-FFF2-40B4-BE49-F238E27FC236}">
                <a16:creationId xmlns:a16="http://schemas.microsoft.com/office/drawing/2014/main" id="{D85BC89D-0FF7-D409-24A4-AA716BFAD2DC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202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17878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A0624F-28FE-C942-C075-5A3F1BA2E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9E0BFB94-4010-B37F-05E2-4C2718100A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C36153FB-64ED-77A7-4697-35B92199CB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528BCF36-A533-4A3E-9CBC-991616F8E1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6054D8DE-508E-2187-0772-EF17ADA85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093FEC9B-B7CC-6F1C-1272-3B61BBC01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840849D2-1488-45AE-C514-BB605A24191D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202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94375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215EB5-C4D5-7F6E-A7F2-A68F3AD21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зображення 2">
            <a:extLst>
              <a:ext uri="{FF2B5EF4-FFF2-40B4-BE49-F238E27FC236}">
                <a16:creationId xmlns:a16="http://schemas.microsoft.com/office/drawing/2014/main" id="{250C49EE-89D1-A32D-C09C-8F478772D5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EB85CBE6-1B6F-FBD7-DA9C-ACA7F70E6B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70A04F20-45F0-1495-B4A4-CBD20A62D8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66B297-D3CB-42D7-B010-F6258F7E9B44}" type="datetimeFigureOut">
              <a:rPr lang="uk-UA" smtClean="0"/>
              <a:t>25.07.2025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0D8D37FD-EEE1-B293-9D7F-AF407CBA4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71D565BE-FD73-C44F-69CF-45D7CF57E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7E214E-E690-42E3-907C-3BF93F2DDB2C}" type="slidenum">
              <a:rPr lang="uk-UA" smtClean="0"/>
              <a:t>‹#›</a:t>
            </a:fld>
            <a:endParaRPr lang="uk-UA"/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52578B41-F90B-AE2B-AAB5-663167C1E567}"/>
              </a:ext>
            </a:extLst>
          </p:cNvPr>
          <p:cNvSpPr/>
          <p:nvPr userDrawn="1"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j-lt"/>
              </a:rPr>
              <a:t>© CBR |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итування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лод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інницької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ТГ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2025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449829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1D93E1-C534-51BA-A215-2EC67B423E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94350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1D93E1-C534-51BA-A215-2EC67B423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Місце для заголовка 1">
            <a:extLst>
              <a:ext uri="{FF2B5EF4-FFF2-40B4-BE49-F238E27FC236}">
                <a16:creationId xmlns:a16="http://schemas.microsoft.com/office/drawing/2014/main" id="{3C39E0D7-36CB-6F62-FCB1-6838D765F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3C82A1B0-C1F0-EE2D-6164-40A1902BA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2470EA8C-73A6-7D42-EA2D-B4F21D2FED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25680" b="25182"/>
          <a:stretch/>
        </p:blipFill>
        <p:spPr>
          <a:xfrm>
            <a:off x="10813162" y="100941"/>
            <a:ext cx="1245994" cy="612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350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1D93E1-C534-51BA-A215-2EC67B423E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94350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1D93E1-C534-51BA-A215-2EC67B423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Місце для заголовка 1">
            <a:extLst>
              <a:ext uri="{FF2B5EF4-FFF2-40B4-BE49-F238E27FC236}">
                <a16:creationId xmlns:a16="http://schemas.microsoft.com/office/drawing/2014/main" id="{3C39E0D7-36CB-6F62-FCB1-6838D765F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3C82A1B0-C1F0-EE2D-6164-40A1902BA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2470EA8C-73A6-7D42-EA2D-B4F21D2FED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t="25680" b="25182"/>
          <a:stretch/>
        </p:blipFill>
        <p:spPr>
          <a:xfrm>
            <a:off x="10813162" y="100941"/>
            <a:ext cx="1245994" cy="612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500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4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4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6" Type="http://schemas.openxmlformats.org/officeDocument/2006/relationships/chart" Target="../charts/chart42.xml"/><Relationship Id="rId5" Type="http://schemas.openxmlformats.org/officeDocument/2006/relationships/chart" Target="../charts/chart41.xml"/><Relationship Id="rId4" Type="http://schemas.openxmlformats.org/officeDocument/2006/relationships/image" Target="../media/image1.emf"/><Relationship Id="rId9" Type="http://schemas.openxmlformats.org/officeDocument/2006/relationships/chart" Target="../charts/chart45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32.xml"/><Relationship Id="rId13" Type="http://schemas.openxmlformats.org/officeDocument/2006/relationships/chart" Target="../charts/chart437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431.xml"/><Relationship Id="rId12" Type="http://schemas.openxmlformats.org/officeDocument/2006/relationships/chart" Target="../charts/chart43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7.xml"/><Relationship Id="rId6" Type="http://schemas.openxmlformats.org/officeDocument/2006/relationships/chart" Target="../charts/chart430.xml"/><Relationship Id="rId11" Type="http://schemas.openxmlformats.org/officeDocument/2006/relationships/chart" Target="../charts/chart435.xml"/><Relationship Id="rId5" Type="http://schemas.openxmlformats.org/officeDocument/2006/relationships/chart" Target="../charts/chart429.xml"/><Relationship Id="rId10" Type="http://schemas.openxmlformats.org/officeDocument/2006/relationships/chart" Target="../charts/chart434.xml"/><Relationship Id="rId4" Type="http://schemas.openxmlformats.org/officeDocument/2006/relationships/image" Target="../media/image1.emf"/><Relationship Id="rId9" Type="http://schemas.openxmlformats.org/officeDocument/2006/relationships/chart" Target="../charts/chart433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8.xml"/><Relationship Id="rId4" Type="http://schemas.openxmlformats.org/officeDocument/2006/relationships/image" Target="../media/image1.emf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41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44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9.xml"/><Relationship Id="rId6" Type="http://schemas.openxmlformats.org/officeDocument/2006/relationships/chart" Target="../charts/chart439.xml"/><Relationship Id="rId5" Type="http://schemas.openxmlformats.org/officeDocument/2006/relationships/chart" Target="../charts/chart438.xml"/><Relationship Id="rId4" Type="http://schemas.openxmlformats.org/officeDocument/2006/relationships/image" Target="../media/image1.emf"/><Relationship Id="rId9" Type="http://schemas.openxmlformats.org/officeDocument/2006/relationships/chart" Target="../charts/chart442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46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44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0.xml"/><Relationship Id="rId6" Type="http://schemas.openxmlformats.org/officeDocument/2006/relationships/chart" Target="../charts/chart444.xml"/><Relationship Id="rId5" Type="http://schemas.openxmlformats.org/officeDocument/2006/relationships/chart" Target="../charts/chart443.xml"/><Relationship Id="rId4" Type="http://schemas.openxmlformats.org/officeDocument/2006/relationships/image" Target="../media/image1.emf"/><Relationship Id="rId9" Type="http://schemas.openxmlformats.org/officeDocument/2006/relationships/chart" Target="../charts/chart447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1.xml"/><Relationship Id="rId4" Type="http://schemas.openxmlformats.org/officeDocument/2006/relationships/image" Target="../media/image1.emf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51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45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2.xml"/><Relationship Id="rId6" Type="http://schemas.openxmlformats.org/officeDocument/2006/relationships/chart" Target="../charts/chart449.xml"/><Relationship Id="rId5" Type="http://schemas.openxmlformats.org/officeDocument/2006/relationships/chart" Target="../charts/chart448.xml"/><Relationship Id="rId4" Type="http://schemas.openxmlformats.org/officeDocument/2006/relationships/image" Target="../media/image1.emf"/><Relationship Id="rId9" Type="http://schemas.openxmlformats.org/officeDocument/2006/relationships/chart" Target="../charts/chart45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1.emf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55.xml"/><Relationship Id="rId13" Type="http://schemas.openxmlformats.org/officeDocument/2006/relationships/chart" Target="../charts/chart460.xml"/><Relationship Id="rId3" Type="http://schemas.openxmlformats.org/officeDocument/2006/relationships/notesSlide" Target="../notesSlides/notesSlide37.xml"/><Relationship Id="rId7" Type="http://schemas.openxmlformats.org/officeDocument/2006/relationships/chart" Target="../charts/chart454.xml"/><Relationship Id="rId12" Type="http://schemas.openxmlformats.org/officeDocument/2006/relationships/chart" Target="../charts/chart459.xml"/><Relationship Id="rId2" Type="http://schemas.openxmlformats.org/officeDocument/2006/relationships/slideLayout" Target="../slideLayouts/slideLayout6.xml"/><Relationship Id="rId16" Type="http://schemas.openxmlformats.org/officeDocument/2006/relationships/chart" Target="../charts/chart463.xml"/><Relationship Id="rId1" Type="http://schemas.openxmlformats.org/officeDocument/2006/relationships/tags" Target="../tags/tag114.xml"/><Relationship Id="rId6" Type="http://schemas.openxmlformats.org/officeDocument/2006/relationships/chart" Target="../charts/chart453.xml"/><Relationship Id="rId11" Type="http://schemas.openxmlformats.org/officeDocument/2006/relationships/chart" Target="../charts/chart458.xml"/><Relationship Id="rId5" Type="http://schemas.openxmlformats.org/officeDocument/2006/relationships/image" Target="../media/image1.emf"/><Relationship Id="rId15" Type="http://schemas.openxmlformats.org/officeDocument/2006/relationships/chart" Target="../charts/chart462.xml"/><Relationship Id="rId10" Type="http://schemas.openxmlformats.org/officeDocument/2006/relationships/chart" Target="../charts/chart457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456.xml"/><Relationship Id="rId14" Type="http://schemas.openxmlformats.org/officeDocument/2006/relationships/chart" Target="../charts/chart461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6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9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4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6" Type="http://schemas.openxmlformats.org/officeDocument/2006/relationships/chart" Target="../charts/chart47.xml"/><Relationship Id="rId5" Type="http://schemas.openxmlformats.org/officeDocument/2006/relationships/chart" Target="../charts/chart46.xml"/><Relationship Id="rId4" Type="http://schemas.openxmlformats.org/officeDocument/2006/relationships/image" Target="../media/image1.emf"/><Relationship Id="rId9" Type="http://schemas.openxmlformats.org/officeDocument/2006/relationships/chart" Target="../charts/chart50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7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3.xml"/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5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6" Type="http://schemas.openxmlformats.org/officeDocument/2006/relationships/chart" Target="../charts/chart51.xml"/><Relationship Id="rId11" Type="http://schemas.openxmlformats.org/officeDocument/2006/relationships/chart" Target="../charts/chart56.xml"/><Relationship Id="rId5" Type="http://schemas.openxmlformats.org/officeDocument/2006/relationships/image" Target="../media/image1.emf"/><Relationship Id="rId10" Type="http://schemas.openxmlformats.org/officeDocument/2006/relationships/chart" Target="../charts/chart55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5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0.xml"/><Relationship Id="rId13" Type="http://schemas.openxmlformats.org/officeDocument/2006/relationships/chart" Target="../charts/chart65.xml"/><Relationship Id="rId3" Type="http://schemas.openxmlformats.org/officeDocument/2006/relationships/chart" Target="../charts/chart57.xml"/><Relationship Id="rId7" Type="http://schemas.openxmlformats.org/officeDocument/2006/relationships/chart" Target="../charts/chart59.xml"/><Relationship Id="rId12" Type="http://schemas.openxmlformats.org/officeDocument/2006/relationships/chart" Target="../charts/chart6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6" Type="http://schemas.openxmlformats.org/officeDocument/2006/relationships/chart" Target="../charts/chart58.xml"/><Relationship Id="rId11" Type="http://schemas.openxmlformats.org/officeDocument/2006/relationships/chart" Target="../charts/chart63.xml"/><Relationship Id="rId5" Type="http://schemas.openxmlformats.org/officeDocument/2006/relationships/image" Target="../media/image1.emf"/><Relationship Id="rId10" Type="http://schemas.openxmlformats.org/officeDocument/2006/relationships/chart" Target="../charts/chart62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61.xml"/><Relationship Id="rId14" Type="http://schemas.openxmlformats.org/officeDocument/2006/relationships/chart" Target="../charts/chart6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6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6" Type="http://schemas.openxmlformats.org/officeDocument/2006/relationships/chart" Target="../charts/chart68.xml"/><Relationship Id="rId5" Type="http://schemas.openxmlformats.org/officeDocument/2006/relationships/chart" Target="../charts/chart67.xml"/><Relationship Id="rId4" Type="http://schemas.openxmlformats.org/officeDocument/2006/relationships/image" Target="../media/image1.emf"/><Relationship Id="rId9" Type="http://schemas.openxmlformats.org/officeDocument/2006/relationships/chart" Target="../charts/chart7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4.xml"/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7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6" Type="http://schemas.openxmlformats.org/officeDocument/2006/relationships/chart" Target="../charts/chart72.xml"/><Relationship Id="rId11" Type="http://schemas.openxmlformats.org/officeDocument/2006/relationships/chart" Target="../charts/chart77.xml"/><Relationship Id="rId5" Type="http://schemas.openxmlformats.org/officeDocument/2006/relationships/image" Target="../media/image1.emf"/><Relationship Id="rId10" Type="http://schemas.openxmlformats.org/officeDocument/2006/relationships/chart" Target="../charts/chart76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7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0.xml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7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6" Type="http://schemas.openxmlformats.org/officeDocument/2006/relationships/chart" Target="../charts/chart78.xml"/><Relationship Id="rId11" Type="http://schemas.openxmlformats.org/officeDocument/2006/relationships/chart" Target="../charts/chart83.xml"/><Relationship Id="rId5" Type="http://schemas.openxmlformats.org/officeDocument/2006/relationships/image" Target="../media/image1.emf"/><Relationship Id="rId10" Type="http://schemas.openxmlformats.org/officeDocument/2006/relationships/chart" Target="../charts/chart82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8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8.xml"/><Relationship Id="rId6" Type="http://schemas.openxmlformats.org/officeDocument/2006/relationships/chart" Target="../charts/chart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7.xml"/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8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6" Type="http://schemas.openxmlformats.org/officeDocument/2006/relationships/chart" Target="../charts/chart85.xml"/><Relationship Id="rId11" Type="http://schemas.openxmlformats.org/officeDocument/2006/relationships/chart" Target="../charts/chart90.xml"/><Relationship Id="rId5" Type="http://schemas.openxmlformats.org/officeDocument/2006/relationships/image" Target="../media/image1.emf"/><Relationship Id="rId10" Type="http://schemas.openxmlformats.org/officeDocument/2006/relationships/chart" Target="../charts/chart89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8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3.xml"/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9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2.xml"/><Relationship Id="rId6" Type="http://schemas.openxmlformats.org/officeDocument/2006/relationships/chart" Target="../charts/chart91.xml"/><Relationship Id="rId5" Type="http://schemas.openxmlformats.org/officeDocument/2006/relationships/image" Target="../media/image1.emf"/><Relationship Id="rId10" Type="http://schemas.openxmlformats.org/officeDocument/2006/relationships/chart" Target="../charts/chart95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9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8.xml"/><Relationship Id="rId3" Type="http://schemas.openxmlformats.org/officeDocument/2006/relationships/notesSlide" Target="../notesSlides/notesSlide7.xml"/><Relationship Id="rId7" Type="http://schemas.openxmlformats.org/officeDocument/2006/relationships/chart" Target="../charts/chart9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Relationship Id="rId6" Type="http://schemas.openxmlformats.org/officeDocument/2006/relationships/chart" Target="../charts/chart96.xml"/><Relationship Id="rId5" Type="http://schemas.openxmlformats.org/officeDocument/2006/relationships/image" Target="../media/image1.emf"/><Relationship Id="rId10" Type="http://schemas.openxmlformats.org/officeDocument/2006/relationships/chart" Target="../charts/chart100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9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3.xml"/><Relationship Id="rId3" Type="http://schemas.openxmlformats.org/officeDocument/2006/relationships/notesSlide" Target="../notesSlides/notesSlide8.xml"/><Relationship Id="rId7" Type="http://schemas.openxmlformats.org/officeDocument/2006/relationships/chart" Target="../charts/chart10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Relationship Id="rId6" Type="http://schemas.openxmlformats.org/officeDocument/2006/relationships/chart" Target="../charts/chart101.xml"/><Relationship Id="rId11" Type="http://schemas.openxmlformats.org/officeDocument/2006/relationships/chart" Target="../charts/chart106.xml"/><Relationship Id="rId5" Type="http://schemas.openxmlformats.org/officeDocument/2006/relationships/image" Target="../media/image1.emf"/><Relationship Id="rId10" Type="http://schemas.openxmlformats.org/officeDocument/2006/relationships/chart" Target="../charts/chart105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10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10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5.xml"/><Relationship Id="rId6" Type="http://schemas.openxmlformats.org/officeDocument/2006/relationships/chart" Target="../charts/chart108.xml"/><Relationship Id="rId5" Type="http://schemas.openxmlformats.org/officeDocument/2006/relationships/chart" Target="../charts/chart107.xml"/><Relationship Id="rId4" Type="http://schemas.openxmlformats.org/officeDocument/2006/relationships/image" Target="../media/image1.emf"/><Relationship Id="rId9" Type="http://schemas.openxmlformats.org/officeDocument/2006/relationships/chart" Target="../charts/chart11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5.xml"/><Relationship Id="rId13" Type="http://schemas.openxmlformats.org/officeDocument/2006/relationships/chart" Target="../charts/chart12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114.xml"/><Relationship Id="rId12" Type="http://schemas.openxmlformats.org/officeDocument/2006/relationships/chart" Target="../charts/chart11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6.xml"/><Relationship Id="rId6" Type="http://schemas.openxmlformats.org/officeDocument/2006/relationships/chart" Target="../charts/chart113.xml"/><Relationship Id="rId11" Type="http://schemas.openxmlformats.org/officeDocument/2006/relationships/chart" Target="../charts/chart118.xml"/><Relationship Id="rId5" Type="http://schemas.openxmlformats.org/officeDocument/2006/relationships/chart" Target="../charts/chart112.xml"/><Relationship Id="rId10" Type="http://schemas.openxmlformats.org/officeDocument/2006/relationships/chart" Target="../charts/chart117.xml"/><Relationship Id="rId4" Type="http://schemas.openxmlformats.org/officeDocument/2006/relationships/image" Target="../media/image1.emf"/><Relationship Id="rId9" Type="http://schemas.openxmlformats.org/officeDocument/2006/relationships/chart" Target="../charts/chart116.xml"/><Relationship Id="rId14" Type="http://schemas.openxmlformats.org/officeDocument/2006/relationships/chart" Target="../charts/chart1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5.xml"/><Relationship Id="rId13" Type="http://schemas.openxmlformats.org/officeDocument/2006/relationships/chart" Target="../charts/chart13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124.xml"/><Relationship Id="rId12" Type="http://schemas.openxmlformats.org/officeDocument/2006/relationships/chart" Target="../charts/chart12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7.xml"/><Relationship Id="rId6" Type="http://schemas.openxmlformats.org/officeDocument/2006/relationships/chart" Target="../charts/chart123.xml"/><Relationship Id="rId11" Type="http://schemas.openxmlformats.org/officeDocument/2006/relationships/chart" Target="../charts/chart128.xml"/><Relationship Id="rId5" Type="http://schemas.openxmlformats.org/officeDocument/2006/relationships/chart" Target="../charts/chart122.xml"/><Relationship Id="rId10" Type="http://schemas.openxmlformats.org/officeDocument/2006/relationships/chart" Target="../charts/chart127.xml"/><Relationship Id="rId4" Type="http://schemas.openxmlformats.org/officeDocument/2006/relationships/image" Target="../media/image1.emf"/><Relationship Id="rId9" Type="http://schemas.openxmlformats.org/officeDocument/2006/relationships/chart" Target="../charts/chart126.xml"/><Relationship Id="rId14" Type="http://schemas.openxmlformats.org/officeDocument/2006/relationships/chart" Target="../charts/chart13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4.xml"/><Relationship Id="rId3" Type="http://schemas.openxmlformats.org/officeDocument/2006/relationships/notesSlide" Target="../notesSlides/notesSlide9.xml"/><Relationship Id="rId7" Type="http://schemas.openxmlformats.org/officeDocument/2006/relationships/chart" Target="../charts/chart13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9.xml"/><Relationship Id="rId6" Type="http://schemas.openxmlformats.org/officeDocument/2006/relationships/chart" Target="../charts/chart132.xml"/><Relationship Id="rId5" Type="http://schemas.openxmlformats.org/officeDocument/2006/relationships/image" Target="../media/image1.emf"/><Relationship Id="rId10" Type="http://schemas.openxmlformats.org/officeDocument/2006/relationships/chart" Target="../charts/chart136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13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13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1.xml"/><Relationship Id="rId6" Type="http://schemas.openxmlformats.org/officeDocument/2006/relationships/chart" Target="../charts/chart138.xml"/><Relationship Id="rId5" Type="http://schemas.openxmlformats.org/officeDocument/2006/relationships/chart" Target="../charts/chart137.xml"/><Relationship Id="rId4" Type="http://schemas.openxmlformats.org/officeDocument/2006/relationships/image" Target="../media/image1.emf"/><Relationship Id="rId9" Type="http://schemas.openxmlformats.org/officeDocument/2006/relationships/chart" Target="../charts/chart14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4.xml"/><Relationship Id="rId13" Type="http://schemas.openxmlformats.org/officeDocument/2006/relationships/chart" Target="../charts/chart149.xml"/><Relationship Id="rId3" Type="http://schemas.openxmlformats.org/officeDocument/2006/relationships/notesSlide" Target="../notesSlides/notesSlide10.xml"/><Relationship Id="rId7" Type="http://schemas.openxmlformats.org/officeDocument/2006/relationships/chart" Target="../charts/chart143.xml"/><Relationship Id="rId12" Type="http://schemas.openxmlformats.org/officeDocument/2006/relationships/chart" Target="../charts/chart14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2.xml"/><Relationship Id="rId6" Type="http://schemas.openxmlformats.org/officeDocument/2006/relationships/chart" Target="../charts/chart142.xml"/><Relationship Id="rId11" Type="http://schemas.openxmlformats.org/officeDocument/2006/relationships/chart" Target="../charts/chart147.xml"/><Relationship Id="rId5" Type="http://schemas.openxmlformats.org/officeDocument/2006/relationships/image" Target="../media/image1.emf"/><Relationship Id="rId15" Type="http://schemas.openxmlformats.org/officeDocument/2006/relationships/chart" Target="../charts/chart151.xml"/><Relationship Id="rId10" Type="http://schemas.openxmlformats.org/officeDocument/2006/relationships/chart" Target="../charts/chart146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145.xml"/><Relationship Id="rId14" Type="http://schemas.openxmlformats.org/officeDocument/2006/relationships/chart" Target="../charts/chart150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4.xml"/><Relationship Id="rId13" Type="http://schemas.openxmlformats.org/officeDocument/2006/relationships/chart" Target="../charts/chart159.xml"/><Relationship Id="rId3" Type="http://schemas.openxmlformats.org/officeDocument/2006/relationships/notesSlide" Target="../notesSlides/notesSlide11.xml"/><Relationship Id="rId7" Type="http://schemas.openxmlformats.org/officeDocument/2006/relationships/chart" Target="../charts/chart153.xml"/><Relationship Id="rId12" Type="http://schemas.openxmlformats.org/officeDocument/2006/relationships/chart" Target="../charts/chart15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3.xml"/><Relationship Id="rId6" Type="http://schemas.openxmlformats.org/officeDocument/2006/relationships/chart" Target="../charts/chart152.xml"/><Relationship Id="rId11" Type="http://schemas.openxmlformats.org/officeDocument/2006/relationships/chart" Target="../charts/chart157.xml"/><Relationship Id="rId5" Type="http://schemas.openxmlformats.org/officeDocument/2006/relationships/image" Target="../media/image1.emf"/><Relationship Id="rId15" Type="http://schemas.openxmlformats.org/officeDocument/2006/relationships/chart" Target="../charts/chart161.xml"/><Relationship Id="rId10" Type="http://schemas.openxmlformats.org/officeDocument/2006/relationships/chart" Target="../charts/chart156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155.xml"/><Relationship Id="rId14" Type="http://schemas.openxmlformats.org/officeDocument/2006/relationships/chart" Target="../charts/chart160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5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16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4.xml"/><Relationship Id="rId6" Type="http://schemas.openxmlformats.org/officeDocument/2006/relationships/chart" Target="../charts/chart163.xml"/><Relationship Id="rId5" Type="http://schemas.openxmlformats.org/officeDocument/2006/relationships/chart" Target="../charts/chart162.xml"/><Relationship Id="rId4" Type="http://schemas.openxmlformats.org/officeDocument/2006/relationships/image" Target="../media/image1.emf"/><Relationship Id="rId9" Type="http://schemas.openxmlformats.org/officeDocument/2006/relationships/chart" Target="../charts/chart16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9.xml"/><Relationship Id="rId13" Type="http://schemas.openxmlformats.org/officeDocument/2006/relationships/chart" Target="../charts/chart174.xml"/><Relationship Id="rId3" Type="http://schemas.openxmlformats.org/officeDocument/2006/relationships/notesSlide" Target="../notesSlides/notesSlide12.xml"/><Relationship Id="rId7" Type="http://schemas.openxmlformats.org/officeDocument/2006/relationships/chart" Target="../charts/chart168.xml"/><Relationship Id="rId12" Type="http://schemas.openxmlformats.org/officeDocument/2006/relationships/chart" Target="../charts/chart17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5.xml"/><Relationship Id="rId6" Type="http://schemas.openxmlformats.org/officeDocument/2006/relationships/chart" Target="../charts/chart167.xml"/><Relationship Id="rId11" Type="http://schemas.openxmlformats.org/officeDocument/2006/relationships/chart" Target="../charts/chart172.xml"/><Relationship Id="rId5" Type="http://schemas.openxmlformats.org/officeDocument/2006/relationships/image" Target="../media/image1.emf"/><Relationship Id="rId15" Type="http://schemas.openxmlformats.org/officeDocument/2006/relationships/chart" Target="../charts/chart176.xml"/><Relationship Id="rId10" Type="http://schemas.openxmlformats.org/officeDocument/2006/relationships/chart" Target="../charts/chart171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170.xml"/><Relationship Id="rId14" Type="http://schemas.openxmlformats.org/officeDocument/2006/relationships/chart" Target="../charts/chart17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9.xml"/><Relationship Id="rId13" Type="http://schemas.openxmlformats.org/officeDocument/2006/relationships/chart" Target="../charts/chart184.xml"/><Relationship Id="rId18" Type="http://schemas.openxmlformats.org/officeDocument/2006/relationships/chart" Target="../charts/chart189.xml"/><Relationship Id="rId3" Type="http://schemas.openxmlformats.org/officeDocument/2006/relationships/notesSlide" Target="../notesSlides/notesSlide13.xml"/><Relationship Id="rId7" Type="http://schemas.openxmlformats.org/officeDocument/2006/relationships/chart" Target="../charts/chart178.xml"/><Relationship Id="rId12" Type="http://schemas.openxmlformats.org/officeDocument/2006/relationships/chart" Target="../charts/chart183.xml"/><Relationship Id="rId17" Type="http://schemas.openxmlformats.org/officeDocument/2006/relationships/chart" Target="../charts/chart188.xml"/><Relationship Id="rId2" Type="http://schemas.openxmlformats.org/officeDocument/2006/relationships/slideLayout" Target="../slideLayouts/slideLayout6.xml"/><Relationship Id="rId16" Type="http://schemas.openxmlformats.org/officeDocument/2006/relationships/chart" Target="../charts/chart187.xml"/><Relationship Id="rId20" Type="http://schemas.openxmlformats.org/officeDocument/2006/relationships/chart" Target="../charts/chart191.xml"/><Relationship Id="rId1" Type="http://schemas.openxmlformats.org/officeDocument/2006/relationships/tags" Target="../tags/tag46.xml"/><Relationship Id="rId6" Type="http://schemas.openxmlformats.org/officeDocument/2006/relationships/chart" Target="../charts/chart177.xml"/><Relationship Id="rId11" Type="http://schemas.openxmlformats.org/officeDocument/2006/relationships/chart" Target="../charts/chart182.xml"/><Relationship Id="rId5" Type="http://schemas.openxmlformats.org/officeDocument/2006/relationships/image" Target="../media/image1.emf"/><Relationship Id="rId15" Type="http://schemas.openxmlformats.org/officeDocument/2006/relationships/chart" Target="../charts/chart186.xml"/><Relationship Id="rId10" Type="http://schemas.openxmlformats.org/officeDocument/2006/relationships/chart" Target="../charts/chart181.xml"/><Relationship Id="rId19" Type="http://schemas.openxmlformats.org/officeDocument/2006/relationships/chart" Target="../charts/chart190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180.xml"/><Relationship Id="rId14" Type="http://schemas.openxmlformats.org/officeDocument/2006/relationships/chart" Target="../charts/chart18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4.xml"/><Relationship Id="rId13" Type="http://schemas.openxmlformats.org/officeDocument/2006/relationships/chart" Target="../charts/chart199.xml"/><Relationship Id="rId18" Type="http://schemas.openxmlformats.org/officeDocument/2006/relationships/chart" Target="../charts/chart204.xml"/><Relationship Id="rId3" Type="http://schemas.openxmlformats.org/officeDocument/2006/relationships/notesSlide" Target="../notesSlides/notesSlide14.xml"/><Relationship Id="rId7" Type="http://schemas.openxmlformats.org/officeDocument/2006/relationships/chart" Target="../charts/chart193.xml"/><Relationship Id="rId12" Type="http://schemas.openxmlformats.org/officeDocument/2006/relationships/chart" Target="../charts/chart198.xml"/><Relationship Id="rId17" Type="http://schemas.openxmlformats.org/officeDocument/2006/relationships/chart" Target="../charts/chart203.xml"/><Relationship Id="rId2" Type="http://schemas.openxmlformats.org/officeDocument/2006/relationships/slideLayout" Target="../slideLayouts/slideLayout6.xml"/><Relationship Id="rId16" Type="http://schemas.openxmlformats.org/officeDocument/2006/relationships/chart" Target="../charts/chart202.xml"/><Relationship Id="rId20" Type="http://schemas.openxmlformats.org/officeDocument/2006/relationships/chart" Target="../charts/chart206.xml"/><Relationship Id="rId1" Type="http://schemas.openxmlformats.org/officeDocument/2006/relationships/tags" Target="../tags/tag47.xml"/><Relationship Id="rId6" Type="http://schemas.openxmlformats.org/officeDocument/2006/relationships/chart" Target="../charts/chart192.xml"/><Relationship Id="rId11" Type="http://schemas.openxmlformats.org/officeDocument/2006/relationships/chart" Target="../charts/chart197.xml"/><Relationship Id="rId5" Type="http://schemas.openxmlformats.org/officeDocument/2006/relationships/image" Target="../media/image1.emf"/><Relationship Id="rId15" Type="http://schemas.openxmlformats.org/officeDocument/2006/relationships/chart" Target="../charts/chart201.xml"/><Relationship Id="rId10" Type="http://schemas.openxmlformats.org/officeDocument/2006/relationships/chart" Target="../charts/chart196.xml"/><Relationship Id="rId19" Type="http://schemas.openxmlformats.org/officeDocument/2006/relationships/chart" Target="../charts/chart205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195.xml"/><Relationship Id="rId14" Type="http://schemas.openxmlformats.org/officeDocument/2006/relationships/chart" Target="../charts/chart20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9.xml"/><Relationship Id="rId6" Type="http://schemas.openxmlformats.org/officeDocument/2006/relationships/image" Target="../media/image4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09.xml"/><Relationship Id="rId12" Type="http://schemas.openxmlformats.org/officeDocument/2006/relationships/chart" Target="../charts/chart21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0.xml"/><Relationship Id="rId6" Type="http://schemas.openxmlformats.org/officeDocument/2006/relationships/chart" Target="../charts/chart208.xml"/><Relationship Id="rId11" Type="http://schemas.openxmlformats.org/officeDocument/2006/relationships/chart" Target="../charts/chart213.xml"/><Relationship Id="rId5" Type="http://schemas.openxmlformats.org/officeDocument/2006/relationships/chart" Target="../charts/chart207.xml"/><Relationship Id="rId10" Type="http://schemas.openxmlformats.org/officeDocument/2006/relationships/chart" Target="../charts/chart212.xml"/><Relationship Id="rId4" Type="http://schemas.openxmlformats.org/officeDocument/2006/relationships/image" Target="../media/image1.emf"/><Relationship Id="rId9" Type="http://schemas.openxmlformats.org/officeDocument/2006/relationships/chart" Target="../charts/chart211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8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17.xml"/><Relationship Id="rId12" Type="http://schemas.openxmlformats.org/officeDocument/2006/relationships/chart" Target="../charts/chart22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1.xml"/><Relationship Id="rId6" Type="http://schemas.openxmlformats.org/officeDocument/2006/relationships/chart" Target="../charts/chart216.xml"/><Relationship Id="rId11" Type="http://schemas.openxmlformats.org/officeDocument/2006/relationships/chart" Target="../charts/chart221.xml"/><Relationship Id="rId5" Type="http://schemas.openxmlformats.org/officeDocument/2006/relationships/chart" Target="../charts/chart215.xml"/><Relationship Id="rId10" Type="http://schemas.openxmlformats.org/officeDocument/2006/relationships/chart" Target="../charts/chart220.xml"/><Relationship Id="rId4" Type="http://schemas.openxmlformats.org/officeDocument/2006/relationships/image" Target="../media/image1.emf"/><Relationship Id="rId9" Type="http://schemas.openxmlformats.org/officeDocument/2006/relationships/chart" Target="../charts/chart219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6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25.xml"/><Relationship Id="rId12" Type="http://schemas.openxmlformats.org/officeDocument/2006/relationships/chart" Target="../charts/chart23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2.xml"/><Relationship Id="rId6" Type="http://schemas.openxmlformats.org/officeDocument/2006/relationships/chart" Target="../charts/chart224.xml"/><Relationship Id="rId11" Type="http://schemas.openxmlformats.org/officeDocument/2006/relationships/chart" Target="../charts/chart229.xml"/><Relationship Id="rId5" Type="http://schemas.openxmlformats.org/officeDocument/2006/relationships/chart" Target="../charts/chart223.xml"/><Relationship Id="rId10" Type="http://schemas.openxmlformats.org/officeDocument/2006/relationships/chart" Target="../charts/chart228.xml"/><Relationship Id="rId4" Type="http://schemas.openxmlformats.org/officeDocument/2006/relationships/image" Target="../media/image1.emf"/><Relationship Id="rId9" Type="http://schemas.openxmlformats.org/officeDocument/2006/relationships/chart" Target="../charts/chart227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4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33.xml"/><Relationship Id="rId12" Type="http://schemas.openxmlformats.org/officeDocument/2006/relationships/chart" Target="../charts/chart23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3.xml"/><Relationship Id="rId6" Type="http://schemas.openxmlformats.org/officeDocument/2006/relationships/chart" Target="../charts/chart232.xml"/><Relationship Id="rId11" Type="http://schemas.openxmlformats.org/officeDocument/2006/relationships/chart" Target="../charts/chart237.xml"/><Relationship Id="rId5" Type="http://schemas.openxmlformats.org/officeDocument/2006/relationships/chart" Target="../charts/chart231.xml"/><Relationship Id="rId10" Type="http://schemas.openxmlformats.org/officeDocument/2006/relationships/chart" Target="../charts/chart236.xml"/><Relationship Id="rId4" Type="http://schemas.openxmlformats.org/officeDocument/2006/relationships/image" Target="../media/image1.emf"/><Relationship Id="rId9" Type="http://schemas.openxmlformats.org/officeDocument/2006/relationships/chart" Target="../charts/chart235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2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41.xml"/><Relationship Id="rId12" Type="http://schemas.openxmlformats.org/officeDocument/2006/relationships/chart" Target="../charts/chart24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4.xml"/><Relationship Id="rId6" Type="http://schemas.openxmlformats.org/officeDocument/2006/relationships/chart" Target="../charts/chart240.xml"/><Relationship Id="rId11" Type="http://schemas.openxmlformats.org/officeDocument/2006/relationships/chart" Target="../charts/chart245.xml"/><Relationship Id="rId5" Type="http://schemas.openxmlformats.org/officeDocument/2006/relationships/chart" Target="../charts/chart239.xml"/><Relationship Id="rId10" Type="http://schemas.openxmlformats.org/officeDocument/2006/relationships/chart" Target="../charts/chart244.xml"/><Relationship Id="rId4" Type="http://schemas.openxmlformats.org/officeDocument/2006/relationships/image" Target="../media/image1.emf"/><Relationship Id="rId9" Type="http://schemas.openxmlformats.org/officeDocument/2006/relationships/chart" Target="../charts/chart24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49.xml"/><Relationship Id="rId12" Type="http://schemas.openxmlformats.org/officeDocument/2006/relationships/chart" Target="../charts/chart25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5.xml"/><Relationship Id="rId6" Type="http://schemas.openxmlformats.org/officeDocument/2006/relationships/chart" Target="../charts/chart248.xml"/><Relationship Id="rId11" Type="http://schemas.openxmlformats.org/officeDocument/2006/relationships/chart" Target="../charts/chart253.xml"/><Relationship Id="rId5" Type="http://schemas.openxmlformats.org/officeDocument/2006/relationships/chart" Target="../charts/chart247.xml"/><Relationship Id="rId10" Type="http://schemas.openxmlformats.org/officeDocument/2006/relationships/chart" Target="../charts/chart252.xml"/><Relationship Id="rId4" Type="http://schemas.openxmlformats.org/officeDocument/2006/relationships/image" Target="../media/image1.emf"/><Relationship Id="rId9" Type="http://schemas.openxmlformats.org/officeDocument/2006/relationships/chart" Target="../charts/chart251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8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5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6.xml"/><Relationship Id="rId6" Type="http://schemas.openxmlformats.org/officeDocument/2006/relationships/chart" Target="../charts/chart256.xml"/><Relationship Id="rId5" Type="http://schemas.openxmlformats.org/officeDocument/2006/relationships/chart" Target="../charts/chart25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13" Type="http://schemas.openxmlformats.org/officeDocument/2006/relationships/chart" Target="../charts/chart9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3.xml"/><Relationship Id="rId12" Type="http://schemas.openxmlformats.org/officeDocument/2006/relationships/chart" Target="../charts/chart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chart" Target="../charts/chart2.xml"/><Relationship Id="rId11" Type="http://schemas.openxmlformats.org/officeDocument/2006/relationships/chart" Target="../charts/chart7.xml"/><Relationship Id="rId5" Type="http://schemas.openxmlformats.org/officeDocument/2006/relationships/chart" Target="../charts/chart1.xml"/><Relationship Id="rId10" Type="http://schemas.openxmlformats.org/officeDocument/2006/relationships/chart" Target="../charts/chart6.xml"/><Relationship Id="rId4" Type="http://schemas.openxmlformats.org/officeDocument/2006/relationships/image" Target="../media/image1.emf"/><Relationship Id="rId9" Type="http://schemas.openxmlformats.org/officeDocument/2006/relationships/chart" Target="../charts/chart5.xml"/><Relationship Id="rId14" Type="http://schemas.openxmlformats.org/officeDocument/2006/relationships/chart" Target="../charts/chart10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62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6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7.xml"/><Relationship Id="rId6" Type="http://schemas.openxmlformats.org/officeDocument/2006/relationships/chart" Target="../charts/chart260.xml"/><Relationship Id="rId5" Type="http://schemas.openxmlformats.org/officeDocument/2006/relationships/chart" Target="../charts/chart259.xml"/><Relationship Id="rId4" Type="http://schemas.openxmlformats.org/officeDocument/2006/relationships/image" Target="../media/image1.emf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66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6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6" Type="http://schemas.openxmlformats.org/officeDocument/2006/relationships/chart" Target="../charts/chart264.xml"/><Relationship Id="rId5" Type="http://schemas.openxmlformats.org/officeDocument/2006/relationships/chart" Target="../charts/chart263.xml"/><Relationship Id="rId4" Type="http://schemas.openxmlformats.org/officeDocument/2006/relationships/image" Target="../media/image1.emf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6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Relationship Id="rId6" Type="http://schemas.openxmlformats.org/officeDocument/2006/relationships/chart" Target="../charts/chart268.xml"/><Relationship Id="rId5" Type="http://schemas.openxmlformats.org/officeDocument/2006/relationships/chart" Target="../charts/chart267.xml"/><Relationship Id="rId4" Type="http://schemas.openxmlformats.org/officeDocument/2006/relationships/image" Target="../media/image1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3.xml"/><Relationship Id="rId3" Type="http://schemas.openxmlformats.org/officeDocument/2006/relationships/notesSlide" Target="../notesSlides/notesSlide15.xml"/><Relationship Id="rId7" Type="http://schemas.openxmlformats.org/officeDocument/2006/relationships/chart" Target="../charts/chart27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6" Type="http://schemas.openxmlformats.org/officeDocument/2006/relationships/chart" Target="../charts/chart271.xml"/><Relationship Id="rId5" Type="http://schemas.openxmlformats.org/officeDocument/2006/relationships/image" Target="../media/image1.emf"/><Relationship Id="rId10" Type="http://schemas.openxmlformats.org/officeDocument/2006/relationships/chart" Target="../charts/chart275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274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9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78.xml"/><Relationship Id="rId12" Type="http://schemas.openxmlformats.org/officeDocument/2006/relationships/chart" Target="../charts/chart28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2.xml"/><Relationship Id="rId6" Type="http://schemas.openxmlformats.org/officeDocument/2006/relationships/chart" Target="../charts/chart277.xml"/><Relationship Id="rId11" Type="http://schemas.openxmlformats.org/officeDocument/2006/relationships/chart" Target="../charts/chart282.xml"/><Relationship Id="rId5" Type="http://schemas.openxmlformats.org/officeDocument/2006/relationships/chart" Target="../charts/chart276.xml"/><Relationship Id="rId10" Type="http://schemas.openxmlformats.org/officeDocument/2006/relationships/chart" Target="../charts/chart281.xml"/><Relationship Id="rId4" Type="http://schemas.openxmlformats.org/officeDocument/2006/relationships/image" Target="../media/image1.emf"/><Relationship Id="rId9" Type="http://schemas.openxmlformats.org/officeDocument/2006/relationships/chart" Target="../charts/chart280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6.xml"/><Relationship Id="rId3" Type="http://schemas.openxmlformats.org/officeDocument/2006/relationships/notesSlide" Target="../notesSlides/notesSlide16.xml"/><Relationship Id="rId7" Type="http://schemas.openxmlformats.org/officeDocument/2006/relationships/chart" Target="../charts/chart28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6" Type="http://schemas.openxmlformats.org/officeDocument/2006/relationships/chart" Target="../charts/chart284.xml"/><Relationship Id="rId5" Type="http://schemas.openxmlformats.org/officeDocument/2006/relationships/image" Target="../media/image1.emf"/><Relationship Id="rId10" Type="http://schemas.openxmlformats.org/officeDocument/2006/relationships/chart" Target="../charts/chart288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287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92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91.xml"/><Relationship Id="rId12" Type="http://schemas.openxmlformats.org/officeDocument/2006/relationships/chart" Target="../charts/chart29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4.xml"/><Relationship Id="rId6" Type="http://schemas.openxmlformats.org/officeDocument/2006/relationships/chart" Target="../charts/chart290.xml"/><Relationship Id="rId11" Type="http://schemas.openxmlformats.org/officeDocument/2006/relationships/chart" Target="../charts/chart295.xml"/><Relationship Id="rId5" Type="http://schemas.openxmlformats.org/officeDocument/2006/relationships/chart" Target="../charts/chart289.xml"/><Relationship Id="rId10" Type="http://schemas.openxmlformats.org/officeDocument/2006/relationships/chart" Target="../charts/chart294.xml"/><Relationship Id="rId4" Type="http://schemas.openxmlformats.org/officeDocument/2006/relationships/image" Target="../media/image1.emf"/><Relationship Id="rId9" Type="http://schemas.openxmlformats.org/officeDocument/2006/relationships/chart" Target="../charts/chart293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9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5.xml"/><Relationship Id="rId6" Type="http://schemas.openxmlformats.org/officeDocument/2006/relationships/chart" Target="../charts/chart298.xml"/><Relationship Id="rId5" Type="http://schemas.openxmlformats.org/officeDocument/2006/relationships/chart" Target="../charts/chart297.xml"/><Relationship Id="rId4" Type="http://schemas.openxmlformats.org/officeDocument/2006/relationships/image" Target="../media/image1.emf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4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30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6.xml"/><Relationship Id="rId6" Type="http://schemas.openxmlformats.org/officeDocument/2006/relationships/chart" Target="../charts/chart302.xml"/><Relationship Id="rId5" Type="http://schemas.openxmlformats.org/officeDocument/2006/relationships/chart" Target="../charts/chart301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13" Type="http://schemas.openxmlformats.org/officeDocument/2006/relationships/chart" Target="../charts/chart19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13.xml"/><Relationship Id="rId12" Type="http://schemas.openxmlformats.org/officeDocument/2006/relationships/chart" Target="../charts/chart1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6" Type="http://schemas.openxmlformats.org/officeDocument/2006/relationships/chart" Target="../charts/chart12.xml"/><Relationship Id="rId11" Type="http://schemas.openxmlformats.org/officeDocument/2006/relationships/chart" Target="../charts/chart17.xml"/><Relationship Id="rId5" Type="http://schemas.openxmlformats.org/officeDocument/2006/relationships/chart" Target="../charts/chart11.xml"/><Relationship Id="rId10" Type="http://schemas.openxmlformats.org/officeDocument/2006/relationships/chart" Target="../charts/chart16.xml"/><Relationship Id="rId4" Type="http://schemas.openxmlformats.org/officeDocument/2006/relationships/image" Target="../media/image1.emf"/><Relationship Id="rId9" Type="http://schemas.openxmlformats.org/officeDocument/2006/relationships/chart" Target="../charts/chart15.xml"/><Relationship Id="rId14" Type="http://schemas.openxmlformats.org/officeDocument/2006/relationships/chart" Target="../charts/chart20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7.xml"/><Relationship Id="rId3" Type="http://schemas.openxmlformats.org/officeDocument/2006/relationships/notesSlide" Target="../notesSlides/notesSlide17.xml"/><Relationship Id="rId7" Type="http://schemas.openxmlformats.org/officeDocument/2006/relationships/chart" Target="../charts/chart30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7.xml"/><Relationship Id="rId6" Type="http://schemas.openxmlformats.org/officeDocument/2006/relationships/chart" Target="../charts/chart305.xml"/><Relationship Id="rId5" Type="http://schemas.openxmlformats.org/officeDocument/2006/relationships/image" Target="../media/image1.emf"/><Relationship Id="rId10" Type="http://schemas.openxmlformats.org/officeDocument/2006/relationships/chart" Target="../charts/chart309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0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12.xml"/><Relationship Id="rId3" Type="http://schemas.openxmlformats.org/officeDocument/2006/relationships/notesSlide" Target="../notesSlides/notesSlide18.xml"/><Relationship Id="rId7" Type="http://schemas.openxmlformats.org/officeDocument/2006/relationships/chart" Target="../charts/chart3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9.xml"/><Relationship Id="rId6" Type="http://schemas.openxmlformats.org/officeDocument/2006/relationships/chart" Target="../charts/chart310.xml"/><Relationship Id="rId5" Type="http://schemas.openxmlformats.org/officeDocument/2006/relationships/image" Target="../media/image1.emf"/><Relationship Id="rId10" Type="http://schemas.openxmlformats.org/officeDocument/2006/relationships/chart" Target="../charts/chart314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1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17.xml"/><Relationship Id="rId3" Type="http://schemas.openxmlformats.org/officeDocument/2006/relationships/notesSlide" Target="../notesSlides/notesSlide19.xml"/><Relationship Id="rId7" Type="http://schemas.openxmlformats.org/officeDocument/2006/relationships/chart" Target="../charts/chart31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2.xml"/><Relationship Id="rId6" Type="http://schemas.openxmlformats.org/officeDocument/2006/relationships/chart" Target="../charts/chart315.xml"/><Relationship Id="rId5" Type="http://schemas.openxmlformats.org/officeDocument/2006/relationships/image" Target="../media/image1.emf"/><Relationship Id="rId10" Type="http://schemas.openxmlformats.org/officeDocument/2006/relationships/chart" Target="../charts/chart319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1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22.xml"/><Relationship Id="rId3" Type="http://schemas.openxmlformats.org/officeDocument/2006/relationships/notesSlide" Target="../notesSlides/notesSlide20.xml"/><Relationship Id="rId7" Type="http://schemas.openxmlformats.org/officeDocument/2006/relationships/chart" Target="../charts/chart32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4.xml"/><Relationship Id="rId6" Type="http://schemas.openxmlformats.org/officeDocument/2006/relationships/chart" Target="../charts/chart320.xml"/><Relationship Id="rId5" Type="http://schemas.openxmlformats.org/officeDocument/2006/relationships/image" Target="../media/image1.emf"/><Relationship Id="rId10" Type="http://schemas.openxmlformats.org/officeDocument/2006/relationships/chart" Target="../charts/chart324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2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6.xml"/><Relationship Id="rId6" Type="http://schemas.openxmlformats.org/officeDocument/2006/relationships/chart" Target="../charts/chart3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.xml"/><Relationship Id="rId13" Type="http://schemas.openxmlformats.org/officeDocument/2006/relationships/chart" Target="../charts/chart29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23.xml"/><Relationship Id="rId12" Type="http://schemas.openxmlformats.org/officeDocument/2006/relationships/chart" Target="../charts/chart2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chart" Target="../charts/chart22.xml"/><Relationship Id="rId11" Type="http://schemas.openxmlformats.org/officeDocument/2006/relationships/chart" Target="../charts/chart27.xml"/><Relationship Id="rId5" Type="http://schemas.openxmlformats.org/officeDocument/2006/relationships/chart" Target="../charts/chart21.xml"/><Relationship Id="rId10" Type="http://schemas.openxmlformats.org/officeDocument/2006/relationships/chart" Target="../charts/chart26.xml"/><Relationship Id="rId4" Type="http://schemas.openxmlformats.org/officeDocument/2006/relationships/image" Target="../media/image1.emf"/><Relationship Id="rId9" Type="http://schemas.openxmlformats.org/officeDocument/2006/relationships/chart" Target="../charts/chart25.xml"/><Relationship Id="rId14" Type="http://schemas.openxmlformats.org/officeDocument/2006/relationships/chart" Target="../charts/chart30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7.xml"/><Relationship Id="rId6" Type="http://schemas.openxmlformats.org/officeDocument/2006/relationships/chart" Target="../charts/chart3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8.xml"/><Relationship Id="rId6" Type="http://schemas.openxmlformats.org/officeDocument/2006/relationships/chart" Target="../charts/chart3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9.xml"/><Relationship Id="rId6" Type="http://schemas.openxmlformats.org/officeDocument/2006/relationships/chart" Target="../charts/chart3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0.xml"/><Relationship Id="rId6" Type="http://schemas.openxmlformats.org/officeDocument/2006/relationships/chart" Target="../charts/chart3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1.xml"/><Relationship Id="rId6" Type="http://schemas.openxmlformats.org/officeDocument/2006/relationships/chart" Target="../charts/chart3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3.xml"/><Relationship Id="rId3" Type="http://schemas.openxmlformats.org/officeDocument/2006/relationships/notesSlide" Target="../notesSlides/notesSlide27.xml"/><Relationship Id="rId7" Type="http://schemas.openxmlformats.org/officeDocument/2006/relationships/chart" Target="../charts/chart33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3.xml"/><Relationship Id="rId6" Type="http://schemas.openxmlformats.org/officeDocument/2006/relationships/chart" Target="../charts/chart331.xml"/><Relationship Id="rId5" Type="http://schemas.openxmlformats.org/officeDocument/2006/relationships/image" Target="../media/image1.emf"/><Relationship Id="rId10" Type="http://schemas.openxmlformats.org/officeDocument/2006/relationships/chart" Target="../charts/chart335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34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8.xml"/><Relationship Id="rId3" Type="http://schemas.openxmlformats.org/officeDocument/2006/relationships/notesSlide" Target="../notesSlides/notesSlide28.xml"/><Relationship Id="rId7" Type="http://schemas.openxmlformats.org/officeDocument/2006/relationships/chart" Target="../charts/chart33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4.xml"/><Relationship Id="rId6" Type="http://schemas.openxmlformats.org/officeDocument/2006/relationships/chart" Target="../charts/chart336.xml"/><Relationship Id="rId5" Type="http://schemas.openxmlformats.org/officeDocument/2006/relationships/image" Target="../media/image1.emf"/><Relationship Id="rId10" Type="http://schemas.openxmlformats.org/officeDocument/2006/relationships/chart" Target="../charts/chart340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39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43.xml"/><Relationship Id="rId3" Type="http://schemas.openxmlformats.org/officeDocument/2006/relationships/notesSlide" Target="../notesSlides/notesSlide29.xml"/><Relationship Id="rId7" Type="http://schemas.openxmlformats.org/officeDocument/2006/relationships/chart" Target="../charts/chart34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6.xml"/><Relationship Id="rId6" Type="http://schemas.openxmlformats.org/officeDocument/2006/relationships/chart" Target="../charts/chart3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4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4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3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chart" Target="../charts/chart32.xml"/><Relationship Id="rId5" Type="http://schemas.openxmlformats.org/officeDocument/2006/relationships/chart" Target="../charts/chart31.xml"/><Relationship Id="rId4" Type="http://schemas.openxmlformats.org/officeDocument/2006/relationships/image" Target="../media/image1.emf"/><Relationship Id="rId9" Type="http://schemas.openxmlformats.org/officeDocument/2006/relationships/chart" Target="../charts/chart35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47.xml"/><Relationship Id="rId3" Type="http://schemas.openxmlformats.org/officeDocument/2006/relationships/notesSlide" Target="../notesSlides/notesSlide30.xml"/><Relationship Id="rId7" Type="http://schemas.openxmlformats.org/officeDocument/2006/relationships/chart" Target="../charts/chart34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7.xml"/><Relationship Id="rId6" Type="http://schemas.openxmlformats.org/officeDocument/2006/relationships/chart" Target="../charts/chart3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48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1.xml"/><Relationship Id="rId3" Type="http://schemas.openxmlformats.org/officeDocument/2006/relationships/notesSlide" Target="../notesSlides/notesSlide31.xml"/><Relationship Id="rId7" Type="http://schemas.openxmlformats.org/officeDocument/2006/relationships/chart" Target="../charts/chart35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8.xml"/><Relationship Id="rId6" Type="http://schemas.openxmlformats.org/officeDocument/2006/relationships/chart" Target="../charts/chart3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52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5.xml"/><Relationship Id="rId3" Type="http://schemas.openxmlformats.org/officeDocument/2006/relationships/notesSlide" Target="../notesSlides/notesSlide32.xml"/><Relationship Id="rId7" Type="http://schemas.openxmlformats.org/officeDocument/2006/relationships/chart" Target="../charts/chart35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9.xml"/><Relationship Id="rId6" Type="http://schemas.openxmlformats.org/officeDocument/2006/relationships/chart" Target="../charts/chart3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56.xm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9.xml"/><Relationship Id="rId3" Type="http://schemas.openxmlformats.org/officeDocument/2006/relationships/notesSlide" Target="../notesSlides/notesSlide33.xml"/><Relationship Id="rId7" Type="http://schemas.openxmlformats.org/officeDocument/2006/relationships/chart" Target="../charts/chart35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0.xml"/><Relationship Id="rId6" Type="http://schemas.openxmlformats.org/officeDocument/2006/relationships/chart" Target="../charts/chart357.xml"/><Relationship Id="rId5" Type="http://schemas.openxmlformats.org/officeDocument/2006/relationships/image" Target="../media/image1.emf"/><Relationship Id="rId10" Type="http://schemas.openxmlformats.org/officeDocument/2006/relationships/chart" Target="../charts/chart361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60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64.xml"/><Relationship Id="rId3" Type="http://schemas.openxmlformats.org/officeDocument/2006/relationships/notesSlide" Target="../notesSlides/notesSlide34.xml"/><Relationship Id="rId7" Type="http://schemas.openxmlformats.org/officeDocument/2006/relationships/chart" Target="../charts/chart36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1.xml"/><Relationship Id="rId6" Type="http://schemas.openxmlformats.org/officeDocument/2006/relationships/chart" Target="../charts/chart362.xml"/><Relationship Id="rId5" Type="http://schemas.openxmlformats.org/officeDocument/2006/relationships/image" Target="../media/image1.emf"/><Relationship Id="rId10" Type="http://schemas.openxmlformats.org/officeDocument/2006/relationships/chart" Target="../charts/chart366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365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7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36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2.xml"/><Relationship Id="rId6" Type="http://schemas.openxmlformats.org/officeDocument/2006/relationships/chart" Target="../charts/chart368.xml"/><Relationship Id="rId5" Type="http://schemas.openxmlformats.org/officeDocument/2006/relationships/chart" Target="../charts/chart367.xml"/><Relationship Id="rId4" Type="http://schemas.openxmlformats.org/officeDocument/2006/relationships/image" Target="../media/image1.emf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74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373.xml"/><Relationship Id="rId12" Type="http://schemas.openxmlformats.org/officeDocument/2006/relationships/chart" Target="../charts/chart37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3.xml"/><Relationship Id="rId6" Type="http://schemas.openxmlformats.org/officeDocument/2006/relationships/chart" Target="../charts/chart372.xml"/><Relationship Id="rId11" Type="http://schemas.openxmlformats.org/officeDocument/2006/relationships/chart" Target="../charts/chart377.xml"/><Relationship Id="rId5" Type="http://schemas.openxmlformats.org/officeDocument/2006/relationships/chart" Target="../charts/chart371.xml"/><Relationship Id="rId10" Type="http://schemas.openxmlformats.org/officeDocument/2006/relationships/chart" Target="../charts/chart376.xml"/><Relationship Id="rId4" Type="http://schemas.openxmlformats.org/officeDocument/2006/relationships/image" Target="../media/image1.emf"/><Relationship Id="rId9" Type="http://schemas.openxmlformats.org/officeDocument/2006/relationships/chart" Target="../charts/chart375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82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381.xml"/><Relationship Id="rId12" Type="http://schemas.openxmlformats.org/officeDocument/2006/relationships/chart" Target="../charts/chart38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4.xml"/><Relationship Id="rId6" Type="http://schemas.openxmlformats.org/officeDocument/2006/relationships/chart" Target="../charts/chart380.xml"/><Relationship Id="rId11" Type="http://schemas.openxmlformats.org/officeDocument/2006/relationships/chart" Target="../charts/chart385.xml"/><Relationship Id="rId5" Type="http://schemas.openxmlformats.org/officeDocument/2006/relationships/chart" Target="../charts/chart379.xml"/><Relationship Id="rId10" Type="http://schemas.openxmlformats.org/officeDocument/2006/relationships/chart" Target="../charts/chart384.xml"/><Relationship Id="rId4" Type="http://schemas.openxmlformats.org/officeDocument/2006/relationships/image" Target="../media/image1.emf"/><Relationship Id="rId9" Type="http://schemas.openxmlformats.org/officeDocument/2006/relationships/chart" Target="../charts/chart383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90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38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5.xml"/><Relationship Id="rId6" Type="http://schemas.openxmlformats.org/officeDocument/2006/relationships/chart" Target="../charts/chart388.xml"/><Relationship Id="rId5" Type="http://schemas.openxmlformats.org/officeDocument/2006/relationships/chart" Target="../charts/chart387.xml"/><Relationship Id="rId4" Type="http://schemas.openxmlformats.org/officeDocument/2006/relationships/image" Target="../media/image1.emf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94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393.xml"/><Relationship Id="rId12" Type="http://schemas.openxmlformats.org/officeDocument/2006/relationships/chart" Target="../charts/chart39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6.xml"/><Relationship Id="rId6" Type="http://schemas.openxmlformats.org/officeDocument/2006/relationships/chart" Target="../charts/chart392.xml"/><Relationship Id="rId11" Type="http://schemas.openxmlformats.org/officeDocument/2006/relationships/chart" Target="../charts/chart397.xml"/><Relationship Id="rId5" Type="http://schemas.openxmlformats.org/officeDocument/2006/relationships/chart" Target="../charts/chart391.xml"/><Relationship Id="rId10" Type="http://schemas.openxmlformats.org/officeDocument/2006/relationships/chart" Target="../charts/chart396.xml"/><Relationship Id="rId4" Type="http://schemas.openxmlformats.org/officeDocument/2006/relationships/image" Target="../media/image1.emf"/><Relationship Id="rId9" Type="http://schemas.openxmlformats.org/officeDocument/2006/relationships/chart" Target="../charts/chart39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9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3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chart" Target="../charts/chart37.xml"/><Relationship Id="rId5" Type="http://schemas.openxmlformats.org/officeDocument/2006/relationships/chart" Target="../charts/chart36.xml"/><Relationship Id="rId4" Type="http://schemas.openxmlformats.org/officeDocument/2006/relationships/image" Target="../media/image1.emf"/><Relationship Id="rId9" Type="http://schemas.openxmlformats.org/officeDocument/2006/relationships/chart" Target="../charts/chart40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02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401.xml"/><Relationship Id="rId12" Type="http://schemas.openxmlformats.org/officeDocument/2006/relationships/chart" Target="../charts/chart40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7.xml"/><Relationship Id="rId6" Type="http://schemas.openxmlformats.org/officeDocument/2006/relationships/chart" Target="../charts/chart400.xml"/><Relationship Id="rId11" Type="http://schemas.openxmlformats.org/officeDocument/2006/relationships/chart" Target="../charts/chart405.xml"/><Relationship Id="rId5" Type="http://schemas.openxmlformats.org/officeDocument/2006/relationships/chart" Target="../charts/chart399.xml"/><Relationship Id="rId10" Type="http://schemas.openxmlformats.org/officeDocument/2006/relationships/chart" Target="../charts/chart404.xml"/><Relationship Id="rId4" Type="http://schemas.openxmlformats.org/officeDocument/2006/relationships/image" Target="../media/image1.emf"/><Relationship Id="rId9" Type="http://schemas.openxmlformats.org/officeDocument/2006/relationships/chart" Target="../charts/chart403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09.xml"/><Relationship Id="rId3" Type="http://schemas.openxmlformats.org/officeDocument/2006/relationships/notesSlide" Target="../notesSlides/notesSlide35.xml"/><Relationship Id="rId7" Type="http://schemas.openxmlformats.org/officeDocument/2006/relationships/chart" Target="../charts/chart40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9.xml"/><Relationship Id="rId6" Type="http://schemas.openxmlformats.org/officeDocument/2006/relationships/chart" Target="../charts/chart4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chart" Target="../charts/chart410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13.xml"/><Relationship Id="rId3" Type="http://schemas.openxmlformats.org/officeDocument/2006/relationships/notesSlide" Target="../notesSlides/notesSlide36.xml"/><Relationship Id="rId7" Type="http://schemas.openxmlformats.org/officeDocument/2006/relationships/chart" Target="../charts/chart4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0.xml"/><Relationship Id="rId6" Type="http://schemas.openxmlformats.org/officeDocument/2006/relationships/chart" Target="../charts/chart4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chart" Target="../charts/chart414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18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41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2.xml"/><Relationship Id="rId6" Type="http://schemas.openxmlformats.org/officeDocument/2006/relationships/chart" Target="../charts/chart416.xml"/><Relationship Id="rId5" Type="http://schemas.openxmlformats.org/officeDocument/2006/relationships/chart" Target="../charts/chart415.xml"/><Relationship Id="rId4" Type="http://schemas.openxmlformats.org/officeDocument/2006/relationships/image" Target="../media/image1.emf"/><Relationship Id="rId9" Type="http://schemas.openxmlformats.org/officeDocument/2006/relationships/chart" Target="../charts/chart419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3.xml"/><Relationship Id="rId5" Type="http://schemas.openxmlformats.org/officeDocument/2006/relationships/chart" Target="../charts/chart420.xml"/><Relationship Id="rId4" Type="http://schemas.openxmlformats.org/officeDocument/2006/relationships/image" Target="../media/image1.emf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4.xml"/><Relationship Id="rId5" Type="http://schemas.openxmlformats.org/officeDocument/2006/relationships/chart" Target="../charts/chart421.xml"/><Relationship Id="rId4" Type="http://schemas.openxmlformats.org/officeDocument/2006/relationships/image" Target="../media/image1.emf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chart" Target="../charts/chart42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5.xml"/><Relationship Id="rId6" Type="http://schemas.openxmlformats.org/officeDocument/2006/relationships/chart" Target="../charts/chart423.xml"/><Relationship Id="rId5" Type="http://schemas.openxmlformats.org/officeDocument/2006/relationships/chart" Target="../charts/chart422.xml"/><Relationship Id="rId4" Type="http://schemas.openxmlformats.org/officeDocument/2006/relationships/image" Target="../media/image1.emf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28.xml"/><Relationship Id="rId3" Type="http://schemas.openxmlformats.org/officeDocument/2006/relationships/oleObject" Target="../embeddings/oleObject7.bin"/><Relationship Id="rId7" Type="http://schemas.openxmlformats.org/officeDocument/2006/relationships/chart" Target="../charts/chart42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6.xml"/><Relationship Id="rId6" Type="http://schemas.openxmlformats.org/officeDocument/2006/relationships/chart" Target="../charts/chart426.xml"/><Relationship Id="rId5" Type="http://schemas.openxmlformats.org/officeDocument/2006/relationships/chart" Target="../charts/chart42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660A2C-1E00-5471-629E-17E7148D0C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39BE1E2-7AC1-4A6B-0DA4-77C64118FF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9BE1E2-7AC1-4A6B-0DA4-77C64118F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7B67BA-8ECA-5F5D-0C35-792EB99C9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3624" y="2320413"/>
            <a:ext cx="11454582" cy="2310581"/>
          </a:xfrm>
          <a:solidFill>
            <a:srgbClr val="7B98A1"/>
          </a:solidFill>
        </p:spPr>
        <p:txBody>
          <a:bodyPr vert="horz" anchor="ctr">
            <a:noAutofit/>
          </a:bodyPr>
          <a:lstStyle/>
          <a:p>
            <a:pPr algn="l"/>
            <a:r>
              <a:rPr lang="uk-UA" sz="4400" b="1" noProof="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Дослідження молоді Вінницької МТГ</a:t>
            </a:r>
            <a:br>
              <a:rPr lang="uk-UA" sz="4000" b="1" noProof="0" dirty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</a:rPr>
            </a:br>
            <a:br>
              <a:rPr lang="uk-UA" sz="4000" b="1" noProof="0" dirty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</a:rPr>
            </a:br>
            <a:r>
              <a:rPr lang="uk-UA" sz="1800" noProof="0" dirty="0">
                <a:solidFill>
                  <a:schemeClr val="bg1">
                    <a:lumMod val="95000"/>
                  </a:schemeClr>
                </a:solidFill>
              </a:rPr>
              <a:t>Звіт за результатами кількісного опитування 602 мешканців Вінницької МТГ у віці 14-35 років</a:t>
            </a:r>
            <a:endParaRPr lang="uk-UA" sz="3600" noProof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B14BC0B2-C3A3-3528-885A-C9C12F410D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7149" y="5801033"/>
            <a:ext cx="5574890" cy="931606"/>
          </a:xfrm>
        </p:spPr>
        <p:txBody>
          <a:bodyPr anchor="ctr">
            <a:normAutofit/>
          </a:bodyPr>
          <a:lstStyle/>
          <a:p>
            <a:pPr algn="l">
              <a:spcBef>
                <a:spcPts val="600"/>
              </a:spcBef>
            </a:pPr>
            <a:r>
              <a:rPr lang="uk-UA" sz="1200" noProof="0" dirty="0">
                <a:solidFill>
                  <a:schemeClr val="bg1"/>
                </a:solidFill>
              </a:rPr>
              <a:t>Контакт: Тетяна Ситник ​</a:t>
            </a:r>
          </a:p>
          <a:p>
            <a:pPr algn="l">
              <a:spcBef>
                <a:spcPts val="600"/>
              </a:spcBef>
            </a:pPr>
            <a:r>
              <a:rPr lang="uk-UA" sz="1200" noProof="0" dirty="0">
                <a:solidFill>
                  <a:schemeClr val="bg1"/>
                </a:solidFill>
              </a:rPr>
              <a:t>Tetiana.Sytnyk@cbr.com.ua​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13FD4D-EF7D-9563-862C-61930B0E3C3B}"/>
              </a:ext>
            </a:extLst>
          </p:cNvPr>
          <p:cNvSpPr txBox="1"/>
          <p:nvPr/>
        </p:nvSpPr>
        <p:spPr>
          <a:xfrm>
            <a:off x="369116" y="5915412"/>
            <a:ext cx="58823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200" noProof="0" dirty="0">
                <a:solidFill>
                  <a:schemeClr val="bg1">
                    <a:lumMod val="50000"/>
                  </a:schemeClr>
                </a:solidFill>
              </a:rPr>
              <a:t>Виконано CBR (ТОВ «</a:t>
            </a:r>
            <a:r>
              <a:rPr lang="uk-UA" sz="1200" noProof="0" dirty="0" err="1">
                <a:solidFill>
                  <a:schemeClr val="bg1">
                    <a:lumMod val="50000"/>
                  </a:schemeClr>
                </a:solidFill>
              </a:rPr>
              <a:t>Консюмер</a:t>
            </a:r>
            <a:r>
              <a:rPr lang="uk-UA" sz="1200" noProof="0" dirty="0">
                <a:solidFill>
                  <a:schemeClr val="bg1">
                    <a:lumMod val="50000"/>
                  </a:schemeClr>
                </a:solidFill>
              </a:rPr>
              <a:t> Бізнес </a:t>
            </a:r>
            <a:r>
              <a:rPr lang="uk-UA" sz="1200" noProof="0" dirty="0" err="1">
                <a:solidFill>
                  <a:schemeClr val="bg1">
                    <a:lumMod val="50000"/>
                  </a:schemeClr>
                </a:solidFill>
              </a:rPr>
              <a:t>Ресерч</a:t>
            </a:r>
            <a:r>
              <a:rPr lang="uk-UA" sz="1200" noProof="0" dirty="0">
                <a:solidFill>
                  <a:schemeClr val="bg1">
                    <a:lumMod val="50000"/>
                  </a:schemeClr>
                </a:solidFill>
              </a:rPr>
              <a:t>»)</a:t>
            </a:r>
          </a:p>
          <a:p>
            <a:r>
              <a:rPr lang="uk-UA" sz="1200" noProof="0" dirty="0">
                <a:solidFill>
                  <a:schemeClr val="bg1">
                    <a:lumMod val="50000"/>
                  </a:schemeClr>
                </a:solidFill>
              </a:rPr>
              <a:t>Контакт: Тетяна Ситник </a:t>
            </a:r>
          </a:p>
          <a:p>
            <a:r>
              <a:rPr lang="uk-UA" sz="1200" noProof="0" dirty="0">
                <a:solidFill>
                  <a:schemeClr val="bg1">
                    <a:lumMod val="50000"/>
                  </a:schemeClr>
                </a:solidFill>
              </a:rPr>
              <a:t>Tetiana.Sytnyk@cbr.com.ua</a:t>
            </a:r>
          </a:p>
        </p:txBody>
      </p:sp>
    </p:spTree>
    <p:extLst>
      <p:ext uri="{BB962C8B-B14F-4D97-AF65-F5344CB8AC3E}">
        <p14:creationId xmlns:p14="http://schemas.microsoft.com/office/powerpoint/2010/main" val="9873270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6AE0D-A970-9571-F73B-260532AC76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2294D4-8132-78C9-2304-065017FE95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2294D4-8132-78C9-2304-065017FE9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9B694FD-E854-4D99-493E-DBC487F35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685464" cy="667262"/>
          </a:xfrm>
        </p:spPr>
        <p:txBody>
          <a:bodyPr vert="horz">
            <a:noAutofit/>
          </a:bodyPr>
          <a:lstStyle/>
          <a:p>
            <a:r>
              <a:rPr lang="uk-UA" sz="2300" noProof="0" dirty="0"/>
              <a:t>Розподіл осіб, які працюють за </a:t>
            </a:r>
            <a:r>
              <a:rPr lang="uk-UA" sz="2300" noProof="0" dirty="0" err="1"/>
              <a:t>наймом</a:t>
            </a:r>
            <a:r>
              <a:rPr lang="uk-UA" sz="2300" noProof="0" dirty="0"/>
              <a:t> чи ведуть бізнес, за галуззю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C5177E-113C-005D-1E1A-3E31D6A23B19}"/>
              </a:ext>
            </a:extLst>
          </p:cNvPr>
          <p:cNvSpPr txBox="1"/>
          <p:nvPr/>
        </p:nvSpPr>
        <p:spPr>
          <a:xfrm>
            <a:off x="9075175" y="6620950"/>
            <a:ext cx="26720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У якій галузі Ви працюєте або ведете бізнес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91BBCC-428A-86DD-C5B8-4F100CDE0E63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D8BC2C15-F759-7C7B-8BCC-BFE947A64D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388498"/>
              </p:ext>
            </p:extLst>
          </p:nvPr>
        </p:nvGraphicFramePr>
        <p:xfrm>
          <a:off x="39329" y="2634452"/>
          <a:ext cx="12142312" cy="37714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орматика (ІТ) </a:t>
                      </a:r>
                      <a:r>
                        <a:rPr lang="uk-UA" sz="8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комп. програмування, оброблення даних та пов’язані послуги)</a:t>
                      </a:r>
                      <a:endParaRPr lang="uk-UA" sz="1000" b="0" i="0" u="none" strike="noStrike" kern="1200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уртова й роздрібна торгівля, ремонт автомобіл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035778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хорона здоров'я, соціальна робо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136013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ві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250520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дання послуг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103796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дівництв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5412525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інансові й страхові послуг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1901817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есійні, наукові, технічні послуги, бізнес-консульта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0478031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ублічне управління і оборона, державний соціальний захист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292307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отельний і ресторан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9102540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в’язок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3592530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ільське, лісове, рибне господарств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853276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арчова промислов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нспорт і складське господарств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'юті</a:t>
                      </a: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сфер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робна промислов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робництво й постачання електроенергії, газу, води, тепл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слуги у сфері нерухомо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18857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0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мова від відповід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2ACE7132-08C3-6F77-9A94-5878DB4EBC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5302666"/>
              </p:ext>
            </p:extLst>
          </p:nvPr>
        </p:nvGraphicFramePr>
        <p:xfrm>
          <a:off x="4043234" y="2522290"/>
          <a:ext cx="1548000" cy="394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24C457D2-72F9-B4FE-0347-FF31D5AAAB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82414"/>
              </p:ext>
            </p:extLst>
          </p:nvPr>
        </p:nvGraphicFramePr>
        <p:xfrm>
          <a:off x="4041058" y="2349467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787E3395-E694-5C57-DC02-B474B9CA6AB9}"/>
              </a:ext>
            </a:extLst>
          </p:cNvPr>
          <p:cNvSpPr txBox="1">
            <a:spLocks/>
          </p:cNvSpPr>
          <p:nvPr/>
        </p:nvSpPr>
        <p:spPr>
          <a:xfrm>
            <a:off x="1" y="188695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Галузь, у якій працюють або ведуть бізнес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BB3B8406-DBE0-6706-D44A-1213FE39FE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4353273"/>
              </p:ext>
            </p:extLst>
          </p:nvPr>
        </p:nvGraphicFramePr>
        <p:xfrm>
          <a:off x="5654368" y="2525142"/>
          <a:ext cx="1548000" cy="394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C25268EE-1D27-211C-10DB-235F17DD3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7389619"/>
              </p:ext>
            </p:extLst>
          </p:nvPr>
        </p:nvGraphicFramePr>
        <p:xfrm>
          <a:off x="7285848" y="2519438"/>
          <a:ext cx="1548000" cy="394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280A02F5-39DF-C498-E2E9-2D581E1358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1879598"/>
              </p:ext>
            </p:extLst>
          </p:nvPr>
        </p:nvGraphicFramePr>
        <p:xfrm>
          <a:off x="8916644" y="2522290"/>
          <a:ext cx="1548000" cy="394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C71901D1-2547-8763-6313-7DBF430F7E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6735024"/>
              </p:ext>
            </p:extLst>
          </p:nvPr>
        </p:nvGraphicFramePr>
        <p:xfrm>
          <a:off x="10530361" y="2519438"/>
          <a:ext cx="1548000" cy="394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C2D40603-1A9A-B2FB-D7BF-5CB5A5C24A43}"/>
              </a:ext>
            </a:extLst>
          </p:cNvPr>
          <p:cNvSpPr txBox="1"/>
          <p:nvPr/>
        </p:nvSpPr>
        <p:spPr bwMode="gray">
          <a:xfrm>
            <a:off x="70089" y="2263998"/>
            <a:ext cx="23519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cs typeface="Arial" pitchFamily="34" charset="0"/>
              </a:rPr>
              <a:t>% респондентів, які працюють за </a:t>
            </a:r>
            <a:r>
              <a:rPr lang="uk-UA" sz="900" i="1" noProof="0" dirty="0" err="1">
                <a:solidFill>
                  <a:srgbClr val="8E8581"/>
                </a:solidFill>
                <a:cs typeface="Arial" pitchFamily="34" charset="0"/>
              </a:rPr>
              <a:t>наймом</a:t>
            </a:r>
            <a:r>
              <a:rPr lang="uk-UA" sz="900" i="1" noProof="0" dirty="0">
                <a:solidFill>
                  <a:srgbClr val="8E8581"/>
                </a:solidFill>
                <a:cs typeface="Arial" pitchFamily="34" charset="0"/>
              </a:rPr>
              <a:t> чи ведуть власний бізнес, </a:t>
            </a:r>
            <a:r>
              <a:rPr lang="uk-UA" sz="900" i="1" noProof="0" dirty="0" err="1">
                <a:solidFill>
                  <a:srgbClr val="8E8581"/>
                </a:solidFill>
                <a:cs typeface="Arial" pitchFamily="34" charset="0"/>
              </a:rPr>
              <a:t>самозайняті</a:t>
            </a:r>
            <a:endParaRPr lang="uk-UA" sz="900" i="1" noProof="0" dirty="0">
              <a:solidFill>
                <a:srgbClr val="8E8581"/>
              </a:solidFill>
              <a:cs typeface="Arial" pitchFamily="34" charset="0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02EE847-64F1-4127-0A7F-7033F96F3770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Головні галузі зайнятості для молоді — це ІТ, торгівля, охорона здоров’я, соціальна робота і освіта. Дані свідчать про тенденцію, що молодші люди 20-29 років частіше працюють в ІТ, ніж люди у віці 30-35 років. </a:t>
            </a:r>
          </a:p>
          <a:p>
            <a:r>
              <a:rPr lang="uk-UA" sz="1600" dirty="0"/>
              <a:t>Лише 5 осіб у віці 14-19 років відповіли, що працюють. 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4335F37-F5DF-5379-4A4E-27B8FC298FE0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E9DCD274-609A-7DFE-BCA5-74A210D35E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1176744"/>
              </p:ext>
            </p:extLst>
          </p:nvPr>
        </p:nvGraphicFramePr>
        <p:xfrm>
          <a:off x="4041058" y="6395460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36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9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10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87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5376FB31-2A67-2D0A-AF55-04125667391F}"/>
              </a:ext>
            </a:extLst>
          </p:cNvPr>
          <p:cNvSpPr txBox="1"/>
          <p:nvPr/>
        </p:nvSpPr>
        <p:spPr>
          <a:xfrm>
            <a:off x="7582075" y="432332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454BA3-9621-083E-7E29-E0A71A2669AE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06C0153-99AA-20A0-AAAA-A325A0D70F09}"/>
              </a:ext>
            </a:extLst>
          </p:cNvPr>
          <p:cNvSpPr txBox="1"/>
          <p:nvPr/>
        </p:nvSpPr>
        <p:spPr>
          <a:xfrm>
            <a:off x="6220635" y="60302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E32EA6-B447-D744-0B9A-4749E6576158}"/>
              </a:ext>
            </a:extLst>
          </p:cNvPr>
          <p:cNvSpPr txBox="1"/>
          <p:nvPr/>
        </p:nvSpPr>
        <p:spPr>
          <a:xfrm>
            <a:off x="6149515" y="5075168"/>
            <a:ext cx="56681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4451EE-650C-3D99-7AE6-B4DF364F3893}"/>
              </a:ext>
            </a:extLst>
          </p:cNvPr>
          <p:cNvSpPr txBox="1"/>
          <p:nvPr/>
        </p:nvSpPr>
        <p:spPr>
          <a:xfrm>
            <a:off x="6119035" y="4323328"/>
            <a:ext cx="56681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79CF750-040E-C618-19C7-DB5A3A207C12}"/>
              </a:ext>
            </a:extLst>
          </p:cNvPr>
          <p:cNvSpPr txBox="1"/>
          <p:nvPr/>
        </p:nvSpPr>
        <p:spPr>
          <a:xfrm>
            <a:off x="6108874" y="3957568"/>
            <a:ext cx="71064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5D28F3-7AD9-84A5-2F80-ED0A3BF2CC1A}"/>
              </a:ext>
            </a:extLst>
          </p:cNvPr>
          <p:cNvSpPr txBox="1"/>
          <p:nvPr/>
        </p:nvSpPr>
        <p:spPr>
          <a:xfrm>
            <a:off x="6149515" y="3571488"/>
            <a:ext cx="56681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5BB9D90-EC8D-0B55-0F62-B5982606C6DD}"/>
              </a:ext>
            </a:extLst>
          </p:cNvPr>
          <p:cNvSpPr/>
          <p:nvPr/>
        </p:nvSpPr>
        <p:spPr>
          <a:xfrm>
            <a:off x="6993030" y="2311813"/>
            <a:ext cx="4942801" cy="4251633"/>
          </a:xfrm>
          <a:prstGeom prst="roundRect">
            <a:avLst>
              <a:gd name="adj" fmla="val 8709"/>
            </a:avLst>
          </a:prstGeom>
          <a:noFill/>
          <a:ln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29698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232B87B-4AB1-D708-4460-7BF191337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F983DD6-5DBB-D2B1-B905-8314E5AEB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83DD6-5DBB-D2B1-B905-8314E5AEB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77BA25-5C30-D071-10D7-8251C0672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Сприйняття якості вищої освіт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3C8512-DB1D-D375-6B26-847B71E13513}"/>
              </a:ext>
            </a:extLst>
          </p:cNvPr>
          <p:cNvSpPr txBox="1"/>
          <p:nvPr/>
        </p:nvSpPr>
        <p:spPr>
          <a:xfrm>
            <a:off x="4041058" y="6384978"/>
            <a:ext cx="77062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30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скільки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згодні з тим, що знання і навички, які Ви отримали під час навчання в університеті, дозволять Вам бути успішними на ринку праці (знайти достойну роботу, отримувати конкурентну зарплату)? Оцініть за шкалою від 1 до 7, де 1 – абсолютно не згодні, 4 – середня оцінка, 7 – повністю згодні.</a:t>
            </a:r>
          </a:p>
          <a:p>
            <a:pPr marL="180340" lvl="0"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31.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Чи маєте Ви роботу, яку поєднуєте з навчанням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0C927D-1C60-463B-D90F-F3458E1DD985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6FFEE437-087E-665D-E1A6-9615C7E513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781653"/>
              </p:ext>
            </p:extLst>
          </p:nvPr>
        </p:nvGraphicFramePr>
        <p:xfrm>
          <a:off x="39329" y="4922720"/>
          <a:ext cx="12142312" cy="12716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5432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і, не працюєт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5432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роботу за іншою, непрофільною професіє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2037639"/>
                  </a:ext>
                </a:extLst>
              </a:tr>
              <a:tr h="25432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роботу за фахо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8393928"/>
                  </a:ext>
                </a:extLst>
              </a:tr>
              <a:tr h="25432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дете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  <a:tr h="25432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62192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1BF334A4-FE02-ABFF-DE45-3876D6BF1B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0329558"/>
              </p:ext>
            </p:extLst>
          </p:nvPr>
        </p:nvGraphicFramePr>
        <p:xfrm>
          <a:off x="4043234" y="4881762"/>
          <a:ext cx="1980000" cy="133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F4C1DF2C-0FF3-82E5-2398-9B9D1BF191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7895537"/>
              </p:ext>
            </p:extLst>
          </p:nvPr>
        </p:nvGraphicFramePr>
        <p:xfrm>
          <a:off x="4041058" y="4640390"/>
          <a:ext cx="8059040" cy="281811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17623502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BECFF3ED-9341-75BB-9164-4D393358B254}"/>
              </a:ext>
            </a:extLst>
          </p:cNvPr>
          <p:cNvSpPr txBox="1">
            <a:spLocks/>
          </p:cNvSpPr>
          <p:nvPr/>
        </p:nvSpPr>
        <p:spPr>
          <a:xfrm>
            <a:off x="1" y="430589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Наявність роботи, яку поєднують з навчанням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C9F219D0-AB6F-4C17-699A-E2272B91AD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3960663"/>
              </p:ext>
            </p:extLst>
          </p:nvPr>
        </p:nvGraphicFramePr>
        <p:xfrm>
          <a:off x="6067324" y="4884614"/>
          <a:ext cx="1980000" cy="133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79F3311A-0A17-CC0B-BBA4-C860393771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9710098"/>
              </p:ext>
            </p:extLst>
          </p:nvPr>
        </p:nvGraphicFramePr>
        <p:xfrm>
          <a:off x="8092096" y="4878910"/>
          <a:ext cx="1980000" cy="133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250AA4A-DCF5-37F2-094A-08D685EC3CA3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Студенти закладів вищої освіти менше впевнені, ніж студенти закладів </a:t>
            </a:r>
            <a:r>
              <a:rPr lang="uk-UA" sz="1600" noProof="0" dirty="0" err="1"/>
              <a:t>проф-тех</a:t>
            </a:r>
            <a:r>
              <a:rPr lang="uk-UA" sz="1600" noProof="0" dirty="0"/>
              <a:t> освіти, у тому, що знання і навички, отримані в університеті, дозволять їм бути успішними на ринку </a:t>
            </a:r>
            <a:r>
              <a:rPr lang="uk-UA" sz="1600" noProof="0" dirty="0" err="1"/>
              <a:t>прац</a:t>
            </a:r>
            <a:r>
              <a:rPr lang="uk-UA" sz="1600" dirty="0"/>
              <a:t>і. При цьому поєднують навчання з роботою 35% студентів закладів вищої освіти, проте за фахом працюють лише 11%; 24% працюють не за фахом.</a:t>
            </a:r>
            <a:endParaRPr lang="uk-UA" sz="1600" noProof="0" dirty="0"/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16A9B316-48F7-7886-096D-FADC6CDBCC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4709042"/>
              </p:ext>
            </p:extLst>
          </p:nvPr>
        </p:nvGraphicFramePr>
        <p:xfrm>
          <a:off x="3991898" y="6177520"/>
          <a:ext cx="8180868" cy="218225"/>
        </p:xfrm>
        <a:graphic>
          <a:graphicData uri="http://schemas.openxmlformats.org/drawingml/2006/table">
            <a:tbl>
              <a:tblPr firstRow="1" bandRow="1"/>
              <a:tblGrid>
                <a:gridCol w="2045217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45217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45217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45217">
                  <a:extLst>
                    <a:ext uri="{9D8B030D-6E8A-4147-A177-3AD203B41FA5}">
                      <a16:colId xmlns:a16="http://schemas.microsoft.com/office/drawing/2014/main" val="339910579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0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9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22E29B7-CE13-8DB5-A09D-074DD93C2B28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6E86A82-192C-B107-8641-81EC158C0443}"/>
              </a:ext>
            </a:extLst>
          </p:cNvPr>
          <p:cNvSpPr txBox="1"/>
          <p:nvPr/>
        </p:nvSpPr>
        <p:spPr bwMode="gray">
          <a:xfrm>
            <a:off x="180218" y="4611851"/>
            <a:ext cx="26908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навчаються у коледжі, училищі, іншому професійно-технічному закладі</a:t>
            </a: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0684E9A1-DEA4-3D33-1309-8C0126E221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251021"/>
              </p:ext>
            </p:extLst>
          </p:nvPr>
        </p:nvGraphicFramePr>
        <p:xfrm>
          <a:off x="4014446" y="3826628"/>
          <a:ext cx="8085568" cy="218225"/>
        </p:xfrm>
        <a:graphic>
          <a:graphicData uri="http://schemas.openxmlformats.org/drawingml/2006/table">
            <a:tbl>
              <a:tblPr firstRow="1" bandRow="1"/>
              <a:tblGrid>
                <a:gridCol w="2021392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21392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21392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21392">
                  <a:extLst>
                    <a:ext uri="{9D8B030D-6E8A-4147-A177-3AD203B41FA5}">
                      <a16:colId xmlns:a16="http://schemas.microsoft.com/office/drawing/2014/main" val="301001691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0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9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3" name="Table 7">
            <a:extLst>
              <a:ext uri="{FF2B5EF4-FFF2-40B4-BE49-F238E27FC236}">
                <a16:creationId xmlns:a16="http://schemas.microsoft.com/office/drawing/2014/main" id="{C94B82C4-00A9-3A4A-F993-B6BC1506E6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008215"/>
              </p:ext>
            </p:extLst>
          </p:nvPr>
        </p:nvGraphicFramePr>
        <p:xfrm>
          <a:off x="49161" y="3342367"/>
          <a:ext cx="12112813" cy="4793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82065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30748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47938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нання і навички, отримані під час навчання в університеті, дозволять бути успішними на ринку пра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</a:tbl>
          </a:graphicData>
        </a:graphic>
      </p:graphicFrame>
      <p:graphicFrame>
        <p:nvGraphicFramePr>
          <p:cNvPr id="16" name="Диаграмма 16">
            <a:extLst>
              <a:ext uri="{FF2B5EF4-FFF2-40B4-BE49-F238E27FC236}">
                <a16:creationId xmlns:a16="http://schemas.microsoft.com/office/drawing/2014/main" id="{D15E9921-5A17-3907-A5CD-EC2AA03F25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397746"/>
              </p:ext>
            </p:extLst>
          </p:nvPr>
        </p:nvGraphicFramePr>
        <p:xfrm>
          <a:off x="4062890" y="3248993"/>
          <a:ext cx="1924956" cy="630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9" name="Table 2">
            <a:extLst>
              <a:ext uri="{FF2B5EF4-FFF2-40B4-BE49-F238E27FC236}">
                <a16:creationId xmlns:a16="http://schemas.microsoft.com/office/drawing/2014/main" id="{38BEE444-4D8A-22B3-5250-CEA39AD26B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3537059"/>
              </p:ext>
            </p:extLst>
          </p:nvPr>
        </p:nvGraphicFramePr>
        <p:xfrm>
          <a:off x="4041058" y="3027887"/>
          <a:ext cx="8059040" cy="280800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3804225530"/>
                    </a:ext>
                  </a:extLst>
                </a:gridCol>
              </a:tblGrid>
              <a:tr h="280800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20" name="Title 1">
            <a:extLst>
              <a:ext uri="{FF2B5EF4-FFF2-40B4-BE49-F238E27FC236}">
                <a16:creationId xmlns:a16="http://schemas.microsoft.com/office/drawing/2014/main" id="{C8F9D2ED-3746-7B90-070A-9A257D41855A}"/>
              </a:ext>
            </a:extLst>
          </p:cNvPr>
          <p:cNvSpPr txBox="1">
            <a:spLocks/>
          </p:cNvSpPr>
          <p:nvPr/>
        </p:nvSpPr>
        <p:spPr>
          <a:xfrm>
            <a:off x="1" y="210375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Згода з тим, що знання і навички, отримані під час навчання в університеті, </a:t>
            </a:r>
            <a:b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дозволять бути успішними на ринку праці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853BCF-5099-F82B-E0AB-2D000FD6BDBE}"/>
              </a:ext>
            </a:extLst>
          </p:cNvPr>
          <p:cNvSpPr txBox="1"/>
          <p:nvPr/>
        </p:nvSpPr>
        <p:spPr bwMode="gray">
          <a:xfrm>
            <a:off x="180218" y="2842036"/>
            <a:ext cx="214019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cs typeface="Arial" pitchFamily="34" charset="0"/>
              </a:rPr>
              <a:t>% респондентів, які навчаються у закладі вищої освіти (університет)</a:t>
            </a:r>
          </a:p>
        </p:txBody>
      </p:sp>
      <p:graphicFrame>
        <p:nvGraphicFramePr>
          <p:cNvPr id="23" name="Диаграмма 16">
            <a:extLst>
              <a:ext uri="{FF2B5EF4-FFF2-40B4-BE49-F238E27FC236}">
                <a16:creationId xmlns:a16="http://schemas.microsoft.com/office/drawing/2014/main" id="{A6A1CE56-F70F-294B-66C0-E6A4A3F622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4203340"/>
              </p:ext>
            </p:extLst>
          </p:nvPr>
        </p:nvGraphicFramePr>
        <p:xfrm>
          <a:off x="6071128" y="3249637"/>
          <a:ext cx="1924956" cy="630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4" name="Диаграмма 16">
            <a:extLst>
              <a:ext uri="{FF2B5EF4-FFF2-40B4-BE49-F238E27FC236}">
                <a16:creationId xmlns:a16="http://schemas.microsoft.com/office/drawing/2014/main" id="{345E0DEE-048D-1777-B2D5-2618B7D964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83656850"/>
              </p:ext>
            </p:extLst>
          </p:nvPr>
        </p:nvGraphicFramePr>
        <p:xfrm>
          <a:off x="8089198" y="3248953"/>
          <a:ext cx="1924956" cy="630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7" name="Диаграмма 16">
            <a:extLst>
              <a:ext uri="{FF2B5EF4-FFF2-40B4-BE49-F238E27FC236}">
                <a16:creationId xmlns:a16="http://schemas.microsoft.com/office/drawing/2014/main" id="{F1AE06FD-4C99-C382-DA3D-490CD13761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552600"/>
              </p:ext>
            </p:extLst>
          </p:nvPr>
        </p:nvGraphicFramePr>
        <p:xfrm>
          <a:off x="8414883" y="2702268"/>
          <a:ext cx="3619800" cy="37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5" name="Диаграмма 16">
            <a:extLst>
              <a:ext uri="{FF2B5EF4-FFF2-40B4-BE49-F238E27FC236}">
                <a16:creationId xmlns:a16="http://schemas.microsoft.com/office/drawing/2014/main" id="{21ED4526-4A83-962E-7151-FD2A640327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8769492"/>
              </p:ext>
            </p:extLst>
          </p:nvPr>
        </p:nvGraphicFramePr>
        <p:xfrm>
          <a:off x="10111424" y="4878910"/>
          <a:ext cx="1980000" cy="133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Диаграмма 16">
            <a:extLst>
              <a:ext uri="{FF2B5EF4-FFF2-40B4-BE49-F238E27FC236}">
                <a16:creationId xmlns:a16="http://schemas.microsoft.com/office/drawing/2014/main" id="{ABF67018-A0AD-92C5-A496-A113945288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7608484"/>
              </p:ext>
            </p:extLst>
          </p:nvPr>
        </p:nvGraphicFramePr>
        <p:xfrm>
          <a:off x="10104438" y="3242823"/>
          <a:ext cx="1924956" cy="630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7249494B-2E8C-4414-233F-02CE52F40187}"/>
              </a:ext>
            </a:extLst>
          </p:cNvPr>
          <p:cNvSpPr txBox="1"/>
          <p:nvPr/>
        </p:nvSpPr>
        <p:spPr>
          <a:xfrm>
            <a:off x="7416760" y="493246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9554AD-FDDB-BD69-2441-11A545993EEC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AFBCA7C-69DD-B771-F3FA-DB5EAAEBF0A0}"/>
              </a:ext>
            </a:extLst>
          </p:cNvPr>
          <p:cNvSpPr txBox="1"/>
          <p:nvPr/>
        </p:nvSpPr>
        <p:spPr>
          <a:xfrm>
            <a:off x="10872799" y="544865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938750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8CBE43-92FF-B93E-D65C-2E570630D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291A779-39D9-35C8-5273-D26EE091E9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91A779-39D9-35C8-5273-D26EE091E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4FCFDE-4081-40B0-5184-E99138C41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Дозвілля і саморозвиток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E90D453D-17A1-83FE-C87D-09639A772D84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022598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94BB0-5380-59C3-2622-F4E221732C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6A61CC2-DA94-A490-9C9D-F1ACE9B50D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A61CC2-DA94-A490-9C9D-F1ACE9B50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92B710-A1E1-77D5-6DBD-AF21F484E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Дозвілл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4F002E-3B99-2354-3405-08B1127BC89F}"/>
              </a:ext>
            </a:extLst>
          </p:cNvPr>
          <p:cNvSpPr txBox="1"/>
          <p:nvPr/>
        </p:nvSpPr>
        <p:spPr>
          <a:xfrm>
            <a:off x="7826477" y="6620950"/>
            <a:ext cx="392078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33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і були Ваші активності у вільний час протягом останніх трьох місяців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65D2FF-B02D-B2E2-FB30-6ABEDF13968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2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EC8A4D7A-DE57-BD8F-E599-65D425E0A9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6055976"/>
              </p:ext>
            </p:extLst>
          </p:nvPr>
        </p:nvGraphicFramePr>
        <p:xfrm>
          <a:off x="39329" y="2644286"/>
          <a:ext cx="12142312" cy="37565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8038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06192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відували кафе, ресторани, бар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відували кінотеатр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8366925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орожували по Украї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45971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ли на масових розважальних заходах (фестивалі, парки розваг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4268338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відували концерти, музичні захо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825837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ли у театр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812528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ли на спортивних подіях, змагання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68958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відували музеї, вистав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7612458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ли на презентаціях книг, наприклад у книгарня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818135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орожували за кордон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203763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відували бібліоте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8393928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улянки / Відвідування парків / Відпочинок на природі / Басейн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38255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аги (зоопарк / планетарі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ргівельні центри / </a:t>
                      </a:r>
                      <a:r>
                        <a:rPr lang="uk-UA" sz="105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жавальні</a:t>
                      </a:r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клади / Дитячі майданчи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одне з переліченог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27FAC88A-9776-C16D-EC95-2FAD4D4660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9278407"/>
              </p:ext>
            </p:extLst>
          </p:nvPr>
        </p:nvGraphicFramePr>
        <p:xfrm>
          <a:off x="4151380" y="2542613"/>
          <a:ext cx="1548000" cy="39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DE98E0B8-B331-6E07-244B-D2507A18A5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546729"/>
              </p:ext>
            </p:extLst>
          </p:nvPr>
        </p:nvGraphicFramePr>
        <p:xfrm>
          <a:off x="4119716" y="2359303"/>
          <a:ext cx="8024650" cy="281811"/>
        </p:xfrm>
        <a:graphic>
          <a:graphicData uri="http://schemas.openxmlformats.org/drawingml/2006/table">
            <a:tbl>
              <a:tblPr firstRow="1" bandRow="1"/>
              <a:tblGrid>
                <a:gridCol w="160493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0493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0493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0493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04930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3AE29EC5-E403-9F56-0CED-FB86E529C0D8}"/>
              </a:ext>
            </a:extLst>
          </p:cNvPr>
          <p:cNvSpPr txBox="1">
            <a:spLocks/>
          </p:cNvSpPr>
          <p:nvPr/>
        </p:nvSpPr>
        <p:spPr>
          <a:xfrm>
            <a:off x="1" y="2024811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Активності у вільний час протягом останніх трьох місяців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D729344C-233E-EE95-2648-97702CE497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7467221"/>
              </p:ext>
            </p:extLst>
          </p:nvPr>
        </p:nvGraphicFramePr>
        <p:xfrm>
          <a:off x="5742850" y="2545465"/>
          <a:ext cx="1548000" cy="39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628794D8-DBBD-1A61-B541-64097460C4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773736"/>
              </p:ext>
            </p:extLst>
          </p:nvPr>
        </p:nvGraphicFramePr>
        <p:xfrm>
          <a:off x="7354666" y="2539761"/>
          <a:ext cx="1548000" cy="39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9E0C870C-4CFD-FD8A-39B3-08461E09D7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2213646"/>
              </p:ext>
            </p:extLst>
          </p:nvPr>
        </p:nvGraphicFramePr>
        <p:xfrm>
          <a:off x="8975630" y="2542613"/>
          <a:ext cx="1548000" cy="39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A67B8E67-1086-EE97-296D-FC42EAE491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3357123"/>
              </p:ext>
            </p:extLst>
          </p:nvPr>
        </p:nvGraphicFramePr>
        <p:xfrm>
          <a:off x="10569683" y="2539761"/>
          <a:ext cx="1548000" cy="39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B288E25-FE4B-BDB2-370A-CA68ABB23BDC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Найбільш поширеною формою дозвілля для всіх вікових груп є відвідування кафе, ресторанів, барів. Далі йдуть відвідування кінотеатрів (особливо актуально для молоді до 25 років) та подорожі Україною (більш актуально для людей 25-29 років). Представники вікової групи 25-29 років відносно більш активно відвідують масові розважальні заходи. Для людей 30-35 років відносно більш актуальним є відвідування концертів, музичних заходів, театрів і спортивних подій. Молодь 20-24 роки відносно більш активно відвідує музеї і виставки. Серед молоді 14-19 років 17% подорожували за кордон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8B2B7B9-ACD4-D0AE-C3F8-4E713ACFCB4B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504930CC-DF70-927F-C067-A7E8F65C5E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0497715"/>
              </p:ext>
            </p:extLst>
          </p:nvPr>
        </p:nvGraphicFramePr>
        <p:xfrm>
          <a:off x="4119128" y="6393830"/>
          <a:ext cx="7964525" cy="218225"/>
        </p:xfrm>
        <a:graphic>
          <a:graphicData uri="http://schemas.openxmlformats.org/drawingml/2006/table">
            <a:tbl>
              <a:tblPr firstRow="1" bandRow="1"/>
              <a:tblGrid>
                <a:gridCol w="1592905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592905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592905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592905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592905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C1B73AA-4931-DD35-CFBA-C3D89BF37283}"/>
              </a:ext>
            </a:extLst>
          </p:cNvPr>
          <p:cNvSpPr txBox="1"/>
          <p:nvPr/>
        </p:nvSpPr>
        <p:spPr bwMode="gray">
          <a:xfrm>
            <a:off x="180218" y="2360260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E7E3BB6-8D6C-5B11-7107-C53E4C6DB3F2}"/>
              </a:ext>
            </a:extLst>
          </p:cNvPr>
          <p:cNvSpPr txBox="1"/>
          <p:nvPr/>
        </p:nvSpPr>
        <p:spPr>
          <a:xfrm>
            <a:off x="6643715" y="286839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E710E2E-231A-1631-E0C8-F8E56D60E65C}"/>
              </a:ext>
            </a:extLst>
          </p:cNvPr>
          <p:cNvSpPr txBox="1"/>
          <p:nvPr/>
        </p:nvSpPr>
        <p:spPr>
          <a:xfrm>
            <a:off x="8463993" y="264510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0D9A5CF-8847-696E-4C6E-CA0932409596}"/>
              </a:ext>
            </a:extLst>
          </p:cNvPr>
          <p:cNvSpPr txBox="1"/>
          <p:nvPr/>
        </p:nvSpPr>
        <p:spPr>
          <a:xfrm>
            <a:off x="8261121" y="287331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45A249-4B79-5FF8-1B2D-78E5C7E5E305}"/>
              </a:ext>
            </a:extLst>
          </p:cNvPr>
          <p:cNvSpPr txBox="1"/>
          <p:nvPr/>
        </p:nvSpPr>
        <p:spPr>
          <a:xfrm>
            <a:off x="7971070" y="419575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0DBE4B7-61F8-A45B-DF06-E065FA95949D}"/>
              </a:ext>
            </a:extLst>
          </p:cNvPr>
          <p:cNvSpPr txBox="1"/>
          <p:nvPr/>
        </p:nvSpPr>
        <p:spPr>
          <a:xfrm>
            <a:off x="9755624" y="308962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645C64-53CE-8A84-0346-B42B869E7554}"/>
              </a:ext>
            </a:extLst>
          </p:cNvPr>
          <p:cNvSpPr txBox="1"/>
          <p:nvPr/>
        </p:nvSpPr>
        <p:spPr>
          <a:xfrm>
            <a:off x="7662664" y="507859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75FEE9D-45B2-CC59-B427-9C63188293A0}"/>
              </a:ext>
            </a:extLst>
          </p:cNvPr>
          <p:cNvSpPr txBox="1"/>
          <p:nvPr/>
        </p:nvSpPr>
        <p:spPr>
          <a:xfrm>
            <a:off x="7677412" y="618472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363E518-A28B-42FF-7653-03D5A94AFD8D}"/>
              </a:ext>
            </a:extLst>
          </p:cNvPr>
          <p:cNvSpPr txBox="1"/>
          <p:nvPr/>
        </p:nvSpPr>
        <p:spPr>
          <a:xfrm>
            <a:off x="10091231" y="264019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E1454C6-6D0A-0CC6-8ADA-C9890F0810AC}"/>
              </a:ext>
            </a:extLst>
          </p:cNvPr>
          <p:cNvSpPr txBox="1"/>
          <p:nvPr/>
        </p:nvSpPr>
        <p:spPr>
          <a:xfrm>
            <a:off x="9653696" y="330387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E176C1A-A0B1-7A9C-DC78-12D6F905B779}"/>
              </a:ext>
            </a:extLst>
          </p:cNvPr>
          <p:cNvSpPr txBox="1"/>
          <p:nvPr/>
        </p:nvSpPr>
        <p:spPr>
          <a:xfrm>
            <a:off x="9255489" y="507859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F3AAB31-5961-E748-AF4E-0A117DC58FB1}"/>
              </a:ext>
            </a:extLst>
          </p:cNvPr>
          <p:cNvSpPr txBox="1"/>
          <p:nvPr/>
        </p:nvSpPr>
        <p:spPr>
          <a:xfrm>
            <a:off x="9270237" y="617488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C765B63-6089-D25E-AD1E-87B0A499A53A}"/>
              </a:ext>
            </a:extLst>
          </p:cNvPr>
          <p:cNvSpPr txBox="1"/>
          <p:nvPr/>
        </p:nvSpPr>
        <p:spPr>
          <a:xfrm>
            <a:off x="11202275" y="375123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72C6A51-0E7F-3A16-CABF-534B8EC16751}"/>
              </a:ext>
            </a:extLst>
          </p:cNvPr>
          <p:cNvSpPr txBox="1"/>
          <p:nvPr/>
        </p:nvSpPr>
        <p:spPr>
          <a:xfrm>
            <a:off x="11246520" y="352018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B913E9C-F6B5-FB25-A869-9A082DE6CE63}"/>
              </a:ext>
            </a:extLst>
          </p:cNvPr>
          <p:cNvSpPr txBox="1"/>
          <p:nvPr/>
        </p:nvSpPr>
        <p:spPr>
          <a:xfrm>
            <a:off x="11035126" y="463614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CD117F7-0981-0618-9FD0-3B1F2F376003}"/>
              </a:ext>
            </a:extLst>
          </p:cNvPr>
          <p:cNvSpPr txBox="1"/>
          <p:nvPr/>
        </p:nvSpPr>
        <p:spPr>
          <a:xfrm>
            <a:off x="9476713" y="439525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72332FF-08B3-3044-BA44-4C3A33C697F6}"/>
              </a:ext>
            </a:extLst>
          </p:cNvPr>
          <p:cNvSpPr txBox="1"/>
          <p:nvPr/>
        </p:nvSpPr>
        <p:spPr>
          <a:xfrm>
            <a:off x="11023454" y="6172527"/>
            <a:ext cx="48302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CDC9247-2AB1-3242-7466-98036E504D75}"/>
              </a:ext>
            </a:extLst>
          </p:cNvPr>
          <p:cNvSpPr txBox="1"/>
          <p:nvPr/>
        </p:nvSpPr>
        <p:spPr>
          <a:xfrm>
            <a:off x="11195519" y="3975018"/>
            <a:ext cx="48302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588BFFC-EEA0-C365-FA5A-9675868CD7E1}"/>
              </a:ext>
            </a:extLst>
          </p:cNvPr>
          <p:cNvSpPr txBox="1"/>
          <p:nvPr/>
        </p:nvSpPr>
        <p:spPr>
          <a:xfrm>
            <a:off x="6244977" y="4628863"/>
            <a:ext cx="48302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12115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5C6AB4-5A29-F5C9-1DBE-B80864E2EF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CAF8AB-D81A-0314-EBFE-BF049B95CD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AF8AB-D81A-0314-EBFE-BF049B95CD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7AB9F7-DDD5-FFF7-2AC9-889C4398B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Саморозвиток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403FC3-6EBE-AED9-E5CE-54A511D28CD8}"/>
              </a:ext>
            </a:extLst>
          </p:cNvPr>
          <p:cNvSpPr txBox="1"/>
          <p:nvPr/>
        </p:nvSpPr>
        <p:spPr>
          <a:xfrm>
            <a:off x="3893574" y="6620950"/>
            <a:ext cx="78536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3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Протягом останніх 12 місяців чи брали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участь у таких заходах для власного саморозвитку, окрім формального навчання у школі, коледжі або університеті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ECDC55-C76B-A106-3066-A5D06479631C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30BC1462-DED6-CEE2-241E-8B9FFDA9A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2678134"/>
              </p:ext>
            </p:extLst>
          </p:nvPr>
        </p:nvGraphicFramePr>
        <p:xfrm>
          <a:off x="39329" y="2752441"/>
          <a:ext cx="12142312" cy="36042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формальні лекції, воркшопи, навчальні курс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ймались </a:t>
                      </a:r>
                      <a:r>
                        <a:rPr lang="uk-UA" sz="113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олонтерством</a:t>
                      </a:r>
                      <a:endParaRPr lang="uk-UA" sz="113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602310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урси підвищення кваліфікації по робо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595027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ільноти за інтересами: зустрічі, спілкування, обмін ідеям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22506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ихологічна допомога або консульта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315643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мога у професійній орієнта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094962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али участь у громадських ініціативах для розвитку міс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8117726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урси іноземних мо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одне з переліченог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7585150B-A6FB-C07F-141B-0E7792A086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202190"/>
              </p:ext>
            </p:extLst>
          </p:nvPr>
        </p:nvGraphicFramePr>
        <p:xfrm>
          <a:off x="4043234" y="2650767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E6D2EBDD-8559-80C7-B4B9-FFF669704E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4988188"/>
              </p:ext>
            </p:extLst>
          </p:nvPr>
        </p:nvGraphicFramePr>
        <p:xfrm>
          <a:off x="4041058" y="2447793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A5BCA3C0-EB8B-7F9B-A6D5-56B4154A1A6F}"/>
              </a:ext>
            </a:extLst>
          </p:cNvPr>
          <p:cNvSpPr txBox="1">
            <a:spLocks/>
          </p:cNvSpPr>
          <p:nvPr/>
        </p:nvSpPr>
        <p:spPr>
          <a:xfrm>
            <a:off x="1" y="2073973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Участь у заходах для власного саморозвитку протягом останніх 12 місяців 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A3503BF3-C4E4-4EEC-3D4A-93AAA8D938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3278996"/>
              </p:ext>
            </p:extLst>
          </p:nvPr>
        </p:nvGraphicFramePr>
        <p:xfrm>
          <a:off x="5654368" y="2653619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399E1373-E8B0-CEE4-0328-D24638D1D6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8713406"/>
              </p:ext>
            </p:extLst>
          </p:nvPr>
        </p:nvGraphicFramePr>
        <p:xfrm>
          <a:off x="7285848" y="2647915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C63A26A1-34FB-E7DD-82CE-BA8648CD6B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9868380"/>
              </p:ext>
            </p:extLst>
          </p:nvPr>
        </p:nvGraphicFramePr>
        <p:xfrm>
          <a:off x="8916644" y="2650767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9E4E0C0D-9361-CDA5-7EA8-03AC2F5A8C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2670505"/>
              </p:ext>
            </p:extLst>
          </p:nvPr>
        </p:nvGraphicFramePr>
        <p:xfrm>
          <a:off x="10530361" y="2647915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A8A224A-584F-FF3F-C9DC-FA18DAE2F1C0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Найбільш поширені форми саморозвитку для молоді – це неформальні лекції, воркшопи, навчальні курси; </a:t>
            </a:r>
            <a:r>
              <a:rPr lang="uk-UA" sz="1600" noProof="0" dirty="0" err="1"/>
              <a:t>волонтерство</a:t>
            </a:r>
            <a:r>
              <a:rPr lang="uk-UA" sz="1600" noProof="0" dirty="0"/>
              <a:t>; курси підвищення кваліфікації по роботі. </a:t>
            </a:r>
            <a:r>
              <a:rPr lang="uk-UA" sz="1600" dirty="0"/>
              <a:t>Участь у спільнотах за інтересами є більш вираженою для молодшої вікової групи 14-19 років.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ED64CBF-93B9-88EC-3A6C-FCD48F894DC6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2D9AE81F-D98D-4DEB-4F3F-F530820D6F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1416307"/>
              </p:ext>
            </p:extLst>
          </p:nvPr>
        </p:nvGraphicFramePr>
        <p:xfrm>
          <a:off x="4041058" y="6344009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C8EBADAB-75C1-8EA4-A3DD-3B48CBC36310}"/>
              </a:ext>
            </a:extLst>
          </p:cNvPr>
          <p:cNvSpPr txBox="1"/>
          <p:nvPr/>
        </p:nvSpPr>
        <p:spPr>
          <a:xfrm>
            <a:off x="11341699" y="3457378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10C2EA-FA1E-649F-9854-38E3C50B22A3}"/>
              </a:ext>
            </a:extLst>
          </p:cNvPr>
          <p:cNvSpPr txBox="1"/>
          <p:nvPr/>
        </p:nvSpPr>
        <p:spPr>
          <a:xfrm>
            <a:off x="8004576" y="280156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1A4D64-1B0A-21D9-C949-EE858FAA98D5}"/>
              </a:ext>
            </a:extLst>
          </p:cNvPr>
          <p:cNvSpPr txBox="1"/>
          <p:nvPr/>
        </p:nvSpPr>
        <p:spPr>
          <a:xfrm>
            <a:off x="6110981" y="475880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B9A0A6-9289-38C1-86B2-393FC52F01FA}"/>
              </a:ext>
            </a:extLst>
          </p:cNvPr>
          <p:cNvSpPr txBox="1"/>
          <p:nvPr/>
        </p:nvSpPr>
        <p:spPr bwMode="gray">
          <a:xfrm>
            <a:off x="180218" y="247824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D6B290-7A29-6EE3-A53A-772CBEBA431F}"/>
              </a:ext>
            </a:extLst>
          </p:cNvPr>
          <p:cNvSpPr txBox="1"/>
          <p:nvPr/>
        </p:nvSpPr>
        <p:spPr>
          <a:xfrm>
            <a:off x="7901337" y="346523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50B2B65-A9EA-B69D-49A0-45526C0E2237}"/>
              </a:ext>
            </a:extLst>
          </p:cNvPr>
          <p:cNvSpPr txBox="1"/>
          <p:nvPr/>
        </p:nvSpPr>
        <p:spPr>
          <a:xfrm>
            <a:off x="9744885" y="279172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7048C87-7193-F60A-A79A-C5EEFB08CBBF}"/>
              </a:ext>
            </a:extLst>
          </p:cNvPr>
          <p:cNvSpPr txBox="1"/>
          <p:nvPr/>
        </p:nvSpPr>
        <p:spPr>
          <a:xfrm>
            <a:off x="9631814" y="313094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D740618-C18B-4C26-6E0E-5DB2674A6639}"/>
              </a:ext>
            </a:extLst>
          </p:cNvPr>
          <p:cNvSpPr txBox="1"/>
          <p:nvPr/>
        </p:nvSpPr>
        <p:spPr>
          <a:xfrm>
            <a:off x="9636730" y="346032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CB15EF9-2E4D-FFCC-E6B8-DDCF68C4B35B}"/>
              </a:ext>
            </a:extLst>
          </p:cNvPr>
          <p:cNvSpPr txBox="1"/>
          <p:nvPr/>
        </p:nvSpPr>
        <p:spPr>
          <a:xfrm>
            <a:off x="11273801" y="279664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006BC45-18BF-21D9-FF34-B9C68FCF3A19}"/>
              </a:ext>
            </a:extLst>
          </p:cNvPr>
          <p:cNvSpPr txBox="1"/>
          <p:nvPr/>
        </p:nvSpPr>
        <p:spPr>
          <a:xfrm>
            <a:off x="11278718" y="312602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781646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E2BF37-3201-8057-567B-7DE47FBE02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AEC83BC-B727-0969-B6CE-08CC82478A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EC83BC-B727-0969-B6CE-08CC82478A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458429-5B8F-7CF0-D452-716056AE2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Створення  і розвиток бізнесу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F92C7065-50D9-19C8-B787-1CB4BE889075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7423304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DB827F-30E4-196A-7A7E-C93AFED4F8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DD85F82-0471-A5FF-7742-24095F9AD5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D85F82-0471-A5FF-7742-24095F9AD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8574266-F372-244D-0665-0F6D24CB0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Очікувані види підтримки для ведення бізнесу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3C7F54-024F-FC0C-B752-FE90AFA9B8E9}"/>
              </a:ext>
            </a:extLst>
          </p:cNvPr>
          <p:cNvSpPr txBox="1"/>
          <p:nvPr/>
        </p:nvSpPr>
        <p:spPr>
          <a:xfrm>
            <a:off x="6656439" y="6620950"/>
            <a:ext cx="50908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32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і види підтримки є для Вас найбільш важливими для створення або розвитку власного бізнесу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3BED4B-02AC-9228-6B16-18BFAE41DEAD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1ED26186-9152-ECFE-B468-66B3F9104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390990"/>
              </p:ext>
            </p:extLst>
          </p:nvPr>
        </p:nvGraphicFramePr>
        <p:xfrm>
          <a:off x="39329" y="2752441"/>
          <a:ext cx="12142312" cy="36042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ння і консультації з бізнес-планування, ведення фінансового обл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нторство</a:t>
                      </a:r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консультації від успішних бізнесме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602310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Юридичні консультації щодо створення і ведення бізнес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595027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аб/простір для зустрічей підприємців, обміну досвідом, проведення захо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22506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анти на закупівлю обладна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315643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ння і консультації щодо залучення інвестор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094962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ння і консультації щодо маркетингу і збу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8117726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редити за пільговою ставко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одне з переліченог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BA762FEF-B6CE-8EED-4DF7-D92BF8FDC1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406825"/>
              </p:ext>
            </p:extLst>
          </p:nvPr>
        </p:nvGraphicFramePr>
        <p:xfrm>
          <a:off x="4043234" y="2650767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7C179D1E-EE8C-E8C1-1C38-24CAA4F8DC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4607952"/>
              </p:ext>
            </p:extLst>
          </p:nvPr>
        </p:nvGraphicFramePr>
        <p:xfrm>
          <a:off x="4041058" y="2447793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AE7DEA15-FE39-1650-52AB-527418DAAC93}"/>
              </a:ext>
            </a:extLst>
          </p:cNvPr>
          <p:cNvSpPr txBox="1">
            <a:spLocks/>
          </p:cNvSpPr>
          <p:nvPr/>
        </p:nvSpPr>
        <p:spPr>
          <a:xfrm>
            <a:off x="1" y="2073973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Види підтримки, які є найбільш важливими для створення або розвитку власного бізнесу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BB68800E-05FE-8FA7-1BFF-557AD51AE4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6000807"/>
              </p:ext>
            </p:extLst>
          </p:nvPr>
        </p:nvGraphicFramePr>
        <p:xfrm>
          <a:off x="5654368" y="2653619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C85E4AD1-55E6-7C92-7A7D-6C5A1FA9BC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5577161"/>
              </p:ext>
            </p:extLst>
          </p:nvPr>
        </p:nvGraphicFramePr>
        <p:xfrm>
          <a:off x="7285848" y="2647915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24114BD3-3607-3BCC-0E20-C715005786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7414795"/>
              </p:ext>
            </p:extLst>
          </p:nvPr>
        </p:nvGraphicFramePr>
        <p:xfrm>
          <a:off x="8916644" y="2650767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B76E43AC-02A6-2DC7-EE87-A00A834166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0642412"/>
              </p:ext>
            </p:extLst>
          </p:nvPr>
        </p:nvGraphicFramePr>
        <p:xfrm>
          <a:off x="10530361" y="2647915"/>
          <a:ext cx="1548000" cy="3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9264C1D3-5E70-EB41-05C7-FB2FE6D57922}"/>
              </a:ext>
            </a:extLst>
          </p:cNvPr>
          <p:cNvSpPr txBox="1"/>
          <p:nvPr/>
        </p:nvSpPr>
        <p:spPr bwMode="gray">
          <a:xfrm>
            <a:off x="70090" y="2426889"/>
            <a:ext cx="2948414" cy="2818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cs typeface="Arial" pitchFamily="34" charset="0"/>
              </a:rPr>
              <a:t>% респондентів, які ведуть бізнес зараз, або планують створити бізнес після закінчення навчання 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E7C2B23-0181-0E39-238B-E1A082A69CDA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Загалом 23% усіх опитаних ведуть власний бізнес зараз або планують мати власний бізнес після закінчення навчання.</a:t>
            </a:r>
          </a:p>
          <a:p>
            <a:r>
              <a:rPr lang="uk-UA" sz="1600" dirty="0"/>
              <a:t>Для групи 20-29 років найбільш очікуваною формою підтримки є юридичні консультації щодо створення і ведення бізнесу. </a:t>
            </a:r>
          </a:p>
          <a:p>
            <a:r>
              <a:rPr lang="uk-UA" sz="1600" noProof="0" dirty="0"/>
              <a:t>Для групи 25-29 років та 30-35 років є вираженою потреба у кредитах за пільговою ставкою для розвитку бізнесу. </a:t>
            </a:r>
            <a:r>
              <a:rPr lang="uk-UA" sz="1600" dirty="0"/>
              <a:t>Для старшої групи 30-35 років найбільш актуальними є гранти на закупівлю обладнання. Для молодшої групи 14-19 років корисним є формування фінансової грамотності – навчання щодо бізнес-планування, ведення фінансового обліку, маркетингу і збуту. </a:t>
            </a:r>
            <a:r>
              <a:rPr lang="uk-UA" sz="1600" noProof="0" dirty="0"/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F50160-C7F2-7272-A873-2C5878C4E78B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C4BBF369-7352-7D44-A926-B4DBAF2E8C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6574468"/>
              </p:ext>
            </p:extLst>
          </p:nvPr>
        </p:nvGraphicFramePr>
        <p:xfrm>
          <a:off x="4041058" y="6344009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130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0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2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4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97B4634-DE8D-2579-E38F-6FC6C264C912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73280E-8E44-52D2-F486-2C7C999994BD}"/>
              </a:ext>
            </a:extLst>
          </p:cNvPr>
          <p:cNvSpPr txBox="1"/>
          <p:nvPr/>
        </p:nvSpPr>
        <p:spPr>
          <a:xfrm>
            <a:off x="11441659" y="4106053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9D4753-5E18-F0B1-B6D6-C49BF43C8940}"/>
              </a:ext>
            </a:extLst>
          </p:cNvPr>
          <p:cNvSpPr txBox="1"/>
          <p:nvPr/>
        </p:nvSpPr>
        <p:spPr>
          <a:xfrm>
            <a:off x="8231624" y="346235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B2FE7C-D76B-EB6D-57E9-B47C32CDF3D6}"/>
              </a:ext>
            </a:extLst>
          </p:cNvPr>
          <p:cNvSpPr txBox="1"/>
          <p:nvPr/>
        </p:nvSpPr>
        <p:spPr>
          <a:xfrm>
            <a:off x="6421993" y="476463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9D8D5B-9586-3065-611E-0FBFA24D875A}"/>
              </a:ext>
            </a:extLst>
          </p:cNvPr>
          <p:cNvSpPr txBox="1"/>
          <p:nvPr/>
        </p:nvSpPr>
        <p:spPr>
          <a:xfrm>
            <a:off x="9750213" y="476955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3B18B7E-1BB9-B54E-4264-00952A32335B}"/>
              </a:ext>
            </a:extLst>
          </p:cNvPr>
          <p:cNvSpPr txBox="1"/>
          <p:nvPr/>
        </p:nvSpPr>
        <p:spPr>
          <a:xfrm>
            <a:off x="11367917" y="5094195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1EAD12E-D4E5-7A68-7597-013664454D29}"/>
              </a:ext>
            </a:extLst>
          </p:cNvPr>
          <p:cNvSpPr txBox="1"/>
          <p:nvPr/>
        </p:nvSpPr>
        <p:spPr>
          <a:xfrm>
            <a:off x="9691517" y="5108943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2CCD3C7-E076-1397-804A-E10B15328880}"/>
              </a:ext>
            </a:extLst>
          </p:cNvPr>
          <p:cNvSpPr txBox="1"/>
          <p:nvPr/>
        </p:nvSpPr>
        <p:spPr>
          <a:xfrm>
            <a:off x="9893078" y="3452208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196223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28CF48-7D77-1A10-D822-12E2AAB187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A733BED-8F10-C213-0A49-C396FA3E9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733BED-8F10-C213-0A49-C396FA3E9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59431E-9192-729B-F553-43B9DC3F5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Очікування від міської влади</a:t>
            </a:r>
            <a:endParaRPr lang="uk-UA" sz="2700" noProof="0" dirty="0">
              <a:solidFill>
                <a:schemeClr val="bg1"/>
              </a:solidFill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76763B1-40FF-DB92-2524-5C4AA7879E04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018550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9F5A2A-FB59-0C19-54E6-0F3AD2ABB1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7">
            <a:extLst>
              <a:ext uri="{FF2B5EF4-FFF2-40B4-BE49-F238E27FC236}">
                <a16:creationId xmlns:a16="http://schemas.microsoft.com/office/drawing/2014/main" id="{A8A0DB1A-13B1-48D2-F7DC-DCD0AB437E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418815"/>
              </p:ext>
            </p:extLst>
          </p:nvPr>
        </p:nvGraphicFramePr>
        <p:xfrm>
          <a:off x="49161" y="2793727"/>
          <a:ext cx="12112813" cy="38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4051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372294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8804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рахування потреб молодих людей у плануванні розвитку та управлінні громадою міською владою Вінниц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221FA1C-DCA4-F94D-60F3-2498FE4CF5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21FA1C-DCA4-F94D-60F3-2498FE4CF5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FFC7E9-5B59-EA54-5057-F1348255F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Очікування від міської влад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AD5395-4E29-6D7C-1ED3-A39EDD72FFB3}"/>
              </a:ext>
            </a:extLst>
          </p:cNvPr>
          <p:cNvSpPr txBox="1"/>
          <p:nvPr/>
        </p:nvSpPr>
        <p:spPr>
          <a:xfrm>
            <a:off x="2880852" y="6502962"/>
            <a:ext cx="88664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35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скільки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згодні з тим, що міська влада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і враховує потреби молодих людей у плануванні розвитку та управлінні громадою? Оцініть за шкалою від 1 до 7, де 1 – повністю не згодні, 4 – нейтральна оцінка, 7 – повністю згодні. </a:t>
            </a: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36.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На Вашу думку, що має першочергово робити міська влада для того, щоб приваблювати і утримувати у громаді молодих людей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9BC305-45E1-9FC6-E110-BE41AEB51898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EB556E97-064F-C598-220E-0D6E11B9E6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8690040"/>
              </p:ext>
            </p:extLst>
          </p:nvPr>
        </p:nvGraphicFramePr>
        <p:xfrm>
          <a:off x="19009" y="4168256"/>
          <a:ext cx="12156521" cy="21984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0520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35132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лучати інвесторів у місто, які будуть створювати робочі місц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давати гранти для початку і розвитку бізнес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0808356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дувати доступне соціальне житло для молод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01683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давати пільгові кредити на придбання житл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0554207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давати гранти на навча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98469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лучати молодь до планування розвитку міс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2232310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лучати молодь до роботи у міських органах вла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0791219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ідтримувати молодіжні об’єдна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056278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ювати простори для зустрічі молоді (хаб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882492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вати систему психологічної підтримки для молод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7067745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ганізувати бізнес-інкубатори, хаби для підприємц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2037639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ганізувати заходи всеукраїнського рівня із залученням відомих люд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8393928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  <a:tr h="997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62192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6AEFD814-258F-3DD7-0ADA-236CEB1DE7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8774961"/>
              </p:ext>
            </p:extLst>
          </p:nvPr>
        </p:nvGraphicFramePr>
        <p:xfrm>
          <a:off x="3819714" y="4107634"/>
          <a:ext cx="1620000" cy="228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D91A1496-2DBE-A34B-2C3D-6BD083A264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499046"/>
              </p:ext>
            </p:extLst>
          </p:nvPr>
        </p:nvGraphicFramePr>
        <p:xfrm>
          <a:off x="3820160" y="3916406"/>
          <a:ext cx="8279940" cy="252000"/>
        </p:xfrm>
        <a:graphic>
          <a:graphicData uri="http://schemas.openxmlformats.org/drawingml/2006/table">
            <a:tbl>
              <a:tblPr firstRow="1" bandRow="1"/>
              <a:tblGrid>
                <a:gridCol w="1655988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55988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55988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55988">
                  <a:extLst>
                    <a:ext uri="{9D8B030D-6E8A-4147-A177-3AD203B41FA5}">
                      <a16:colId xmlns:a16="http://schemas.microsoft.com/office/drawing/2014/main" val="17623502"/>
                    </a:ext>
                  </a:extLst>
                </a:gridCol>
                <a:gridCol w="1655988">
                  <a:extLst>
                    <a:ext uri="{9D8B030D-6E8A-4147-A177-3AD203B41FA5}">
                      <a16:colId xmlns:a16="http://schemas.microsoft.com/office/drawing/2014/main" val="3570892057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6E4EB040-61BA-5375-E5AC-6BEDB8919495}"/>
              </a:ext>
            </a:extLst>
          </p:cNvPr>
          <p:cNvSpPr txBox="1">
            <a:spLocks/>
          </p:cNvSpPr>
          <p:nvPr/>
        </p:nvSpPr>
        <p:spPr>
          <a:xfrm>
            <a:off x="1" y="3592074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Першочергові дії міської влади для того, щоб приваблювати і утримувати у громаді молодих людей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1E66D9AD-58A1-FD5F-8B45-F458F469A2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6541913"/>
              </p:ext>
            </p:extLst>
          </p:nvPr>
        </p:nvGraphicFramePr>
        <p:xfrm>
          <a:off x="5457724" y="4110486"/>
          <a:ext cx="1620000" cy="228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3791150B-578B-8524-735D-FF3BF9E4B3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0941825"/>
              </p:ext>
            </p:extLst>
          </p:nvPr>
        </p:nvGraphicFramePr>
        <p:xfrm>
          <a:off x="7126896" y="4104782"/>
          <a:ext cx="1620000" cy="228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E69A456-9911-4CBD-7C86-ABB59741FA33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Більшість – 63% - давали нейтральну оцінку щодо врахування потреб молодих людей у плануванні розвитку громади. Водночас 28% вважають, що влада враховує потреби молодих людей. Для людей 25 років і старше головними очікуваннями щодо дій місцевої влади є залучати інвесторів, надавати гранти для бізнесу, будувати доступне соціальне житло та надавати пільгові кредити на придбання житла. Для молодшої вікової групи 14-19 років відносно більш актуальною є підтримка молодіжних об’єднань, а для групи 20-24 роки — організація заходів всеукраїнського рівня із залученням відомих людей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FFEC4A34-EEBE-D4D2-DA40-1F3583F97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167987"/>
              </p:ext>
            </p:extLst>
          </p:nvPr>
        </p:nvGraphicFramePr>
        <p:xfrm>
          <a:off x="3767661" y="6347616"/>
          <a:ext cx="8405105" cy="218225"/>
        </p:xfrm>
        <a:graphic>
          <a:graphicData uri="http://schemas.openxmlformats.org/drawingml/2006/table">
            <a:tbl>
              <a:tblPr firstRow="1" bandRow="1"/>
              <a:tblGrid>
                <a:gridCol w="1681021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81021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81021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81021">
                  <a:extLst>
                    <a:ext uri="{9D8B030D-6E8A-4147-A177-3AD203B41FA5}">
                      <a16:colId xmlns:a16="http://schemas.microsoft.com/office/drawing/2014/main" val="339910579"/>
                    </a:ext>
                  </a:extLst>
                </a:gridCol>
                <a:gridCol w="1681021">
                  <a:extLst>
                    <a:ext uri="{9D8B030D-6E8A-4147-A177-3AD203B41FA5}">
                      <a16:colId xmlns:a16="http://schemas.microsoft.com/office/drawing/2014/main" val="2212800790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EBB99F57-3E2C-D279-137C-A99376B0C4F5}"/>
              </a:ext>
            </a:extLst>
          </p:cNvPr>
          <p:cNvSpPr txBox="1"/>
          <p:nvPr/>
        </p:nvSpPr>
        <p:spPr bwMode="gray">
          <a:xfrm>
            <a:off x="180218" y="3898027"/>
            <a:ext cx="12456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4604FB98-F9D1-C1D9-09CC-EF6366EB39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35432"/>
              </p:ext>
            </p:extLst>
          </p:nvPr>
        </p:nvGraphicFramePr>
        <p:xfrm>
          <a:off x="3792821" y="3176388"/>
          <a:ext cx="8307190" cy="218225"/>
        </p:xfrm>
        <a:graphic>
          <a:graphicData uri="http://schemas.openxmlformats.org/drawingml/2006/table">
            <a:tbl>
              <a:tblPr firstRow="1" bandRow="1"/>
              <a:tblGrid>
                <a:gridCol w="1661438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61438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61438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61438">
                  <a:extLst>
                    <a:ext uri="{9D8B030D-6E8A-4147-A177-3AD203B41FA5}">
                      <a16:colId xmlns:a16="http://schemas.microsoft.com/office/drawing/2014/main" val="3010016912"/>
                    </a:ext>
                  </a:extLst>
                </a:gridCol>
                <a:gridCol w="1661438">
                  <a:extLst>
                    <a:ext uri="{9D8B030D-6E8A-4147-A177-3AD203B41FA5}">
                      <a16:colId xmlns:a16="http://schemas.microsoft.com/office/drawing/2014/main" val="2066859963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6" name="Диаграмма 16">
            <a:extLst>
              <a:ext uri="{FF2B5EF4-FFF2-40B4-BE49-F238E27FC236}">
                <a16:creationId xmlns:a16="http://schemas.microsoft.com/office/drawing/2014/main" id="{EAA45779-EF09-5D13-64FD-8FFEC3D842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6146812"/>
              </p:ext>
            </p:extLst>
          </p:nvPr>
        </p:nvGraphicFramePr>
        <p:xfrm>
          <a:off x="3808890" y="2700354"/>
          <a:ext cx="1620000" cy="510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9" name="Table 2">
            <a:extLst>
              <a:ext uri="{FF2B5EF4-FFF2-40B4-BE49-F238E27FC236}">
                <a16:creationId xmlns:a16="http://schemas.microsoft.com/office/drawing/2014/main" id="{BC6A4053-5CF1-6AA2-D0A4-3D5A077D1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979875"/>
              </p:ext>
            </p:extLst>
          </p:nvPr>
        </p:nvGraphicFramePr>
        <p:xfrm>
          <a:off x="3820160" y="2509727"/>
          <a:ext cx="8279940" cy="252000"/>
        </p:xfrm>
        <a:graphic>
          <a:graphicData uri="http://schemas.openxmlformats.org/drawingml/2006/table">
            <a:tbl>
              <a:tblPr firstRow="1" bandRow="1"/>
              <a:tblGrid>
                <a:gridCol w="1655988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55988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55988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55988">
                  <a:extLst>
                    <a:ext uri="{9D8B030D-6E8A-4147-A177-3AD203B41FA5}">
                      <a16:colId xmlns:a16="http://schemas.microsoft.com/office/drawing/2014/main" val="3804225530"/>
                    </a:ext>
                  </a:extLst>
                </a:gridCol>
                <a:gridCol w="1655988">
                  <a:extLst>
                    <a:ext uri="{9D8B030D-6E8A-4147-A177-3AD203B41FA5}">
                      <a16:colId xmlns:a16="http://schemas.microsoft.com/office/drawing/2014/main" val="362584301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20" name="Title 1">
            <a:extLst>
              <a:ext uri="{FF2B5EF4-FFF2-40B4-BE49-F238E27FC236}">
                <a16:creationId xmlns:a16="http://schemas.microsoft.com/office/drawing/2014/main" id="{FB5D3849-33E4-81F6-84F4-D4E7B0DE9448}"/>
              </a:ext>
            </a:extLst>
          </p:cNvPr>
          <p:cNvSpPr txBox="1">
            <a:spLocks/>
          </p:cNvSpPr>
          <p:nvPr/>
        </p:nvSpPr>
        <p:spPr>
          <a:xfrm>
            <a:off x="1" y="1993014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Згода з тим, що міська влада враховує потреби молодих людей у плануванні розвитку та управлінні громадою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0A2E8A3-43B5-1303-E7EA-95E161FBB17C}"/>
              </a:ext>
            </a:extLst>
          </p:cNvPr>
          <p:cNvSpPr txBox="1"/>
          <p:nvPr/>
        </p:nvSpPr>
        <p:spPr bwMode="gray">
          <a:xfrm>
            <a:off x="180218" y="2466116"/>
            <a:ext cx="12456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23" name="Диаграмма 16">
            <a:extLst>
              <a:ext uri="{FF2B5EF4-FFF2-40B4-BE49-F238E27FC236}">
                <a16:creationId xmlns:a16="http://schemas.microsoft.com/office/drawing/2014/main" id="{1F965D98-DB6D-BC86-B334-61DCB7CF5C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2385670"/>
              </p:ext>
            </p:extLst>
          </p:nvPr>
        </p:nvGraphicFramePr>
        <p:xfrm>
          <a:off x="5461528" y="2700998"/>
          <a:ext cx="1620000" cy="510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4" name="Диаграмма 16">
            <a:extLst>
              <a:ext uri="{FF2B5EF4-FFF2-40B4-BE49-F238E27FC236}">
                <a16:creationId xmlns:a16="http://schemas.microsoft.com/office/drawing/2014/main" id="{2F65955F-4DDC-883F-E1EC-DCB4D9BED1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0914483"/>
              </p:ext>
            </p:extLst>
          </p:nvPr>
        </p:nvGraphicFramePr>
        <p:xfrm>
          <a:off x="7123998" y="2700314"/>
          <a:ext cx="1620000" cy="510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7" name="Диаграмма 16">
            <a:extLst>
              <a:ext uri="{FF2B5EF4-FFF2-40B4-BE49-F238E27FC236}">
                <a16:creationId xmlns:a16="http://schemas.microsoft.com/office/drawing/2014/main" id="{899752A9-977B-2770-DFB3-06A0690E39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9761029"/>
              </p:ext>
            </p:extLst>
          </p:nvPr>
        </p:nvGraphicFramePr>
        <p:xfrm>
          <a:off x="2487561" y="2316188"/>
          <a:ext cx="9547121" cy="2251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5" name="Диаграмма 16">
            <a:extLst>
              <a:ext uri="{FF2B5EF4-FFF2-40B4-BE49-F238E27FC236}">
                <a16:creationId xmlns:a16="http://schemas.microsoft.com/office/drawing/2014/main" id="{C4E4C0ED-C4BB-A822-E65B-45F2D4C882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484475"/>
              </p:ext>
            </p:extLst>
          </p:nvPr>
        </p:nvGraphicFramePr>
        <p:xfrm>
          <a:off x="8780464" y="4104782"/>
          <a:ext cx="1620000" cy="228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21" name="Диаграмма 16">
            <a:extLst>
              <a:ext uri="{FF2B5EF4-FFF2-40B4-BE49-F238E27FC236}">
                <a16:creationId xmlns:a16="http://schemas.microsoft.com/office/drawing/2014/main" id="{7A2E1C41-83F5-A6D3-5794-D959F27AE2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2898335"/>
              </p:ext>
            </p:extLst>
          </p:nvPr>
        </p:nvGraphicFramePr>
        <p:xfrm>
          <a:off x="8783638" y="2694184"/>
          <a:ext cx="1620000" cy="510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C0F98A47-D767-0E09-2CEA-8DA2A531C1FD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d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6" name="Диаграмма 16">
            <a:extLst>
              <a:ext uri="{FF2B5EF4-FFF2-40B4-BE49-F238E27FC236}">
                <a16:creationId xmlns:a16="http://schemas.microsoft.com/office/drawing/2014/main" id="{9EC18AC8-6314-B8EB-D125-69027E48F5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544554"/>
              </p:ext>
            </p:extLst>
          </p:nvPr>
        </p:nvGraphicFramePr>
        <p:xfrm>
          <a:off x="10443278" y="2700938"/>
          <a:ext cx="1620000" cy="510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0FA8E8ED-0BA9-FA9E-F87E-E208496EB3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0202176"/>
              </p:ext>
            </p:extLst>
          </p:nvPr>
        </p:nvGraphicFramePr>
        <p:xfrm>
          <a:off x="10443278" y="4104782"/>
          <a:ext cx="1620000" cy="228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2CF1F7E5-AC14-7677-1144-0809B5AAACCF}"/>
              </a:ext>
            </a:extLst>
          </p:cNvPr>
          <p:cNvSpPr txBox="1"/>
          <p:nvPr/>
        </p:nvSpPr>
        <p:spPr>
          <a:xfrm>
            <a:off x="5613606" y="2956367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72935F1-FA0B-5E90-C735-DDADE41D2B9A}"/>
              </a:ext>
            </a:extLst>
          </p:cNvPr>
          <p:cNvSpPr txBox="1"/>
          <p:nvPr/>
        </p:nvSpPr>
        <p:spPr>
          <a:xfrm>
            <a:off x="11741656" y="284806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359845C-6229-5BDA-42FA-9FAA130A76F0}"/>
              </a:ext>
            </a:extLst>
          </p:cNvPr>
          <p:cNvSpPr txBox="1"/>
          <p:nvPr/>
        </p:nvSpPr>
        <p:spPr>
          <a:xfrm>
            <a:off x="7221180" y="2951451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7030FD2-32B4-5C3E-E98B-B6979FEE817A}"/>
              </a:ext>
            </a:extLst>
          </p:cNvPr>
          <p:cNvSpPr txBox="1"/>
          <p:nvPr/>
        </p:nvSpPr>
        <p:spPr>
          <a:xfrm>
            <a:off x="9422394" y="2956435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21E85A3-F3AB-4A78-6645-B86681A6F347}"/>
              </a:ext>
            </a:extLst>
          </p:cNvPr>
          <p:cNvSpPr txBox="1"/>
          <p:nvPr/>
        </p:nvSpPr>
        <p:spPr>
          <a:xfrm>
            <a:off x="10027077" y="2853197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FE4F996-B6AC-921E-FAA7-DA090B2B338F}"/>
              </a:ext>
            </a:extLst>
          </p:cNvPr>
          <p:cNvSpPr txBox="1"/>
          <p:nvPr/>
        </p:nvSpPr>
        <p:spPr>
          <a:xfrm>
            <a:off x="11559759" y="413293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E4587C9-5093-20C6-0C99-0F7596F5BD33}"/>
              </a:ext>
            </a:extLst>
          </p:cNvPr>
          <p:cNvSpPr txBox="1"/>
          <p:nvPr/>
        </p:nvSpPr>
        <p:spPr>
          <a:xfrm>
            <a:off x="11053397" y="570118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2E31A13-B285-630B-E065-7118DE5A4106}"/>
              </a:ext>
            </a:extLst>
          </p:cNvPr>
          <p:cNvSpPr txBox="1"/>
          <p:nvPr/>
        </p:nvSpPr>
        <p:spPr>
          <a:xfrm>
            <a:off x="9691630" y="460488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FC25D5F-4AC9-261F-44EF-2E7E500A12AB}"/>
              </a:ext>
            </a:extLst>
          </p:cNvPr>
          <p:cNvSpPr txBox="1"/>
          <p:nvPr/>
        </p:nvSpPr>
        <p:spPr>
          <a:xfrm>
            <a:off x="8143050" y="412802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B958559-175E-4F92-79D7-6E5B81D453AD}"/>
              </a:ext>
            </a:extLst>
          </p:cNvPr>
          <p:cNvSpPr txBox="1"/>
          <p:nvPr/>
        </p:nvSpPr>
        <p:spPr>
          <a:xfrm>
            <a:off x="7921824" y="459505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F62BABC-B6F5-A103-C359-ECA539853214}"/>
              </a:ext>
            </a:extLst>
          </p:cNvPr>
          <p:cNvSpPr txBox="1"/>
          <p:nvPr/>
        </p:nvSpPr>
        <p:spPr>
          <a:xfrm>
            <a:off x="7405631" y="601581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A375FE-3226-7F4C-2A09-C498959EFFAF}"/>
              </a:ext>
            </a:extLst>
          </p:cNvPr>
          <p:cNvSpPr txBox="1"/>
          <p:nvPr/>
        </p:nvSpPr>
        <p:spPr>
          <a:xfrm>
            <a:off x="6102857" y="553895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53297B1-EDC0-4321-5A0F-D94DADCD2B42}"/>
              </a:ext>
            </a:extLst>
          </p:cNvPr>
          <p:cNvSpPr txBox="1"/>
          <p:nvPr/>
        </p:nvSpPr>
        <p:spPr>
          <a:xfrm>
            <a:off x="5734147" y="617313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9C97E02-89A2-D0F4-CAC6-6A1EAB9A4619}"/>
              </a:ext>
            </a:extLst>
          </p:cNvPr>
          <p:cNvSpPr txBox="1"/>
          <p:nvPr/>
        </p:nvSpPr>
        <p:spPr>
          <a:xfrm>
            <a:off x="7774341" y="523415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A156A76-CE5C-B7BE-B8B1-DC36919D11FE}"/>
              </a:ext>
            </a:extLst>
          </p:cNvPr>
          <p:cNvSpPr txBox="1"/>
          <p:nvPr/>
        </p:nvSpPr>
        <p:spPr>
          <a:xfrm>
            <a:off x="11442923" y="4288704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15E0C54-7C16-F90E-867F-C68A7420EE62}"/>
              </a:ext>
            </a:extLst>
          </p:cNvPr>
          <p:cNvSpPr txBox="1"/>
          <p:nvPr/>
        </p:nvSpPr>
        <p:spPr>
          <a:xfrm>
            <a:off x="11477336" y="4450936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C07C60E-A27D-D7D9-DA44-F8EDA7546B79}"/>
              </a:ext>
            </a:extLst>
          </p:cNvPr>
          <p:cNvSpPr txBox="1"/>
          <p:nvPr/>
        </p:nvSpPr>
        <p:spPr>
          <a:xfrm>
            <a:off x="9958253" y="4121555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775BBFB-37DC-F801-8AD9-8EB14F1AC144}"/>
              </a:ext>
            </a:extLst>
          </p:cNvPr>
          <p:cNvSpPr txBox="1"/>
          <p:nvPr/>
        </p:nvSpPr>
        <p:spPr>
          <a:xfrm>
            <a:off x="9796021" y="4293619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F343E74-D324-D3AF-95E7-095584AA698E}"/>
              </a:ext>
            </a:extLst>
          </p:cNvPr>
          <p:cNvSpPr txBox="1"/>
          <p:nvPr/>
        </p:nvSpPr>
        <p:spPr>
          <a:xfrm>
            <a:off x="9741943" y="4446019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610BC1D-8E0D-EA61-BE4D-E14BF6F4ECED}"/>
              </a:ext>
            </a:extLst>
          </p:cNvPr>
          <p:cNvSpPr txBox="1"/>
          <p:nvPr/>
        </p:nvSpPr>
        <p:spPr>
          <a:xfrm>
            <a:off x="11506946" y="4606812"/>
            <a:ext cx="60639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5061399-766F-5833-283A-E23E882C4C30}"/>
              </a:ext>
            </a:extLst>
          </p:cNvPr>
          <p:cNvSpPr txBox="1"/>
          <p:nvPr/>
        </p:nvSpPr>
        <p:spPr>
          <a:xfrm>
            <a:off x="7811116" y="5861797"/>
            <a:ext cx="4430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10B17D8-901A-88F6-4F4B-71DEA1DB62C7}"/>
              </a:ext>
            </a:extLst>
          </p:cNvPr>
          <p:cNvSpPr txBox="1"/>
          <p:nvPr/>
        </p:nvSpPr>
        <p:spPr>
          <a:xfrm>
            <a:off x="6262534" y="5233720"/>
            <a:ext cx="590549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39833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6D38E-1E12-7CD3-9978-FDC856992E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DF7594-D958-4266-B27E-93745AE498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DF7594-D958-4266-B27E-93745AE498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8F355A-11B4-5075-5C02-BD756832EE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b="1" noProof="0" dirty="0">
                <a:solidFill>
                  <a:schemeClr val="bg1"/>
                </a:solidFill>
              </a:rPr>
              <a:t>Висновки</a:t>
            </a:r>
            <a:endParaRPr lang="uk-UA" sz="2700" b="1" noProof="0" dirty="0">
              <a:solidFill>
                <a:schemeClr val="bg1"/>
              </a:solidFill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FBE4A598-55B3-C600-2DE2-65A25E77C9C1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638493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8A9BF3-D3A6-37E8-D973-7835E240F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703C4BB-639F-7192-2F81-81A6D61DA0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03C4BB-639F-7192-2F81-81A6D61DA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075551-5F3B-4D88-FC1A-5B17CF2F4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2" y="119319"/>
            <a:ext cx="8534400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Висновки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0FC94B46-D717-9251-9929-652332863F0B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9</a:t>
            </a:fld>
            <a:endParaRPr kumimoji="0" lang="uk-UA" sz="1100" b="0" i="0" u="none" strike="noStrike" kern="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01A9DCA3-A0B1-1BA1-3455-A83526AFED01}"/>
              </a:ext>
            </a:extLst>
          </p:cNvPr>
          <p:cNvSpPr txBox="1">
            <a:spLocks/>
          </p:cNvSpPr>
          <p:nvPr/>
        </p:nvSpPr>
        <p:spPr bwMode="gray">
          <a:xfrm>
            <a:off x="582117" y="1136240"/>
            <a:ext cx="10557831" cy="4585519"/>
          </a:xfrm>
          <a:prstGeom prst="rect">
            <a:avLst/>
          </a:prstGeom>
          <a:solidFill>
            <a:srgbClr val="FFFFFF"/>
          </a:solidFill>
          <a:ln>
            <a:solidFill>
              <a:srgbClr val="B1BEC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Перевагами Вінниці для молоді є безпека, комфорт і затишок. Це добре місто для створення сім’ї.</a:t>
            </a:r>
          </a:p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За умови вдалого працевлаштування, у Вінниці можна реалізувати себе </a:t>
            </a:r>
            <a:r>
              <a:rPr lang="uk-UA" altLang="ru-RU" dirty="0" err="1"/>
              <a:t>професійно</a:t>
            </a:r>
            <a:r>
              <a:rPr lang="uk-UA" altLang="ru-RU" dirty="0"/>
              <a:t> і бути фінансово незалежним.</a:t>
            </a:r>
          </a:p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Проте незадоволені потреби молоді – це власне житло, різноманіття можливостей у місті, можливість зробити успішну кар’єру або створити власний бізнес, щоб заробити багато грошей.</a:t>
            </a:r>
          </a:p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Мати цікаву роботу (а не лише бути працевлаштованим), зробити успішну кар’єру, заробити багато грошей, мати власне житло, а також мати цікаве дозвілля і загалом багато можливостей – чинники виїзду із Вінниці у інше місто або за кордон.</a:t>
            </a:r>
          </a:p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Потенційний відтік молоді із Вінниці у інші міста або за кордон складає 21%.</a:t>
            </a:r>
          </a:p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Найбільш схильні до виїзду молоді люди у віці 14-24 роки. Їх спонукає до виїзду прагнення статусу і грошей, пошуку нового, бути творчими і проявити себе, бути самостійними у прийнятті рішень. Реальним чинником виїзду із Вінниці є отримання якісної вищої освіти.</a:t>
            </a:r>
          </a:p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Переломним моментом є вік 25 років – якщо молода людина у цьому віці знаходить для себе цікаву роботу у Вінниці або розпочинає бізнес, створює сім’ю, то з великою ймовірністю ця людина залишатиметься у Вінниці. Для людей старше 25 років цінними стають безпека (стабільність), соціальна відповідальність, добрі стосунки з іншими людьми. Важливою є професійна реалізація і приналежність до професійних груп.  </a:t>
            </a:r>
          </a:p>
        </p:txBody>
      </p:sp>
    </p:spTree>
    <p:extLst>
      <p:ext uri="{BB962C8B-B14F-4D97-AF65-F5344CB8AC3E}">
        <p14:creationId xmlns:p14="http://schemas.microsoft.com/office/powerpoint/2010/main" val="683109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8D6BA66-D3CC-93EB-1151-17C96E399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3AF57EC-6C8D-C6E0-C353-B7B8E5ADCA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AF57EC-6C8D-C6E0-C353-B7B8E5ADC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3F0E9F-C632-7405-ADD0-A2B5E3309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Розподіл опитаних за ступенем освіт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88DED1-59DC-D6A8-E1CA-C6E52CD2750D}"/>
              </a:ext>
            </a:extLst>
          </p:cNvPr>
          <p:cNvSpPr txBox="1"/>
          <p:nvPr/>
        </p:nvSpPr>
        <p:spPr>
          <a:xfrm>
            <a:off x="9174481" y="6620950"/>
            <a:ext cx="25727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ий найвищий ступінь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шої освіти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2F162A-B6D0-2CE9-B5F0-500024089E6C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BE060812-9563-BB1C-CEEF-8B429A4419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234272"/>
              </p:ext>
            </p:extLst>
          </p:nvPr>
        </p:nvGraphicFramePr>
        <p:xfrm>
          <a:off x="39329" y="2821265"/>
          <a:ext cx="12142312" cy="3071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на загальна середня освіта </a:t>
                      </a:r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вершено загальноосвітню середню школ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есійно-технічна освіта </a:t>
                      </a:r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отримано кваліфікацію «кваліфікований робітник»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094962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лодший спеціаліст, молодший бакалавр </a:t>
                      </a:r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вершено технікум, училище, коледж 1-2 рівня акредитації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8117726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калавр </a:t>
                      </a:r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кінчено навчання у закладах вищої освіти 3-4 рівня акредитації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еціаліст, магістр </a:t>
                      </a:r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кінчено заклад вищої освіти 3-4 рівня акредитації – інститут, університет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уковий ступінь </a:t>
                      </a:r>
                      <a:r>
                        <a:rPr lang="uk-UA" sz="9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кандидат, доктор наук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D61737A8-8E6A-DE87-8FE4-A58FE12017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3157390"/>
              </p:ext>
            </p:extLst>
          </p:nvPr>
        </p:nvGraphicFramePr>
        <p:xfrm>
          <a:off x="4043234" y="2729423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2EBDAB86-F5E6-41A8-85F0-F3E1536B66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3445277"/>
              </p:ext>
            </p:extLst>
          </p:nvPr>
        </p:nvGraphicFramePr>
        <p:xfrm>
          <a:off x="4041058" y="2536281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7C1CAD98-4B1B-7F09-235F-7A0B02293A7B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Освіта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589EBB16-9AC6-F156-F606-2085FB28D1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8945766"/>
              </p:ext>
            </p:extLst>
          </p:nvPr>
        </p:nvGraphicFramePr>
        <p:xfrm>
          <a:off x="5654368" y="2732275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B7CEDBE3-A5E8-4E7B-9997-5104A13402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6072574"/>
              </p:ext>
            </p:extLst>
          </p:nvPr>
        </p:nvGraphicFramePr>
        <p:xfrm>
          <a:off x="7285848" y="2726571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96B34B7D-9109-D777-D853-91A6A00699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8182749"/>
              </p:ext>
            </p:extLst>
          </p:nvPr>
        </p:nvGraphicFramePr>
        <p:xfrm>
          <a:off x="8916644" y="2729423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45EEA131-D6D5-1D45-286A-A17DA7B333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7629880"/>
              </p:ext>
            </p:extLst>
          </p:nvPr>
        </p:nvGraphicFramePr>
        <p:xfrm>
          <a:off x="10530361" y="2726571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7D52635-6876-2CDE-44DB-F0FB73824C54}"/>
              </a:ext>
            </a:extLst>
          </p:cNvPr>
          <p:cNvSpPr txBox="1"/>
          <p:nvPr/>
        </p:nvSpPr>
        <p:spPr bwMode="gray">
          <a:xfrm>
            <a:off x="70089" y="2466217"/>
            <a:ext cx="317095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cs typeface="Arial" pitchFamily="34" charset="0"/>
              </a:rPr>
              <a:t>% респондентів, окрім тих, хто навчається (в школі, коледжі/училищі або університеті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C0C9DAA-0B9A-CC9A-CCC8-39AE36AAEA26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У вікових групах 25 років і старше близько двох третин (62-66%) мають рівень освіти бакалавра, спеціаліста та магістра, тобто закінчили навчання у закладі вищої освіти 3-4 рівня акредитації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52954DF-5855-3FD4-C15D-777A03BDBED8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E63BFE7A-2069-678C-3189-B4D7247690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569752"/>
              </p:ext>
            </p:extLst>
          </p:nvPr>
        </p:nvGraphicFramePr>
        <p:xfrm>
          <a:off x="4041058" y="5901554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470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1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4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03BC664A-BE9F-2E01-FA8D-0CE6D8F6050C}"/>
              </a:ext>
            </a:extLst>
          </p:cNvPr>
          <p:cNvSpPr txBox="1"/>
          <p:nvPr/>
        </p:nvSpPr>
        <p:spPr>
          <a:xfrm>
            <a:off x="7767248" y="3809151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2D2051F-ED4F-E12E-F6EF-432CB4474AF6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23C373-A730-5D7D-BFB2-BDCEF0EA0995}"/>
              </a:ext>
            </a:extLst>
          </p:cNvPr>
          <p:cNvSpPr txBox="1"/>
          <p:nvPr/>
        </p:nvSpPr>
        <p:spPr>
          <a:xfrm>
            <a:off x="6408483" y="2933991"/>
            <a:ext cx="5992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E485E6-2085-684B-9CA7-7A7FFD7CB8B5}"/>
              </a:ext>
            </a:extLst>
          </p:cNvPr>
          <p:cNvSpPr txBox="1"/>
          <p:nvPr/>
        </p:nvSpPr>
        <p:spPr>
          <a:xfrm>
            <a:off x="6571043" y="5595911"/>
            <a:ext cx="5992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2F3285-FEFF-059A-E49D-6C2B46EA0E39}"/>
              </a:ext>
            </a:extLst>
          </p:cNvPr>
          <p:cNvSpPr txBox="1"/>
          <p:nvPr/>
        </p:nvSpPr>
        <p:spPr>
          <a:xfrm>
            <a:off x="11506128" y="4682911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BAB2CD9-C94A-DE10-236D-B2D0E63853BE}"/>
              </a:ext>
            </a:extLst>
          </p:cNvPr>
          <p:cNvSpPr txBox="1"/>
          <p:nvPr/>
        </p:nvSpPr>
        <p:spPr>
          <a:xfrm>
            <a:off x="7632875" y="33886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8DF7AAE-843C-C327-AB6C-524FCA7D1E00}"/>
              </a:ext>
            </a:extLst>
          </p:cNvPr>
          <p:cNvSpPr txBox="1"/>
          <p:nvPr/>
        </p:nvSpPr>
        <p:spPr>
          <a:xfrm>
            <a:off x="7907195" y="426236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0DFB25-5462-9803-F4FC-FB79AB4FB5B8}"/>
              </a:ext>
            </a:extLst>
          </p:cNvPr>
          <p:cNvSpPr txBox="1"/>
          <p:nvPr/>
        </p:nvSpPr>
        <p:spPr>
          <a:xfrm>
            <a:off x="9431195" y="426236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ED36364-036E-D2EB-E682-10881626DBA6}"/>
              </a:ext>
            </a:extLst>
          </p:cNvPr>
          <p:cNvSpPr txBox="1"/>
          <p:nvPr/>
        </p:nvSpPr>
        <p:spPr>
          <a:xfrm>
            <a:off x="9756315" y="47094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93F34A8-09C4-D156-12AD-3381C30C43CB}"/>
              </a:ext>
            </a:extLst>
          </p:cNvPr>
          <p:cNvSpPr/>
          <p:nvPr/>
        </p:nvSpPr>
        <p:spPr>
          <a:xfrm>
            <a:off x="7202368" y="2311813"/>
            <a:ext cx="4733463" cy="3968257"/>
          </a:xfrm>
          <a:prstGeom prst="roundRect">
            <a:avLst>
              <a:gd name="adj" fmla="val 8709"/>
            </a:avLst>
          </a:prstGeom>
          <a:noFill/>
          <a:ln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525769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68842-06F3-208F-803F-EC8E320A10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D3CA1EA-DBF5-FDFA-E3FF-02C8D1599D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3CA1EA-DBF5-FDFA-E3FF-02C8D1599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B7EA40-A872-8C51-B160-48EE3F68D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2" y="119319"/>
            <a:ext cx="8534400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Висновки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13AE2E89-3CCF-E674-366E-11D9DDF7D362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0</a:t>
            </a:fld>
            <a:endParaRPr kumimoji="0" lang="uk-UA" sz="1100" b="0" i="0" u="none" strike="noStrike" kern="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7F3249D7-F107-099F-C5EF-916B363C8982}"/>
              </a:ext>
            </a:extLst>
          </p:cNvPr>
          <p:cNvSpPr txBox="1">
            <a:spLocks/>
          </p:cNvSpPr>
          <p:nvPr/>
        </p:nvSpPr>
        <p:spPr bwMode="gray">
          <a:xfrm>
            <a:off x="582117" y="1136240"/>
            <a:ext cx="10557831" cy="4585519"/>
          </a:xfrm>
          <a:prstGeom prst="rect">
            <a:avLst/>
          </a:prstGeom>
          <a:solidFill>
            <a:srgbClr val="FFFFFF"/>
          </a:solidFill>
          <a:ln>
            <a:solidFill>
              <a:srgbClr val="B1BEC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Таким чином ключовими умовами утримання молоді є якісна освіта, цікава робота або можливості для створення бізнесу і доступне житло.</a:t>
            </a:r>
          </a:p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Необхідно підсилювати позиціонування Вінниці як міста інноваційного, прогресивного, креативного, сучасного – місто різноманітних можливостей для самореалізації.</a:t>
            </a:r>
          </a:p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Можливістю є залучати молодь у віці 14-24 роки до ініціатив з розвитку міста, залучати до заходів із саморозвитку, допомагати у професійній орієнтації, навчати фінансовій грамотності і підприємництву. Це дозволить молоді реалізувати свою енергію і прагнення проявити себе і допоможе зорієнтувати щодо майбутнього розвитку.</a:t>
            </a:r>
          </a:p>
          <a:p>
            <a:pPr lvl="2">
              <a:buClr>
                <a:srgbClr val="000000"/>
              </a:buClr>
              <a:defRPr/>
            </a:pPr>
            <a:r>
              <a:rPr lang="uk-UA" altLang="ru-RU" dirty="0"/>
              <a:t>Для молоді старше 25 років важливо мати можливості знайти цікаву роботу, а отже важливо </a:t>
            </a:r>
            <a:r>
              <a:rPr lang="uk-UA" altLang="ru-RU" dirty="0" err="1"/>
              <a:t>комунікувати</a:t>
            </a:r>
            <a:r>
              <a:rPr lang="uk-UA" altLang="ru-RU" dirty="0"/>
              <a:t> залучення інвесторів до міста і створення нових робочих місць. Іншим важливим аспектом є підтримка у розвитку власного бізнесу.</a:t>
            </a:r>
          </a:p>
          <a:p>
            <a:pPr lvl="2">
              <a:buClr>
                <a:srgbClr val="000000"/>
              </a:buClr>
              <a:defRPr/>
            </a:pPr>
            <a:endParaRPr lang="uk-UA" altLang="ru-RU" dirty="0"/>
          </a:p>
          <a:p>
            <a:pPr lvl="2">
              <a:buClr>
                <a:srgbClr val="000000"/>
              </a:buClr>
              <a:defRPr/>
            </a:pPr>
            <a:endParaRPr lang="uk-UA" altLang="ru-RU" dirty="0"/>
          </a:p>
        </p:txBody>
      </p:sp>
    </p:spTree>
    <p:extLst>
      <p:ext uri="{BB962C8B-B14F-4D97-AF65-F5344CB8AC3E}">
        <p14:creationId xmlns:p14="http://schemas.microsoft.com/office/powerpoint/2010/main" val="36890807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9B9579-7EB8-FFA9-036C-06ED8B996F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106677E-1C86-B3F0-64CE-5E2DDAD1A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06677E-1C86-B3F0-64CE-5E2DDAD1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88B8C6-08EB-4FF5-4723-EC0A07BC9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Життєві цінності і пріоритети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D3AE9C46-E474-C113-2875-DDCC061AA72A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2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65440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9F617-267A-25E6-030F-6380714B35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1467FDE-4D45-38EF-2800-E9E158A221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467FDE-4D45-38EF-2800-E9E158A221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7279E2-E007-BB0D-5263-85CED7FB4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7"/>
            <a:ext cx="10461523" cy="594977"/>
          </a:xfrm>
        </p:spPr>
        <p:txBody>
          <a:bodyPr vert="horz">
            <a:normAutofit/>
          </a:bodyPr>
          <a:lstStyle/>
          <a:p>
            <a:r>
              <a:rPr lang="uk-UA" sz="2000" noProof="0" dirty="0"/>
              <a:t>Аналіз життєвих цінностей молоді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56B518-5A10-EF97-BE80-FB6492B60754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7B8BEE1-AF77-2541-3881-2A6A4332D0B9}"/>
              </a:ext>
            </a:extLst>
          </p:cNvPr>
          <p:cNvSpPr txBox="1">
            <a:spLocks/>
          </p:cNvSpPr>
          <p:nvPr/>
        </p:nvSpPr>
        <p:spPr>
          <a:xfrm>
            <a:off x="314631" y="822960"/>
            <a:ext cx="11621201" cy="10424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400" dirty="0"/>
              <a:t>Життєві цінності — це бажані довгострокові цілі, які не залежать від конкретних ситуаційних обставин та виступають принципами, що ними люди керуються у своєму житті, зокрема пояснюють, координують та раціоналізують (</a:t>
            </a:r>
            <a:r>
              <a:rPr lang="uk-UA" sz="1400" dirty="0" err="1"/>
              <a:t>обгрунтовують</a:t>
            </a:r>
            <a:r>
              <a:rPr lang="uk-UA" sz="1400" dirty="0"/>
              <a:t>) свою поведінку. </a:t>
            </a:r>
          </a:p>
          <a:p>
            <a:r>
              <a:rPr lang="uk-UA" sz="1400" noProof="0" dirty="0"/>
              <a:t>Для вимірювання і аналізу цінностей було використано і адаптовано методологію Шварца.</a:t>
            </a:r>
          </a:p>
          <a:p>
            <a:r>
              <a:rPr lang="uk-UA" sz="1400" dirty="0"/>
              <a:t>Цей методологічний підхід передбачає вимірювання рівня згоди за ціннісними твердженнями. </a:t>
            </a:r>
          </a:p>
          <a:p>
            <a:r>
              <a:rPr lang="uk-UA" sz="1400" noProof="0" dirty="0"/>
              <a:t>Відповіді </a:t>
            </a:r>
            <a:r>
              <a:rPr lang="uk-UA" sz="1400" dirty="0"/>
              <a:t>по твердженням агреговані у 10 ціннісних вимірів</a:t>
            </a:r>
            <a:endParaRPr lang="uk-UA" sz="1400" noProof="0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A3C4319-F054-EE0B-F1E6-F4D7BE53F8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4312966"/>
              </p:ext>
            </p:extLst>
          </p:nvPr>
        </p:nvGraphicFramePr>
        <p:xfrm>
          <a:off x="395224" y="1965960"/>
          <a:ext cx="9279128" cy="44094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216656">
                  <a:extLst>
                    <a:ext uri="{9D8B030D-6E8A-4147-A177-3AD203B41FA5}">
                      <a16:colId xmlns:a16="http://schemas.microsoft.com/office/drawing/2014/main" val="776301807"/>
                    </a:ext>
                  </a:extLst>
                </a:gridCol>
                <a:gridCol w="6062472">
                  <a:extLst>
                    <a:ext uri="{9D8B030D-6E8A-4147-A177-3AD203B41FA5}">
                      <a16:colId xmlns:a16="http://schemas.microsoft.com/office/drawing/2014/main" val="7526521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uk-UA" sz="1200" dirty="0"/>
                        <a:t>Ціннісний вимір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1200" dirty="0"/>
                        <a:t>Твердження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86574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 Power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Влада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Бути </a:t>
                      </a:r>
                      <a:r>
                        <a:rPr lang="ru-RU" sz="1000" dirty="0" err="1"/>
                        <a:t>заможним</a:t>
                      </a:r>
                      <a:r>
                        <a:rPr lang="ru-RU" sz="1000" dirty="0"/>
                        <a:t>, </a:t>
                      </a:r>
                      <a:r>
                        <a:rPr lang="ru-RU" sz="1000" dirty="0" err="1"/>
                        <a:t>м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багато</a:t>
                      </a:r>
                      <a:r>
                        <a:rPr lang="ru-RU" sz="1000" dirty="0"/>
                        <a:t> грошей і </a:t>
                      </a:r>
                      <a:r>
                        <a:rPr lang="ru-RU" sz="1000" dirty="0" err="1"/>
                        <a:t>дорогі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речі</a:t>
                      </a:r>
                      <a:r>
                        <a:rPr lang="ru-RU" sz="1000" dirty="0"/>
                        <a:t> </a:t>
                      </a:r>
                    </a:p>
                    <a:p>
                      <a:r>
                        <a:rPr lang="ru-RU" sz="1000" dirty="0"/>
                        <a:t>Бути </a:t>
                      </a:r>
                      <a:r>
                        <a:rPr lang="ru-RU" sz="1000" dirty="0" err="1"/>
                        <a:t>шанованою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людиною</a:t>
                      </a:r>
                      <a:r>
                        <a:rPr lang="ru-RU" sz="1000" dirty="0"/>
                        <a:t>, до думки </a:t>
                      </a:r>
                      <a:r>
                        <a:rPr lang="ru-RU" sz="1000" dirty="0" err="1"/>
                        <a:t>якої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дослухаються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інші</a:t>
                      </a:r>
                      <a:r>
                        <a:rPr lang="ru-RU" sz="1000" dirty="0"/>
                        <a:t>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71408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Achievement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Досягнення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err="1"/>
                        <a:t>Виклик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захоплення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інших</a:t>
                      </a:r>
                      <a:r>
                        <a:rPr lang="ru-RU" sz="1000" dirty="0"/>
                        <a:t> людей </a:t>
                      </a:r>
                      <a:r>
                        <a:rPr lang="ru-RU" sz="1000" dirty="0" err="1"/>
                        <a:t>від</a:t>
                      </a:r>
                      <a:r>
                        <a:rPr lang="ru-RU" sz="1000" dirty="0"/>
                        <a:t> того, </a:t>
                      </a:r>
                      <a:r>
                        <a:rPr lang="ru-RU" sz="1000" dirty="0" err="1"/>
                        <a:t>що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ви</a:t>
                      </a:r>
                      <a:r>
                        <a:rPr lang="ru-RU" sz="1000" dirty="0"/>
                        <a:t> робите </a:t>
                      </a:r>
                      <a:endParaRPr 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8568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 Hedonism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едонізм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Добре </a:t>
                      </a:r>
                      <a:r>
                        <a:rPr lang="ru-RU" sz="1000" dirty="0" err="1"/>
                        <a:t>проводити</a:t>
                      </a:r>
                      <a:r>
                        <a:rPr lang="ru-RU" sz="1000" dirty="0"/>
                        <a:t> час, </a:t>
                      </a:r>
                      <a:r>
                        <a:rPr lang="ru-RU" sz="1000" dirty="0" err="1"/>
                        <a:t>балувати</a:t>
                      </a:r>
                      <a:r>
                        <a:rPr lang="ru-RU" sz="1000" dirty="0"/>
                        <a:t> себе </a:t>
                      </a:r>
                    </a:p>
                    <a:p>
                      <a:r>
                        <a:rPr lang="ru-RU" sz="1000" dirty="0" err="1"/>
                        <a:t>Робити</a:t>
                      </a:r>
                      <a:r>
                        <a:rPr lang="ru-RU" sz="1000" dirty="0"/>
                        <a:t> те, </a:t>
                      </a:r>
                      <a:r>
                        <a:rPr lang="ru-RU" sz="1000" dirty="0" err="1"/>
                        <a:t>що</a:t>
                      </a:r>
                      <a:r>
                        <a:rPr lang="ru-RU" sz="1000" dirty="0"/>
                        <a:t> приносить </a:t>
                      </a:r>
                      <a:r>
                        <a:rPr lang="ru-RU" sz="1000" dirty="0" err="1"/>
                        <a:t>задоволення</a:t>
                      </a:r>
                      <a:endParaRPr lang="ru-RU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9741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 Stimulation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ошук нового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err="1"/>
                        <a:t>Пробув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нове</a:t>
                      </a:r>
                      <a:r>
                        <a:rPr lang="ru-RU" sz="1000" dirty="0"/>
                        <a:t>, </a:t>
                      </a:r>
                      <a:r>
                        <a:rPr lang="ru-RU" sz="1000" dirty="0" err="1"/>
                        <a:t>шук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пригоди</a:t>
                      </a:r>
                      <a:r>
                        <a:rPr lang="ru-RU" sz="1000" dirty="0"/>
                        <a:t> і </a:t>
                      </a:r>
                      <a:r>
                        <a:rPr lang="ru-RU" sz="1000" dirty="0" err="1"/>
                        <a:t>ризикувати</a:t>
                      </a:r>
                      <a:r>
                        <a:rPr lang="ru-RU" sz="1000" dirty="0"/>
                        <a:t>, </a:t>
                      </a:r>
                      <a:r>
                        <a:rPr lang="ru-RU" sz="1000" dirty="0" err="1"/>
                        <a:t>м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життя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сповнене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враженнями</a:t>
                      </a:r>
                      <a:endParaRPr 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65492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 Self-direction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амовираження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err="1"/>
                        <a:t>Придумув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нові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ідеї</a:t>
                      </a:r>
                      <a:r>
                        <a:rPr lang="ru-RU" sz="1000" dirty="0"/>
                        <a:t>, бути </a:t>
                      </a:r>
                      <a:r>
                        <a:rPr lang="ru-RU" sz="1000" dirty="0" err="1"/>
                        <a:t>творчою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людиною</a:t>
                      </a:r>
                      <a:endParaRPr lang="ru-RU" sz="1000" dirty="0"/>
                    </a:p>
                    <a:p>
                      <a:r>
                        <a:rPr lang="ru-RU" sz="1000" dirty="0" err="1"/>
                        <a:t>Самостійно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прийм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рішення</a:t>
                      </a:r>
                      <a:r>
                        <a:rPr lang="ru-RU" sz="1000" dirty="0"/>
                        <a:t> про те, </a:t>
                      </a:r>
                      <a:r>
                        <a:rPr lang="ru-RU" sz="1000" dirty="0" err="1"/>
                        <a:t>що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робити</a:t>
                      </a:r>
                      <a:r>
                        <a:rPr lang="ru-RU" sz="1000" dirty="0"/>
                        <a:t>, бути </a:t>
                      </a:r>
                      <a:r>
                        <a:rPr lang="ru-RU" sz="1000" dirty="0" err="1"/>
                        <a:t>вільним</a:t>
                      </a:r>
                      <a:r>
                        <a:rPr lang="ru-RU" sz="1000" dirty="0"/>
                        <a:t> та </a:t>
                      </a:r>
                      <a:r>
                        <a:rPr lang="ru-RU" sz="1000" dirty="0" err="1"/>
                        <a:t>незалежним</a:t>
                      </a:r>
                      <a:endParaRPr lang="ru-RU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5988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Universalism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оціальна відповідальність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uk-UA" sz="1000" dirty="0"/>
                        <a:t>Відстоювати справедливість та рівні можливості </a:t>
                      </a:r>
                    </a:p>
                    <a:p>
                      <a:r>
                        <a:rPr lang="uk-UA" sz="1000" dirty="0"/>
                        <a:t>Вислуховувати думки людей, які відрізняються від Вашої, зрозуміти їх точку зору</a:t>
                      </a:r>
                    </a:p>
                    <a:p>
                      <a:r>
                        <a:rPr lang="uk-UA" sz="1000" dirty="0"/>
                        <a:t>Берегти природу, дбати про довкілля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88005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 Benevolence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Доброта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err="1"/>
                        <a:t>Допомагати</a:t>
                      </a:r>
                      <a:r>
                        <a:rPr lang="ru-RU" sz="1000" dirty="0"/>
                        <a:t> людям </a:t>
                      </a:r>
                      <a:r>
                        <a:rPr lang="ru-RU" sz="1000" dirty="0" err="1"/>
                        <a:t>довкола</a:t>
                      </a:r>
                      <a:endParaRPr lang="ru-RU" sz="1000" dirty="0"/>
                    </a:p>
                    <a:p>
                      <a:r>
                        <a:rPr lang="ru-RU" sz="1000" dirty="0"/>
                        <a:t>Бути </a:t>
                      </a:r>
                      <a:r>
                        <a:rPr lang="ru-RU" sz="1000" dirty="0" err="1"/>
                        <a:t>вірним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своїм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близьким</a:t>
                      </a:r>
                      <a:r>
                        <a:rPr lang="ru-RU" sz="1000" dirty="0"/>
                        <a:t> людям та </a:t>
                      </a:r>
                      <a:r>
                        <a:rPr lang="ru-RU" sz="1000" dirty="0" err="1"/>
                        <a:t>друзям</a:t>
                      </a:r>
                      <a:endParaRPr lang="ru-RU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72313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 Tradition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диція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Бути </a:t>
                      </a:r>
                      <a:r>
                        <a:rPr lang="ru-RU" sz="1000" dirty="0" err="1"/>
                        <a:t>скромним</a:t>
                      </a:r>
                      <a:r>
                        <a:rPr lang="ru-RU" sz="1000" dirty="0"/>
                        <a:t>, не </a:t>
                      </a:r>
                      <a:r>
                        <a:rPr lang="ru-RU" sz="1000" dirty="0" err="1"/>
                        <a:t>привертати</a:t>
                      </a:r>
                      <a:r>
                        <a:rPr lang="ru-RU" sz="1000" dirty="0"/>
                        <a:t> до себе </a:t>
                      </a:r>
                      <a:r>
                        <a:rPr lang="ru-RU" sz="1000" dirty="0" err="1"/>
                        <a:t>увагу</a:t>
                      </a:r>
                      <a:r>
                        <a:rPr lang="ru-RU" sz="1000" dirty="0"/>
                        <a:t> </a:t>
                      </a:r>
                    </a:p>
                    <a:p>
                      <a:r>
                        <a:rPr lang="ru-RU" sz="1000" dirty="0" err="1"/>
                        <a:t>Дотримуватися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традицій</a:t>
                      </a:r>
                      <a:r>
                        <a:rPr lang="ru-RU" sz="1000" dirty="0"/>
                        <a:t>, </a:t>
                      </a:r>
                      <a:r>
                        <a:rPr lang="ru-RU" sz="1000" dirty="0" err="1"/>
                        <a:t>релігійних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ч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сімейних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звичаїв</a:t>
                      </a:r>
                      <a:endParaRPr lang="ru-RU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7308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9 Conformity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Відповідність нормам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err="1"/>
                        <a:t>Завжд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поводитися</a:t>
                      </a:r>
                      <a:r>
                        <a:rPr lang="ru-RU" sz="1000" dirty="0"/>
                        <a:t> правильно, </a:t>
                      </a:r>
                      <a:r>
                        <a:rPr lang="ru-RU" sz="1000" dirty="0" err="1"/>
                        <a:t>уник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вчинків</a:t>
                      </a:r>
                      <a:r>
                        <a:rPr lang="ru-RU" sz="1000" dirty="0"/>
                        <a:t>, </a:t>
                      </a:r>
                      <a:r>
                        <a:rPr lang="ru-RU" sz="1000" dirty="0" err="1"/>
                        <a:t>які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можуть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виклик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засудження</a:t>
                      </a:r>
                      <a:endParaRPr 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5437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 Security / </a:t>
                      </a:r>
                      <a:r>
                        <a:rPr lang="uk-UA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Безпека</a:t>
                      </a:r>
                      <a:endParaRPr lang="uk-U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err="1"/>
                        <a:t>Жити</a:t>
                      </a:r>
                      <a:r>
                        <a:rPr lang="ru-RU" sz="1000" dirty="0"/>
                        <a:t> в </a:t>
                      </a:r>
                      <a:r>
                        <a:rPr lang="ru-RU" sz="1000" dirty="0" err="1"/>
                        <a:t>безпечному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оточенні</a:t>
                      </a:r>
                      <a:r>
                        <a:rPr lang="ru-RU" sz="1000" dirty="0"/>
                        <a:t>, </a:t>
                      </a:r>
                      <a:r>
                        <a:rPr lang="ru-RU" sz="1000" dirty="0" err="1"/>
                        <a:t>уник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всього</a:t>
                      </a:r>
                      <a:r>
                        <a:rPr lang="ru-RU" sz="1000" dirty="0"/>
                        <a:t>, </a:t>
                      </a:r>
                      <a:r>
                        <a:rPr lang="ru-RU" sz="1000" dirty="0" err="1"/>
                        <a:t>що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може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загрожув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безпеці</a:t>
                      </a:r>
                      <a:endParaRPr lang="ru-RU" sz="1000" dirty="0"/>
                    </a:p>
                    <a:p>
                      <a:r>
                        <a:rPr lang="ru-RU" sz="1000" dirty="0" err="1"/>
                        <a:t>Жити</a:t>
                      </a:r>
                      <a:r>
                        <a:rPr lang="ru-RU" sz="1000" dirty="0"/>
                        <a:t> у </a:t>
                      </a:r>
                      <a:r>
                        <a:rPr lang="ru-RU" sz="1000" dirty="0" err="1"/>
                        <a:t>сильній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державі</a:t>
                      </a:r>
                      <a:r>
                        <a:rPr lang="ru-RU" sz="1000" dirty="0"/>
                        <a:t>, яка </a:t>
                      </a:r>
                      <a:r>
                        <a:rPr lang="ru-RU" sz="1000" dirty="0" err="1"/>
                        <a:t>може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захисти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своїх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громадян</a:t>
                      </a:r>
                      <a:r>
                        <a:rPr lang="ru-RU" sz="1000" dirty="0"/>
                        <a:t> і </a:t>
                      </a:r>
                      <a:r>
                        <a:rPr lang="ru-RU" sz="1000" dirty="0" err="1"/>
                        <a:t>гарантувати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безпеку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від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усіх</a:t>
                      </a:r>
                      <a:r>
                        <a:rPr lang="ru-RU" sz="1000" dirty="0"/>
                        <a:t> </a:t>
                      </a:r>
                      <a:r>
                        <a:rPr lang="ru-RU" sz="1000" dirty="0" err="1"/>
                        <a:t>загроз</a:t>
                      </a:r>
                      <a:r>
                        <a:rPr lang="ru-RU" sz="1000" dirty="0"/>
                        <a:t>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22647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04838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BD1943E-5296-F66D-4A88-DB6E040112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FFC4C619-EF64-E67D-60F3-46AD648126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051609"/>
              </p:ext>
            </p:extLst>
          </p:nvPr>
        </p:nvGraphicFramePr>
        <p:xfrm>
          <a:off x="19663" y="2398479"/>
          <a:ext cx="12160800" cy="39038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7840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682400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вірним своїм близьким людям та друзя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сильній державі, яка може захистити громадян і гарантувати безпеку від усіх загроз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мостійно приймати рішення про те, що робити, бути вільним та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бити те, що приносить задовол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регти природу, дбати про довк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ідстоювати справедливість та рівні можливост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в безпечному оточенні, уникати всього, що може загрожувати безпе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людям довкол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бре проводити час, балувати себе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бувати нове, шукати пригоди і ризикувати, мати життя сповнене враженням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думувати нові ідеї, бути творчою людино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шанованою людиною, до думки якої дослухаються інш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слуховувати думки людей, які відрізняються від Вашої, зрозуміти їх точку зор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заможним, мати багато грошей і дорогі реч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тримуватися традицій, релігійних чи сімейних звичаї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вжди поводитися правильно, уникати вчинків, які можуть викликати засудж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кликати захоплення інших людей від того, що ви робите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8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скромним, не привертати до себе увагу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A2D6D56-6083-DC73-BE77-7AACD751E7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2D6D56-6083-DC73-BE77-7AACD751E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A19BA5-3F4D-E947-ABB4-E385AB3C4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Життєві цінності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2FCA13-8EF8-A2DE-99FF-E5C4B2375AD1}"/>
              </a:ext>
            </a:extLst>
          </p:cNvPr>
          <p:cNvSpPr txBox="1"/>
          <p:nvPr/>
        </p:nvSpPr>
        <p:spPr>
          <a:xfrm>
            <a:off x="4958081" y="6473465"/>
            <a:ext cx="67891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5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Різні люди мають різні цінності – принципи, якими вони керуються у житті. Я зачитаю перелік таких принципів, оцініть, наскільки ці принципи є важливими для Вас особисто за шкалою від 1 до 7, де 1 – абсолютно не важливо, 4 – середня оцінка, 7 – надзвичайно важливо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195B2E-295C-DA64-484D-ED41549366D8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3C387EF7-12DB-35D0-89F6-626764A331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6508756"/>
              </p:ext>
            </p:extLst>
          </p:nvPr>
        </p:nvGraphicFramePr>
        <p:xfrm>
          <a:off x="4468023" y="6314206"/>
          <a:ext cx="7715670" cy="218225"/>
        </p:xfrm>
        <a:graphic>
          <a:graphicData uri="http://schemas.openxmlformats.org/drawingml/2006/table">
            <a:tbl>
              <a:tblPr firstRow="1" bandRow="1"/>
              <a:tblGrid>
                <a:gridCol w="154313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54313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54313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54313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543134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31D08B2E-7FD2-93AF-15C8-878B7FB160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2967835"/>
              </p:ext>
            </p:extLst>
          </p:nvPr>
        </p:nvGraphicFramePr>
        <p:xfrm>
          <a:off x="4483514" y="2295272"/>
          <a:ext cx="1512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F262BC37-63C4-6771-1D70-7C5DE70B5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768848"/>
              </p:ext>
            </p:extLst>
          </p:nvPr>
        </p:nvGraphicFramePr>
        <p:xfrm>
          <a:off x="4493340" y="2142991"/>
          <a:ext cx="7690360" cy="253395"/>
        </p:xfrm>
        <a:graphic>
          <a:graphicData uri="http://schemas.openxmlformats.org/drawingml/2006/table">
            <a:tbl>
              <a:tblPr firstRow="1" bandRow="1"/>
              <a:tblGrid>
                <a:gridCol w="153807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53807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53807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53807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53807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9FBCACD7-7B28-ABEB-6056-853217437373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Важливість життєвих цінностей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B13E583-3DB0-222B-9BA3-58ED598FE75F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B2475028-003B-F5C3-6774-4AA1B41D27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2222995"/>
              </p:ext>
            </p:extLst>
          </p:nvPr>
        </p:nvGraphicFramePr>
        <p:xfrm>
          <a:off x="7737987" y="1799302"/>
          <a:ext cx="4386716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6339B6A-D9F4-2D98-3377-6C227F6079D7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Відносно більш важливими цінностями для молоді загалом є безпека (зокрема цінність сильної держави як гаранта безпеки), самостійність, гедонізм (жити собі у задоволення), турбота про довкілля, справедливість і рівні можливості.</a:t>
            </a:r>
          </a:p>
          <a:p>
            <a:r>
              <a:rPr lang="ru-UA" sz="1600" dirty="0"/>
              <a:t>Ц</a:t>
            </a:r>
            <a:r>
              <a:rPr lang="uk-UA" sz="1600" dirty="0" err="1"/>
              <a:t>інності</a:t>
            </a:r>
            <a:r>
              <a:rPr lang="uk-UA" sz="1600" dirty="0"/>
              <a:t> гедонізму та статусності більш виражені для наймолодшої групи 14-19 років.  </a:t>
            </a:r>
            <a:endParaRPr lang="uk-UA" sz="1600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0511F21-CB6C-0A4A-6A0C-CFAAEC23C142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216AA5AC-569F-445B-D183-6125DD9C70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7593064"/>
              </p:ext>
            </p:extLst>
          </p:nvPr>
        </p:nvGraphicFramePr>
        <p:xfrm>
          <a:off x="6021676" y="2296438"/>
          <a:ext cx="1512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6">
            <a:extLst>
              <a:ext uri="{FF2B5EF4-FFF2-40B4-BE49-F238E27FC236}">
                <a16:creationId xmlns:a16="http://schemas.microsoft.com/office/drawing/2014/main" id="{E4FC2126-67FA-9BD9-18CD-9BAA55D4ED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809466"/>
              </p:ext>
            </p:extLst>
          </p:nvPr>
        </p:nvGraphicFramePr>
        <p:xfrm>
          <a:off x="7569670" y="2294106"/>
          <a:ext cx="1512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Диаграмма 16">
            <a:extLst>
              <a:ext uri="{FF2B5EF4-FFF2-40B4-BE49-F238E27FC236}">
                <a16:creationId xmlns:a16="http://schemas.microsoft.com/office/drawing/2014/main" id="{1EC0A998-7D11-F829-0C16-F3EC45FA3E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042797"/>
              </p:ext>
            </p:extLst>
          </p:nvPr>
        </p:nvGraphicFramePr>
        <p:xfrm>
          <a:off x="9107832" y="2295272"/>
          <a:ext cx="1512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Диаграмма 16">
            <a:extLst>
              <a:ext uri="{FF2B5EF4-FFF2-40B4-BE49-F238E27FC236}">
                <a16:creationId xmlns:a16="http://schemas.microsoft.com/office/drawing/2014/main" id="{DFDB1AA9-BF4F-DEC7-E765-A9467891BF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3970698"/>
              </p:ext>
            </p:extLst>
          </p:nvPr>
        </p:nvGraphicFramePr>
        <p:xfrm>
          <a:off x="10647165" y="2297279"/>
          <a:ext cx="1512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0DDB7A87-0C28-C245-0663-35CD82D92FDA}"/>
              </a:ext>
            </a:extLst>
          </p:cNvPr>
          <p:cNvSpPr txBox="1"/>
          <p:nvPr/>
        </p:nvSpPr>
        <p:spPr>
          <a:xfrm>
            <a:off x="6556358" y="457883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36E7B78-4518-C0D9-88AA-4C54D5990F48}"/>
              </a:ext>
            </a:extLst>
          </p:cNvPr>
          <p:cNvSpPr txBox="1"/>
          <p:nvPr/>
        </p:nvSpPr>
        <p:spPr>
          <a:xfrm>
            <a:off x="8075442" y="458374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DC199F-A6E8-C867-1FBD-A7DADCD555F1}"/>
              </a:ext>
            </a:extLst>
          </p:cNvPr>
          <p:cNvSpPr txBox="1"/>
          <p:nvPr/>
        </p:nvSpPr>
        <p:spPr>
          <a:xfrm>
            <a:off x="6595686" y="5223033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F93BBD-E5AD-13AE-DF1A-4E463CAE0F62}"/>
              </a:ext>
            </a:extLst>
          </p:cNvPr>
          <p:cNvSpPr txBox="1"/>
          <p:nvPr/>
        </p:nvSpPr>
        <p:spPr>
          <a:xfrm>
            <a:off x="7923041" y="522303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E3F546-529A-F60E-E751-15B6098194A4}"/>
              </a:ext>
            </a:extLst>
          </p:cNvPr>
          <p:cNvSpPr txBox="1"/>
          <p:nvPr/>
        </p:nvSpPr>
        <p:spPr>
          <a:xfrm>
            <a:off x="6502279" y="5886710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5986C8-B3E7-65C8-3D3D-1E7B37C5F6BE}"/>
              </a:ext>
            </a:extLst>
          </p:cNvPr>
          <p:cNvSpPr txBox="1"/>
          <p:nvPr/>
        </p:nvSpPr>
        <p:spPr>
          <a:xfrm>
            <a:off x="7942707" y="587669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325EC0C-4F49-3A8F-848D-E2CC6EF12C08}"/>
              </a:ext>
            </a:extLst>
          </p:cNvPr>
          <p:cNvSpPr txBox="1"/>
          <p:nvPr/>
        </p:nvSpPr>
        <p:spPr>
          <a:xfrm>
            <a:off x="6541608" y="5011639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6CD4F1F-3E53-6C1E-85A8-F135BBBE4AC6}"/>
              </a:ext>
            </a:extLst>
          </p:cNvPr>
          <p:cNvSpPr txBox="1"/>
          <p:nvPr/>
        </p:nvSpPr>
        <p:spPr>
          <a:xfrm>
            <a:off x="6354798" y="608808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A4ACA1A-0F67-C516-4CAF-17EF6C0C056E}"/>
              </a:ext>
            </a:extLst>
          </p:cNvPr>
          <p:cNvSpPr txBox="1"/>
          <p:nvPr/>
        </p:nvSpPr>
        <p:spPr>
          <a:xfrm>
            <a:off x="7854217" y="609300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42AC291-86BB-650A-C039-CCF482A7B8DB}"/>
              </a:ext>
            </a:extLst>
          </p:cNvPr>
          <p:cNvSpPr txBox="1"/>
          <p:nvPr/>
        </p:nvSpPr>
        <p:spPr>
          <a:xfrm>
            <a:off x="6620266" y="4146400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797DB0B-00E3-74A0-E2B2-20C0D3FAA7BA}"/>
              </a:ext>
            </a:extLst>
          </p:cNvPr>
          <p:cNvSpPr txBox="1"/>
          <p:nvPr/>
        </p:nvSpPr>
        <p:spPr>
          <a:xfrm>
            <a:off x="10831236" y="609150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CDCA158-F4C5-9090-784D-0DCC86F40EBA}"/>
              </a:ext>
            </a:extLst>
          </p:cNvPr>
          <p:cNvSpPr txBox="1"/>
          <p:nvPr/>
        </p:nvSpPr>
        <p:spPr>
          <a:xfrm>
            <a:off x="8060693" y="414148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5AAD706-8A92-4AF0-9C3C-7A9B491558D7}"/>
              </a:ext>
            </a:extLst>
          </p:cNvPr>
          <p:cNvSpPr txBox="1"/>
          <p:nvPr/>
        </p:nvSpPr>
        <p:spPr>
          <a:xfrm>
            <a:off x="9569945" y="414640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F56105B-1B8E-ECC9-F490-166D0BB3F539}"/>
              </a:ext>
            </a:extLst>
          </p:cNvPr>
          <p:cNvSpPr txBox="1"/>
          <p:nvPr/>
        </p:nvSpPr>
        <p:spPr>
          <a:xfrm>
            <a:off x="8298054" y="284194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7DCB7B1-915F-2D02-911C-A85D460CAA4A}"/>
              </a:ext>
            </a:extLst>
          </p:cNvPr>
          <p:cNvSpPr txBox="1"/>
          <p:nvPr/>
        </p:nvSpPr>
        <p:spPr>
          <a:xfrm>
            <a:off x="9836802" y="284685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3231AA9-7316-220F-8974-B4C8C9070D12}"/>
              </a:ext>
            </a:extLst>
          </p:cNvPr>
          <p:cNvSpPr txBox="1"/>
          <p:nvPr/>
        </p:nvSpPr>
        <p:spPr>
          <a:xfrm>
            <a:off x="8169403" y="391363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3011755-85D0-E8D1-EDDF-7D88C28FB84A}"/>
              </a:ext>
            </a:extLst>
          </p:cNvPr>
          <p:cNvSpPr txBox="1"/>
          <p:nvPr/>
        </p:nvSpPr>
        <p:spPr>
          <a:xfrm>
            <a:off x="9826138" y="26305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99B78E7-5A2D-FCE7-B618-44C38D049927}"/>
              </a:ext>
            </a:extLst>
          </p:cNvPr>
          <p:cNvSpPr txBox="1"/>
          <p:nvPr/>
        </p:nvSpPr>
        <p:spPr>
          <a:xfrm>
            <a:off x="6664511" y="4357793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612C51E-A67E-B595-3D67-70E7AB4006E4}"/>
              </a:ext>
            </a:extLst>
          </p:cNvPr>
          <p:cNvSpPr txBox="1"/>
          <p:nvPr/>
        </p:nvSpPr>
        <p:spPr>
          <a:xfrm>
            <a:off x="8080358" y="436252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504752A-62CE-AC71-261B-17CF92EC9834}"/>
              </a:ext>
            </a:extLst>
          </p:cNvPr>
          <p:cNvSpPr txBox="1"/>
          <p:nvPr/>
        </p:nvSpPr>
        <p:spPr>
          <a:xfrm>
            <a:off x="6400427" y="566379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27F9113-1F34-B899-8BD2-1C51C05E9196}"/>
              </a:ext>
            </a:extLst>
          </p:cNvPr>
          <p:cNvSpPr txBox="1"/>
          <p:nvPr/>
        </p:nvSpPr>
        <p:spPr>
          <a:xfrm>
            <a:off x="7949008" y="565888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709705E-6E50-FEA3-03CE-50E347F44543}"/>
              </a:ext>
            </a:extLst>
          </p:cNvPr>
          <p:cNvSpPr txBox="1"/>
          <p:nvPr/>
        </p:nvSpPr>
        <p:spPr>
          <a:xfrm>
            <a:off x="8022750" y="47887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A0555CE-EE8E-FD53-B612-10D14C52079A}"/>
              </a:ext>
            </a:extLst>
          </p:cNvPr>
          <p:cNvSpPr txBox="1"/>
          <p:nvPr/>
        </p:nvSpPr>
        <p:spPr>
          <a:xfrm>
            <a:off x="6571104" y="4795329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BA4A122-7BE6-E445-A1E1-1D0EBEA98E81}"/>
              </a:ext>
            </a:extLst>
          </p:cNvPr>
          <p:cNvSpPr txBox="1"/>
          <p:nvPr/>
        </p:nvSpPr>
        <p:spPr>
          <a:xfrm>
            <a:off x="9851550" y="239949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0B7D461-A79E-631B-0123-E311CA37C6D0}"/>
              </a:ext>
            </a:extLst>
          </p:cNvPr>
          <p:cNvSpPr txBox="1"/>
          <p:nvPr/>
        </p:nvSpPr>
        <p:spPr>
          <a:xfrm>
            <a:off x="8263641" y="327947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828BA3-5B72-4524-7FE2-448955BE4FD7}"/>
              </a:ext>
            </a:extLst>
          </p:cNvPr>
          <p:cNvSpPr txBox="1"/>
          <p:nvPr/>
        </p:nvSpPr>
        <p:spPr>
          <a:xfrm>
            <a:off x="11355886" y="327390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A7DAA74-B5C5-0408-377A-1CC68808576A}"/>
              </a:ext>
            </a:extLst>
          </p:cNvPr>
          <p:cNvSpPr txBox="1"/>
          <p:nvPr/>
        </p:nvSpPr>
        <p:spPr>
          <a:xfrm>
            <a:off x="6453117" y="5444258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4325073-3F12-EA05-2539-2BFAE75C8EB3}"/>
              </a:ext>
            </a:extLst>
          </p:cNvPr>
          <p:cNvSpPr txBox="1"/>
          <p:nvPr/>
        </p:nvSpPr>
        <p:spPr>
          <a:xfrm>
            <a:off x="7914595" y="542782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CDE3D0-3C26-2D6B-8467-037FBE647B9D}"/>
              </a:ext>
            </a:extLst>
          </p:cNvPr>
          <p:cNvSpPr txBox="1"/>
          <p:nvPr/>
        </p:nvSpPr>
        <p:spPr>
          <a:xfrm>
            <a:off x="10997008" y="544257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E19EF3D-BC70-9B64-D0C0-E0A7BD63C6E8}"/>
              </a:ext>
            </a:extLst>
          </p:cNvPr>
          <p:cNvSpPr txBox="1"/>
          <p:nvPr/>
        </p:nvSpPr>
        <p:spPr>
          <a:xfrm>
            <a:off x="6762836" y="307449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08823E8-6965-AA49-04AE-2521A394E9E7}"/>
              </a:ext>
            </a:extLst>
          </p:cNvPr>
          <p:cNvSpPr txBox="1"/>
          <p:nvPr/>
        </p:nvSpPr>
        <p:spPr>
          <a:xfrm>
            <a:off x="8262254" y="30648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71FBCE3-81D9-5804-B31B-F5CC92214929}"/>
              </a:ext>
            </a:extLst>
          </p:cNvPr>
          <p:cNvSpPr txBox="1"/>
          <p:nvPr/>
        </p:nvSpPr>
        <p:spPr>
          <a:xfrm>
            <a:off x="7055639" y="291114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95A091A-8A6B-0A85-5F48-6D9D7D77C5C6}"/>
              </a:ext>
            </a:extLst>
          </p:cNvPr>
          <p:cNvSpPr txBox="1"/>
          <p:nvPr/>
        </p:nvSpPr>
        <p:spPr>
          <a:xfrm>
            <a:off x="7246002" y="24781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4FD74CE-48DD-5F43-1633-A6E50C601CC4}"/>
              </a:ext>
            </a:extLst>
          </p:cNvPr>
          <p:cNvSpPr txBox="1"/>
          <p:nvPr/>
        </p:nvSpPr>
        <p:spPr>
          <a:xfrm>
            <a:off x="7028307" y="335963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5CF2A24-E595-3DD9-1C3F-FAAE279230CE}"/>
              </a:ext>
            </a:extLst>
          </p:cNvPr>
          <p:cNvSpPr txBox="1"/>
          <p:nvPr/>
        </p:nvSpPr>
        <p:spPr>
          <a:xfrm>
            <a:off x="8602854" y="523117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29250DB-0F4D-715C-8E0D-C4770B7ADA71}"/>
              </a:ext>
            </a:extLst>
          </p:cNvPr>
          <p:cNvSpPr txBox="1"/>
          <p:nvPr/>
        </p:nvSpPr>
        <p:spPr>
          <a:xfrm>
            <a:off x="8578273" y="587519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046D130D-D930-4799-E231-3F0DDA061CB3}"/>
              </a:ext>
            </a:extLst>
          </p:cNvPr>
          <p:cNvSpPr txBox="1"/>
          <p:nvPr/>
        </p:nvSpPr>
        <p:spPr>
          <a:xfrm>
            <a:off x="8622518" y="500503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D473BB4-5E42-2B6A-7AE3-32FE294023CB}"/>
              </a:ext>
            </a:extLst>
          </p:cNvPr>
          <p:cNvSpPr txBox="1"/>
          <p:nvPr/>
        </p:nvSpPr>
        <p:spPr>
          <a:xfrm>
            <a:off x="8653785" y="435433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002EDDFB-0064-C692-A168-91CACEB52D43}"/>
              </a:ext>
            </a:extLst>
          </p:cNvPr>
          <p:cNvSpPr txBox="1"/>
          <p:nvPr/>
        </p:nvSpPr>
        <p:spPr>
          <a:xfrm>
            <a:off x="8691344" y="478872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F2E5D60E-DF04-EDA6-0FCF-14D65B458E10}"/>
              </a:ext>
            </a:extLst>
          </p:cNvPr>
          <p:cNvSpPr txBox="1"/>
          <p:nvPr/>
        </p:nvSpPr>
        <p:spPr>
          <a:xfrm>
            <a:off x="8538944" y="545240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5C64CB7-D51F-DF40-14D1-C3858A317833}"/>
              </a:ext>
            </a:extLst>
          </p:cNvPr>
          <p:cNvSpPr txBox="1"/>
          <p:nvPr/>
        </p:nvSpPr>
        <p:spPr>
          <a:xfrm>
            <a:off x="8739120" y="271070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6BBA221-0BE3-F9D9-050C-14942CD79A76}"/>
              </a:ext>
            </a:extLst>
          </p:cNvPr>
          <p:cNvSpPr txBox="1"/>
          <p:nvPr/>
        </p:nvSpPr>
        <p:spPr>
          <a:xfrm>
            <a:off x="10185847" y="457241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BD72F9C-2D2B-5FFD-31F8-DD90E04049E1}"/>
              </a:ext>
            </a:extLst>
          </p:cNvPr>
          <p:cNvSpPr txBox="1"/>
          <p:nvPr/>
        </p:nvSpPr>
        <p:spPr>
          <a:xfrm>
            <a:off x="10082609" y="523609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984EBDEF-023E-8F4A-CB34-E1D9B84C771F}"/>
              </a:ext>
            </a:extLst>
          </p:cNvPr>
          <p:cNvSpPr txBox="1"/>
          <p:nvPr/>
        </p:nvSpPr>
        <p:spPr>
          <a:xfrm>
            <a:off x="10146518" y="500503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FBCE5D27-45D8-333D-4BF9-ADDFB3A6A0BA}"/>
              </a:ext>
            </a:extLst>
          </p:cNvPr>
          <p:cNvSpPr txBox="1"/>
          <p:nvPr/>
        </p:nvSpPr>
        <p:spPr>
          <a:xfrm>
            <a:off x="10180933" y="414471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667C457D-F2BE-F5C3-92F3-C1427970BBE8}"/>
              </a:ext>
            </a:extLst>
          </p:cNvPr>
          <p:cNvSpPr txBox="1"/>
          <p:nvPr/>
        </p:nvSpPr>
        <p:spPr>
          <a:xfrm>
            <a:off x="10195682" y="435610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E55D4665-9A3C-8F71-1B46-2324D40847CC}"/>
              </a:ext>
            </a:extLst>
          </p:cNvPr>
          <p:cNvSpPr txBox="1"/>
          <p:nvPr/>
        </p:nvSpPr>
        <p:spPr>
          <a:xfrm>
            <a:off x="9964624" y="54425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D0C8AA36-6525-FE91-1FDD-87DB84B7E0E1}"/>
              </a:ext>
            </a:extLst>
          </p:cNvPr>
          <p:cNvSpPr txBox="1"/>
          <p:nvPr/>
        </p:nvSpPr>
        <p:spPr>
          <a:xfrm>
            <a:off x="10185851" y="313691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91FE35A-ECF2-B3B1-78FE-AA8B157E4C14}"/>
              </a:ext>
            </a:extLst>
          </p:cNvPr>
          <p:cNvSpPr txBox="1"/>
          <p:nvPr/>
        </p:nvSpPr>
        <p:spPr>
          <a:xfrm>
            <a:off x="9964622" y="587453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EAB47565-F51C-9829-D3C5-72794A58B2AE}"/>
              </a:ext>
            </a:extLst>
          </p:cNvPr>
          <p:cNvSpPr txBox="1"/>
          <p:nvPr/>
        </p:nvSpPr>
        <p:spPr>
          <a:xfrm>
            <a:off x="10018700" y="565330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5A28301-CF71-55AF-F679-E1359B48E46C}"/>
              </a:ext>
            </a:extLst>
          </p:cNvPr>
          <p:cNvSpPr txBox="1"/>
          <p:nvPr/>
        </p:nvSpPr>
        <p:spPr>
          <a:xfrm>
            <a:off x="9846636" y="609084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CF04D1BF-BDE9-B966-DEAC-286AF1CF8A25}"/>
              </a:ext>
            </a:extLst>
          </p:cNvPr>
          <p:cNvSpPr txBox="1"/>
          <p:nvPr/>
        </p:nvSpPr>
        <p:spPr>
          <a:xfrm>
            <a:off x="9928440" y="4793032"/>
            <a:ext cx="61097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776D2C2-C3AC-BF21-38B8-67F10B7E06D2}"/>
              </a:ext>
            </a:extLst>
          </p:cNvPr>
          <p:cNvSpPr txBox="1"/>
          <p:nvPr/>
        </p:nvSpPr>
        <p:spPr>
          <a:xfrm>
            <a:off x="11552530" y="522134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4DCF6D9-3538-BD75-044E-5CF6F18BAB7D}"/>
              </a:ext>
            </a:extLst>
          </p:cNvPr>
          <p:cNvSpPr txBox="1"/>
          <p:nvPr/>
        </p:nvSpPr>
        <p:spPr>
          <a:xfrm>
            <a:off x="11527949" y="587519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A13A142E-AF39-4E9D-B053-2F8C2B793B6E}"/>
              </a:ext>
            </a:extLst>
          </p:cNvPr>
          <p:cNvSpPr txBox="1"/>
          <p:nvPr/>
        </p:nvSpPr>
        <p:spPr>
          <a:xfrm>
            <a:off x="11719678" y="500503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A01922D4-94E2-6DE3-6D57-E084CC4C061E}"/>
              </a:ext>
            </a:extLst>
          </p:cNvPr>
          <p:cNvSpPr txBox="1"/>
          <p:nvPr/>
        </p:nvSpPr>
        <p:spPr>
          <a:xfrm>
            <a:off x="11714762" y="48034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4267564E-D522-5F5D-B464-54C46AAF6B84}"/>
              </a:ext>
            </a:extLst>
          </p:cNvPr>
          <p:cNvSpPr txBox="1"/>
          <p:nvPr/>
        </p:nvSpPr>
        <p:spPr>
          <a:xfrm>
            <a:off x="11601692" y="565396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404CA560-58AC-4B30-32F6-5A01955B608F}"/>
              </a:ext>
            </a:extLst>
          </p:cNvPr>
          <p:cNvSpPr txBox="1"/>
          <p:nvPr/>
        </p:nvSpPr>
        <p:spPr>
          <a:xfrm>
            <a:off x="11636105" y="544257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05A0AB7-6DE6-C743-DFD3-D26C76011F4D}"/>
              </a:ext>
            </a:extLst>
          </p:cNvPr>
          <p:cNvSpPr txBox="1"/>
          <p:nvPr/>
        </p:nvSpPr>
        <p:spPr>
          <a:xfrm>
            <a:off x="11566691" y="457117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DCF31A1C-7AF5-A832-765F-F5CAA554BF97}"/>
              </a:ext>
            </a:extLst>
          </p:cNvPr>
          <p:cNvSpPr txBox="1"/>
          <p:nvPr/>
        </p:nvSpPr>
        <p:spPr>
          <a:xfrm>
            <a:off x="11449293" y="609084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48B2B09E-4525-17D7-E70A-BB051129F086}"/>
              </a:ext>
            </a:extLst>
          </p:cNvPr>
          <p:cNvSpPr txBox="1"/>
          <p:nvPr/>
        </p:nvSpPr>
        <p:spPr>
          <a:xfrm>
            <a:off x="11496881" y="436095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C66A413-7131-21CB-3DBD-DED181B1CD2B}"/>
              </a:ext>
            </a:extLst>
          </p:cNvPr>
          <p:cNvSpPr txBox="1"/>
          <p:nvPr/>
        </p:nvSpPr>
        <p:spPr>
          <a:xfrm>
            <a:off x="11596776" y="3131336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AA6AD84-1FD2-4E96-C2BA-CF57BB72B305}"/>
              </a:ext>
            </a:extLst>
          </p:cNvPr>
          <p:cNvSpPr txBox="1"/>
          <p:nvPr/>
        </p:nvSpPr>
        <p:spPr>
          <a:xfrm>
            <a:off x="11493088" y="4152254"/>
            <a:ext cx="61097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F236D39B-6BD1-6CDE-3ECE-93E3CE58D91D}"/>
              </a:ext>
            </a:extLst>
          </p:cNvPr>
          <p:cNvSpPr txBox="1"/>
          <p:nvPr/>
        </p:nvSpPr>
        <p:spPr>
          <a:xfrm>
            <a:off x="11866332" y="292058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2E67041-5F18-4CA8-81BF-A8192E2F83DA}"/>
              </a:ext>
            </a:extLst>
          </p:cNvPr>
          <p:cNvSpPr txBox="1"/>
          <p:nvPr/>
        </p:nvSpPr>
        <p:spPr>
          <a:xfrm>
            <a:off x="10381732" y="544801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95313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B2D257-12AC-EDF3-1105-0575F1C620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0DFC239-87E5-5FAC-1D88-619F3EA04CF4}"/>
              </a:ext>
            </a:extLst>
          </p:cNvPr>
          <p:cNvSpPr/>
          <p:nvPr/>
        </p:nvSpPr>
        <p:spPr>
          <a:xfrm>
            <a:off x="1847088" y="2844196"/>
            <a:ext cx="769089" cy="356139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92EF586-4C49-7371-9663-085FF2746610}"/>
              </a:ext>
            </a:extLst>
          </p:cNvPr>
          <p:cNvSpPr/>
          <p:nvPr/>
        </p:nvSpPr>
        <p:spPr>
          <a:xfrm>
            <a:off x="8007096" y="2832004"/>
            <a:ext cx="769089" cy="356139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Table 7">
            <a:extLst>
              <a:ext uri="{FF2B5EF4-FFF2-40B4-BE49-F238E27FC236}">
                <a16:creationId xmlns:a16="http://schemas.microsoft.com/office/drawing/2014/main" id="{4087E07C-85A7-9CCB-B376-2A08EA66F8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465676"/>
              </p:ext>
            </p:extLst>
          </p:nvPr>
        </p:nvGraphicFramePr>
        <p:xfrm>
          <a:off x="19666" y="2801603"/>
          <a:ext cx="5885846" cy="36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3758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4182088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  <a:r>
                        <a:rPr lang="en-US" sz="10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д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hievement</a:t>
                      </a:r>
                      <a:r>
                        <a:rPr lang="en-US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ягн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268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donism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доніз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74415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imulation</a:t>
                      </a:r>
                      <a:r>
                        <a:rPr lang="en-US" sz="10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шук новог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direction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мовираж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alism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ціальна відповідаль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evolence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о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57245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dition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ди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ormity</a:t>
                      </a:r>
                      <a:r>
                        <a:rPr lang="en-US" sz="11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1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повідність норма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</a:t>
                      </a:r>
                      <a:endParaRPr lang="uk-UA" sz="1200" b="1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5" name="Object 92">
            <a:extLst>
              <a:ext uri="{FF2B5EF4-FFF2-40B4-BE49-F238E27FC236}">
                <a16:creationId xmlns:a16="http://schemas.microsoft.com/office/drawing/2014/main" id="{347B9B70-83AB-D911-7A7A-9287AEE74D4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55556" y="2745371"/>
          <a:ext cx="828000" cy="3743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47F649-FC5E-064B-284C-F265FA263A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47F649-FC5E-064B-284C-F265FA263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D6B81D-88E6-E273-7CCD-CBF8E5391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Відмінності між цінностями різних вікових груп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CB547-89F5-9530-397B-E684D667AFAC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A71640FE-2F40-CF24-7D19-A29D635401B1}"/>
              </a:ext>
            </a:extLst>
          </p:cNvPr>
          <p:cNvGraphicFramePr>
            <a:graphicFrameLocks noGrp="1"/>
          </p:cNvGraphicFramePr>
          <p:nvPr/>
        </p:nvGraphicFramePr>
        <p:xfrm>
          <a:off x="1759975" y="2398633"/>
          <a:ext cx="4149215" cy="281811"/>
        </p:xfrm>
        <a:graphic>
          <a:graphicData uri="http://schemas.openxmlformats.org/drawingml/2006/table">
            <a:tbl>
              <a:tblPr firstRow="1" bandRow="1"/>
              <a:tblGrid>
                <a:gridCol w="82984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82984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82984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82984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829843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  <a:endParaRPr lang="uk-UA" sz="16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</a:t>
                      </a:r>
                      <a:endParaRPr lang="uk-UA" sz="11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</a:t>
                      </a:r>
                      <a:endParaRPr lang="uk-UA" sz="11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</a:t>
                      </a:r>
                      <a:endParaRPr lang="uk-UA" sz="11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</a:t>
                      </a:r>
                      <a:endParaRPr lang="uk-UA" sz="11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F82C0646-EA3D-3DA7-162A-8D4E46592199}"/>
              </a:ext>
            </a:extLst>
          </p:cNvPr>
          <p:cNvSpPr txBox="1"/>
          <p:nvPr/>
        </p:nvSpPr>
        <p:spPr>
          <a:xfrm>
            <a:off x="8544826" y="6553017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EC9AE3E-C00C-A652-365D-83BAE7DFB9EE}"/>
              </a:ext>
            </a:extLst>
          </p:cNvPr>
          <p:cNvSpPr txBox="1">
            <a:spLocks/>
          </p:cNvSpPr>
          <p:nvPr/>
        </p:nvSpPr>
        <p:spPr>
          <a:xfrm>
            <a:off x="314631" y="773165"/>
            <a:ext cx="11621201" cy="1028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Для </a:t>
            </a:r>
            <a:r>
              <a:rPr lang="uk-UA" sz="1600" dirty="0"/>
              <a:t>молодшої вікової групи 14-19 років важливо досягти статусу у суспільстві і заробити багато грошей. Для людей 14-19 років та 20-24 роки важливо пробувати нове і досягти успіху. Для вікових груп 25 і старше років зростає важливість безпеки та соціальної відповідальності. «Бунт проти традицій» є притаманний віковій групі 25-29 років </a:t>
            </a:r>
            <a:endParaRPr lang="uk-UA" sz="1600" noProof="0" dirty="0"/>
          </a:p>
        </p:txBody>
      </p:sp>
      <p:graphicFrame>
        <p:nvGraphicFramePr>
          <p:cNvPr id="21" name="Object 92">
            <a:extLst>
              <a:ext uri="{FF2B5EF4-FFF2-40B4-BE49-F238E27FC236}">
                <a16:creationId xmlns:a16="http://schemas.microsoft.com/office/drawing/2014/main" id="{DE4F6B94-2783-9E02-4BC1-3581D4C16BD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83000" y="2742448"/>
          <a:ext cx="828000" cy="3743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Object 92">
            <a:extLst>
              <a:ext uri="{FF2B5EF4-FFF2-40B4-BE49-F238E27FC236}">
                <a16:creationId xmlns:a16="http://schemas.microsoft.com/office/drawing/2014/main" id="{FA6D2C2B-E8B4-ABE8-257E-975132098EC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412289" y="2738462"/>
          <a:ext cx="828000" cy="3743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3" name="Object 92">
            <a:extLst>
              <a:ext uri="{FF2B5EF4-FFF2-40B4-BE49-F238E27FC236}">
                <a16:creationId xmlns:a16="http://schemas.microsoft.com/office/drawing/2014/main" id="{3744F081-9260-BA74-D82B-2352267FBA5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239733" y="2735539"/>
          <a:ext cx="828000" cy="3743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Object 92">
            <a:extLst>
              <a:ext uri="{FF2B5EF4-FFF2-40B4-BE49-F238E27FC236}">
                <a16:creationId xmlns:a16="http://schemas.microsoft.com/office/drawing/2014/main" id="{E4534C7A-B112-2A26-14C8-D67702A4109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062758" y="2742448"/>
          <a:ext cx="828000" cy="3743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5" name="Table 2">
            <a:extLst>
              <a:ext uri="{FF2B5EF4-FFF2-40B4-BE49-F238E27FC236}">
                <a16:creationId xmlns:a16="http://schemas.microsoft.com/office/drawing/2014/main" id="{E74C06A0-1153-04A8-3265-DFAB777D4130}"/>
              </a:ext>
            </a:extLst>
          </p:cNvPr>
          <p:cNvGraphicFramePr>
            <a:graphicFrameLocks noGrp="1"/>
          </p:cNvGraphicFramePr>
          <p:nvPr/>
        </p:nvGraphicFramePr>
        <p:xfrm>
          <a:off x="8007878" y="2395506"/>
          <a:ext cx="4149215" cy="312420"/>
        </p:xfrm>
        <a:graphic>
          <a:graphicData uri="http://schemas.openxmlformats.org/drawingml/2006/table">
            <a:tbl>
              <a:tblPr firstRow="1" bandRow="1"/>
              <a:tblGrid>
                <a:gridCol w="82984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82984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82984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82984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829843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graphicFrame>
        <p:nvGraphicFramePr>
          <p:cNvPr id="26" name="Table 7">
            <a:extLst>
              <a:ext uri="{FF2B5EF4-FFF2-40B4-BE49-F238E27FC236}">
                <a16:creationId xmlns:a16="http://schemas.microsoft.com/office/drawing/2014/main" id="{A8CDA946-114A-54D0-2F00-4DFC5E85EC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8106263"/>
              </p:ext>
            </p:extLst>
          </p:nvPr>
        </p:nvGraphicFramePr>
        <p:xfrm>
          <a:off x="6263148" y="2798476"/>
          <a:ext cx="5890267" cy="36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817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4182088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  <a:r>
                        <a:rPr lang="en-US" sz="10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д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hievement</a:t>
                      </a:r>
                      <a:r>
                        <a:rPr lang="en-US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ягн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268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donism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доніз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74415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imulation</a:t>
                      </a:r>
                      <a:r>
                        <a:rPr lang="en-US" sz="10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шук новог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direction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мовираж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alism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ціальна відповідаль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evolence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о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57245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dition</a:t>
                      </a: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ди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ormity</a:t>
                      </a:r>
                      <a:r>
                        <a:rPr lang="en-US" sz="11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1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повідність норма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</a:t>
                      </a:r>
                      <a:endParaRPr lang="uk-UA" sz="1200" b="1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8" name="Chart 53">
            <a:extLst>
              <a:ext uri="{FF2B5EF4-FFF2-40B4-BE49-F238E27FC236}">
                <a16:creationId xmlns:a16="http://schemas.microsoft.com/office/drawing/2014/main" id="{85740AE3-545B-2A44-7D28-9E7535DCE3CD}"/>
              </a:ext>
            </a:extLst>
          </p:cNvPr>
          <p:cNvGraphicFramePr/>
          <p:nvPr/>
        </p:nvGraphicFramePr>
        <p:xfrm>
          <a:off x="8004200" y="2739436"/>
          <a:ext cx="828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9" name="Chart 53">
            <a:extLst>
              <a:ext uri="{FF2B5EF4-FFF2-40B4-BE49-F238E27FC236}">
                <a16:creationId xmlns:a16="http://schemas.microsoft.com/office/drawing/2014/main" id="{985B221A-B722-92EF-46EE-5F41245286E6}"/>
              </a:ext>
            </a:extLst>
          </p:cNvPr>
          <p:cNvGraphicFramePr/>
          <p:nvPr/>
        </p:nvGraphicFramePr>
        <p:xfrm>
          <a:off x="8845101" y="2734271"/>
          <a:ext cx="828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50" name="Chart 53">
            <a:extLst>
              <a:ext uri="{FF2B5EF4-FFF2-40B4-BE49-F238E27FC236}">
                <a16:creationId xmlns:a16="http://schemas.microsoft.com/office/drawing/2014/main" id="{DE184325-FA79-B7C3-17BE-A9367E454077}"/>
              </a:ext>
            </a:extLst>
          </p:cNvPr>
          <p:cNvGraphicFramePr/>
          <p:nvPr/>
        </p:nvGraphicFramePr>
        <p:xfrm>
          <a:off x="9688402" y="2734271"/>
          <a:ext cx="828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51" name="Chart 53">
            <a:extLst>
              <a:ext uri="{FF2B5EF4-FFF2-40B4-BE49-F238E27FC236}">
                <a16:creationId xmlns:a16="http://schemas.microsoft.com/office/drawing/2014/main" id="{7BC33FB2-8752-6DD3-63BB-B71D8DBCA679}"/>
              </a:ext>
            </a:extLst>
          </p:cNvPr>
          <p:cNvGraphicFramePr/>
          <p:nvPr/>
        </p:nvGraphicFramePr>
        <p:xfrm>
          <a:off x="10529303" y="2738938"/>
          <a:ext cx="828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52" name="Chart 53">
            <a:extLst>
              <a:ext uri="{FF2B5EF4-FFF2-40B4-BE49-F238E27FC236}">
                <a16:creationId xmlns:a16="http://schemas.microsoft.com/office/drawing/2014/main" id="{86C29F5E-3C92-B2B2-C0E7-794F12A89EF3}"/>
              </a:ext>
            </a:extLst>
          </p:cNvPr>
          <p:cNvGraphicFramePr/>
          <p:nvPr/>
        </p:nvGraphicFramePr>
        <p:xfrm>
          <a:off x="11342613" y="2734271"/>
          <a:ext cx="828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0BB6E2A6-4D21-8A1D-6049-355E1CD38427}"/>
              </a:ext>
            </a:extLst>
          </p:cNvPr>
          <p:cNvSpPr txBox="1"/>
          <p:nvPr/>
        </p:nvSpPr>
        <p:spPr>
          <a:xfrm>
            <a:off x="9702873" y="334110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A54C84-B040-BACC-FAD8-80CD93200A3E}"/>
              </a:ext>
            </a:extLst>
          </p:cNvPr>
          <p:cNvSpPr txBox="1"/>
          <p:nvPr/>
        </p:nvSpPr>
        <p:spPr>
          <a:xfrm>
            <a:off x="9796279" y="406377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277B8D3-9102-54F3-484F-0C77435106BD}"/>
              </a:ext>
            </a:extLst>
          </p:cNvPr>
          <p:cNvSpPr txBox="1"/>
          <p:nvPr/>
        </p:nvSpPr>
        <p:spPr>
          <a:xfrm>
            <a:off x="10184653" y="514040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C4313E2-5BBC-6B08-9722-C83FA6CFA500}"/>
              </a:ext>
            </a:extLst>
          </p:cNvPr>
          <p:cNvSpPr txBox="1"/>
          <p:nvPr/>
        </p:nvSpPr>
        <p:spPr>
          <a:xfrm>
            <a:off x="11035145" y="514532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70AD057-A90A-B5A4-0129-538C016DEFB0}"/>
              </a:ext>
            </a:extLst>
          </p:cNvPr>
          <p:cNvSpPr txBox="1"/>
          <p:nvPr/>
        </p:nvSpPr>
        <p:spPr>
          <a:xfrm>
            <a:off x="11846308" y="514040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5F749B4-0464-C25C-0014-9B745B0AB135}"/>
              </a:ext>
            </a:extLst>
          </p:cNvPr>
          <p:cNvSpPr txBox="1"/>
          <p:nvPr/>
        </p:nvSpPr>
        <p:spPr>
          <a:xfrm>
            <a:off x="11821727" y="478152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1A65C76-4E10-A518-6403-CE4F15FABDB9}"/>
              </a:ext>
            </a:extLst>
          </p:cNvPr>
          <p:cNvSpPr txBox="1"/>
          <p:nvPr/>
        </p:nvSpPr>
        <p:spPr>
          <a:xfrm>
            <a:off x="11000732" y="477661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DFDA5D4-5EC5-4C10-1431-4035694868A7}"/>
              </a:ext>
            </a:extLst>
          </p:cNvPr>
          <p:cNvSpPr txBox="1"/>
          <p:nvPr/>
        </p:nvSpPr>
        <p:spPr>
          <a:xfrm>
            <a:off x="8862563" y="551303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5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D1F6D84-61E3-3305-FF81-B410FBABACA4}"/>
              </a:ext>
            </a:extLst>
          </p:cNvPr>
          <p:cNvSpPr txBox="1"/>
          <p:nvPr/>
        </p:nvSpPr>
        <p:spPr>
          <a:xfrm>
            <a:off x="11340771" y="550320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5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C4852EE-C7A0-0C83-D5BE-F9E7028884BD}"/>
              </a:ext>
            </a:extLst>
          </p:cNvPr>
          <p:cNvSpPr txBox="1"/>
          <p:nvPr/>
        </p:nvSpPr>
        <p:spPr>
          <a:xfrm>
            <a:off x="10981602" y="6220426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1212B7D-758D-42AA-5EA1-94E43F84F473}"/>
              </a:ext>
            </a:extLst>
          </p:cNvPr>
          <p:cNvSpPr txBox="1"/>
          <p:nvPr/>
        </p:nvSpPr>
        <p:spPr>
          <a:xfrm>
            <a:off x="11763266" y="6235174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59484D6-DBF6-1B1F-54D4-B99F19B892FC}"/>
              </a:ext>
            </a:extLst>
          </p:cNvPr>
          <p:cNvSpPr txBox="1"/>
          <p:nvPr/>
        </p:nvSpPr>
        <p:spPr>
          <a:xfrm>
            <a:off x="8824652" y="3346150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d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5547FBF-62A2-DCF8-5198-CD89BC9C89CC}"/>
              </a:ext>
            </a:extLst>
          </p:cNvPr>
          <p:cNvSpPr txBox="1"/>
          <p:nvPr/>
        </p:nvSpPr>
        <p:spPr>
          <a:xfrm>
            <a:off x="9242523" y="4058989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d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29133328-E023-57B3-0EBE-33BE5F09CFD4}"/>
              </a:ext>
            </a:extLst>
          </p:cNvPr>
          <p:cNvSpPr txBox="1"/>
          <p:nvPr/>
        </p:nvSpPr>
        <p:spPr>
          <a:xfrm>
            <a:off x="8714792" y="2968860"/>
            <a:ext cx="593523" cy="20774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d)</a:t>
            </a:r>
            <a:endParaRPr kumimoji="0" lang="uk-UA" sz="75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B993070-93AD-2B6E-63B7-717B5DCC9B66}"/>
              </a:ext>
            </a:extLst>
          </p:cNvPr>
          <p:cNvSpPr txBox="1"/>
          <p:nvPr/>
        </p:nvSpPr>
        <p:spPr>
          <a:xfrm>
            <a:off x="172554" y="2436300"/>
            <a:ext cx="125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но середні значення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E7DCD57-8BB0-E2BF-F725-4C0E3899CF50}"/>
              </a:ext>
            </a:extLst>
          </p:cNvPr>
          <p:cNvSpPr txBox="1"/>
          <p:nvPr/>
        </p:nvSpPr>
        <p:spPr>
          <a:xfrm>
            <a:off x="6420461" y="2422752"/>
            <a:ext cx="11893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но центровані середні значення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29F73857-6481-49CE-415E-DD9F0D09005E}"/>
              </a:ext>
            </a:extLst>
          </p:cNvPr>
          <p:cNvSpPr txBox="1">
            <a:spLocks/>
          </p:cNvSpPr>
          <p:nvPr/>
        </p:nvSpPr>
        <p:spPr>
          <a:xfrm>
            <a:off x="1" y="1975645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Відмінності між цінностями різних вікових груп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C7E59BC-A739-0BC8-38FD-24C69936CCA0}"/>
              </a:ext>
            </a:extLst>
          </p:cNvPr>
          <p:cNvSpPr/>
          <p:nvPr/>
        </p:nvSpPr>
        <p:spPr>
          <a:xfrm>
            <a:off x="2734056" y="2844196"/>
            <a:ext cx="631599" cy="682588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DCFE583-9681-0F83-C05E-0D9D7CE2D24C}"/>
              </a:ext>
            </a:extLst>
          </p:cNvPr>
          <p:cNvSpPr/>
          <p:nvPr/>
        </p:nvSpPr>
        <p:spPr>
          <a:xfrm>
            <a:off x="4422218" y="6026367"/>
            <a:ext cx="1498595" cy="372109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CAC6A87-9685-9112-BC2D-C28B33B403A0}"/>
              </a:ext>
            </a:extLst>
          </p:cNvPr>
          <p:cNvSpPr/>
          <p:nvPr/>
        </p:nvSpPr>
        <p:spPr>
          <a:xfrm>
            <a:off x="3639312" y="4971759"/>
            <a:ext cx="2296741" cy="372109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B02C181-F64D-8F16-9EE6-F0F27575F9B7}"/>
              </a:ext>
            </a:extLst>
          </p:cNvPr>
          <p:cNvSpPr/>
          <p:nvPr/>
        </p:nvSpPr>
        <p:spPr>
          <a:xfrm>
            <a:off x="4446602" y="4596855"/>
            <a:ext cx="1498595" cy="372109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A3A1182-7E0D-E3D8-748E-784E5F3B0082}"/>
              </a:ext>
            </a:extLst>
          </p:cNvPr>
          <p:cNvSpPr/>
          <p:nvPr/>
        </p:nvSpPr>
        <p:spPr>
          <a:xfrm>
            <a:off x="2759997" y="3881990"/>
            <a:ext cx="1498595" cy="372109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C5EF8C-E37A-FD67-98F1-E0CAE37CB32B}"/>
              </a:ext>
            </a:extLst>
          </p:cNvPr>
          <p:cNvSpPr/>
          <p:nvPr/>
        </p:nvSpPr>
        <p:spPr>
          <a:xfrm>
            <a:off x="3561499" y="3147422"/>
            <a:ext cx="676391" cy="372109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6F9E9D4-F3C1-2936-C816-D040EB805CFF}"/>
              </a:ext>
            </a:extLst>
          </p:cNvPr>
          <p:cNvSpPr/>
          <p:nvPr/>
        </p:nvSpPr>
        <p:spPr>
          <a:xfrm>
            <a:off x="4280659" y="5375510"/>
            <a:ext cx="530255" cy="27595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3689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CDFB7B-FF81-3F17-AB26-490619EA03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46419FD-6850-5495-AA07-2194AE7CA9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6419FD-6850-5495-AA07-2194AE7CA9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A3DD87-124F-41C7-8918-3CC9A662F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Належність до спільно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7B04B9-B3DE-7F6A-27A8-822A932E324B}"/>
              </a:ext>
            </a:extLst>
          </p:cNvPr>
          <p:cNvSpPr txBox="1"/>
          <p:nvPr/>
        </p:nvSpPr>
        <p:spPr>
          <a:xfrm>
            <a:off x="6862916" y="6493129"/>
            <a:ext cx="48843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6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Для людей важливо бути частиною більшої групи або спільноти. Я зачитаю перелік спільнот, оберіть не більше п'яти спільнот, частиною яких Ви себе відчуваєте і це є важливим для Вас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0EA080-5854-F725-05BB-F58E3908E05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C65E2D27-F796-BD11-777C-F7C6463F1C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1715241"/>
              </p:ext>
            </p:extLst>
          </p:nvPr>
        </p:nvGraphicFramePr>
        <p:xfrm>
          <a:off x="39329" y="2683615"/>
          <a:ext cx="12142312" cy="35272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ша родина і близькі родич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омадяни Украї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0110991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, які мають спільні з Вами захоплення та хоб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1512175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ннича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649799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Вашої професії / фах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541075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Європей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спільних з Вами громадських переконан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, на яких вплинула війн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уденти і випускники Вашого університе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ні і випускники Вашої школ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уденти і випускники Вашого коледжу / училищ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спільної з Вами реліг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B8C5A5E9-881C-35E0-1EA5-86893562F6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2350921"/>
              </p:ext>
            </p:extLst>
          </p:nvPr>
        </p:nvGraphicFramePr>
        <p:xfrm>
          <a:off x="4043234" y="2591773"/>
          <a:ext cx="1548000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621EB335-42BF-9135-EC42-13E405A4F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5219294"/>
              </p:ext>
            </p:extLst>
          </p:nvPr>
        </p:nvGraphicFramePr>
        <p:xfrm>
          <a:off x="4041058" y="2398630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64F4470A-04D5-E741-BA9F-00A2B1B9EA68}"/>
              </a:ext>
            </a:extLst>
          </p:cNvPr>
          <p:cNvSpPr txBox="1">
            <a:spLocks/>
          </p:cNvSpPr>
          <p:nvPr/>
        </p:nvSpPr>
        <p:spPr>
          <a:xfrm>
            <a:off x="1" y="206413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Належність до груп або спільнот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5456081A-8BE6-AC4E-B183-958BC389AC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3340647"/>
              </p:ext>
            </p:extLst>
          </p:nvPr>
        </p:nvGraphicFramePr>
        <p:xfrm>
          <a:off x="5654368" y="2594625"/>
          <a:ext cx="1548000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82DD7FD1-3F03-37DE-B7D1-579222A036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5355575"/>
              </p:ext>
            </p:extLst>
          </p:nvPr>
        </p:nvGraphicFramePr>
        <p:xfrm>
          <a:off x="7285848" y="2588921"/>
          <a:ext cx="1548000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AD667CBF-051D-9330-3DEF-2405A4B615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1069600"/>
              </p:ext>
            </p:extLst>
          </p:nvPr>
        </p:nvGraphicFramePr>
        <p:xfrm>
          <a:off x="8916644" y="2591773"/>
          <a:ext cx="1548000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BEFDCB16-D6D0-1126-8D21-4AB2E65529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0978797"/>
              </p:ext>
            </p:extLst>
          </p:nvPr>
        </p:nvGraphicFramePr>
        <p:xfrm>
          <a:off x="10530361" y="2588921"/>
          <a:ext cx="1548000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A439FBE6-628B-6002-4B4D-4F41A965ED2D}"/>
              </a:ext>
            </a:extLst>
          </p:cNvPr>
          <p:cNvSpPr txBox="1"/>
          <p:nvPr/>
        </p:nvSpPr>
        <p:spPr bwMode="gray">
          <a:xfrm>
            <a:off x="70090" y="2460646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B735ACB-1FDB-7A4E-2FA7-C2D65E134899}"/>
              </a:ext>
            </a:extLst>
          </p:cNvPr>
          <p:cNvSpPr txBox="1">
            <a:spLocks/>
          </p:cNvSpPr>
          <p:nvPr/>
        </p:nvSpPr>
        <p:spPr>
          <a:xfrm>
            <a:off x="314631" y="730782"/>
            <a:ext cx="11621201" cy="13376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Молодь найчастіше ідентифікує себе з родиною і близькими родичами — з віком ця ідентифікація посилюється. Ідентифікація з родиною і близькими корелює із важливістю цінності бути вірним близьким людям.</a:t>
            </a:r>
          </a:p>
          <a:p>
            <a:r>
              <a:rPr lang="uk-UA" sz="1600" dirty="0"/>
              <a:t>Важливим є відчуття належності до спільноти, що має спільні захоплення і хобі, особливо у віковій групі 25-29 років. </a:t>
            </a:r>
          </a:p>
          <a:p>
            <a:r>
              <a:rPr lang="uk-UA" sz="1600" dirty="0"/>
              <a:t>Загалом ідентифікація себе як українців дещо переважає над ідентифікацією себе як вінничан, проте у молодшому віці 14-19 років переважає ідентифікація себе як вінничан. Також для наймолодшої групи 14-19 років важливо пов’язувати себе із спільнотою друзів по навчальному закладу.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C7CB0D-FC05-FB92-A7D0-3A82DB1CAE8E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247D8C98-BC05-B542-CBDA-46AB5B8184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8766042"/>
              </p:ext>
            </p:extLst>
          </p:nvPr>
        </p:nvGraphicFramePr>
        <p:xfrm>
          <a:off x="4041058" y="6235854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501C7573-D0E5-24EE-0A06-3C536360C0D5}"/>
              </a:ext>
            </a:extLst>
          </p:cNvPr>
          <p:cNvSpPr txBox="1"/>
          <p:nvPr/>
        </p:nvSpPr>
        <p:spPr>
          <a:xfrm>
            <a:off x="7735786" y="568930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F5FF7EF-E42E-A93E-EB7E-58CD9F63653F}"/>
              </a:ext>
            </a:extLst>
          </p:cNvPr>
          <p:cNvSpPr txBox="1"/>
          <p:nvPr/>
        </p:nvSpPr>
        <p:spPr>
          <a:xfrm>
            <a:off x="11805009" y="2705112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00ADE8-4D93-24FA-3C22-5E26B78FC10A}"/>
              </a:ext>
            </a:extLst>
          </p:cNvPr>
          <p:cNvSpPr txBox="1"/>
          <p:nvPr/>
        </p:nvSpPr>
        <p:spPr>
          <a:xfrm>
            <a:off x="9931964" y="3250802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FCDEAE-ADB3-4980-53D9-1AE6F342F871}"/>
              </a:ext>
            </a:extLst>
          </p:cNvPr>
          <p:cNvSpPr txBox="1"/>
          <p:nvPr/>
        </p:nvSpPr>
        <p:spPr>
          <a:xfrm>
            <a:off x="11388470" y="378676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31AD24-2851-557A-478D-852F0A565F97}"/>
              </a:ext>
            </a:extLst>
          </p:cNvPr>
          <p:cNvSpPr txBox="1"/>
          <p:nvPr/>
        </p:nvSpPr>
        <p:spPr>
          <a:xfrm>
            <a:off x="11157412" y="433245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661CE9-D2D0-776E-FC65-86CC8815FD3C}"/>
              </a:ext>
            </a:extLst>
          </p:cNvPr>
          <p:cNvSpPr txBox="1"/>
          <p:nvPr/>
        </p:nvSpPr>
        <p:spPr>
          <a:xfrm>
            <a:off x="9569503" y="432753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552336-79E1-31C3-C641-FF0BE6F6D943}"/>
              </a:ext>
            </a:extLst>
          </p:cNvPr>
          <p:cNvSpPr txBox="1"/>
          <p:nvPr/>
        </p:nvSpPr>
        <p:spPr>
          <a:xfrm>
            <a:off x="9771064" y="379167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2FA29B9-4567-CCCD-B6D8-9B002C73B754}"/>
              </a:ext>
            </a:extLst>
          </p:cNvPr>
          <p:cNvSpPr txBox="1"/>
          <p:nvPr/>
        </p:nvSpPr>
        <p:spPr>
          <a:xfrm>
            <a:off x="10139773" y="270521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4DDCEB-3A56-3F21-25CD-F229779745E4}"/>
              </a:ext>
            </a:extLst>
          </p:cNvPr>
          <p:cNvSpPr txBox="1"/>
          <p:nvPr/>
        </p:nvSpPr>
        <p:spPr>
          <a:xfrm>
            <a:off x="8040587" y="38015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736C53-0861-33A9-3D2F-2620B3C7C7C7}"/>
              </a:ext>
            </a:extLst>
          </p:cNvPr>
          <p:cNvSpPr txBox="1"/>
          <p:nvPr/>
        </p:nvSpPr>
        <p:spPr>
          <a:xfrm>
            <a:off x="7858690" y="432753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68C3AAE-A8B0-377C-B8AE-434CDD58329F}"/>
              </a:ext>
            </a:extLst>
          </p:cNvPr>
          <p:cNvSpPr txBox="1"/>
          <p:nvPr/>
        </p:nvSpPr>
        <p:spPr>
          <a:xfrm>
            <a:off x="7706290" y="542383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EC2814D-8DA3-F030-56E3-11356569B4FA}"/>
              </a:ext>
            </a:extLst>
          </p:cNvPr>
          <p:cNvSpPr txBox="1"/>
          <p:nvPr/>
        </p:nvSpPr>
        <p:spPr>
          <a:xfrm>
            <a:off x="7839025" y="487814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28E8B69-376F-578E-AC0B-2143F62E74A4}"/>
              </a:ext>
            </a:extLst>
          </p:cNvPr>
          <p:cNvSpPr txBox="1"/>
          <p:nvPr/>
        </p:nvSpPr>
        <p:spPr>
          <a:xfrm>
            <a:off x="6280612" y="406697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014DBF2-BBDC-8F98-65D6-BC04806283FF}"/>
              </a:ext>
            </a:extLst>
          </p:cNvPr>
          <p:cNvSpPr txBox="1"/>
          <p:nvPr/>
        </p:nvSpPr>
        <p:spPr>
          <a:xfrm>
            <a:off x="6197038" y="487813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9D862E3-62B2-3ECD-896E-4B95D49AF3B3}"/>
              </a:ext>
            </a:extLst>
          </p:cNvPr>
          <p:cNvSpPr txBox="1"/>
          <p:nvPr/>
        </p:nvSpPr>
        <p:spPr>
          <a:xfrm>
            <a:off x="7985176" y="4066879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A96905C-8E14-A892-4E7E-C485467EF562}"/>
              </a:ext>
            </a:extLst>
          </p:cNvPr>
          <p:cNvSpPr txBox="1"/>
          <p:nvPr/>
        </p:nvSpPr>
        <p:spPr>
          <a:xfrm>
            <a:off x="6121963" y="5684285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E7522DB-836C-0356-FF8D-CF8C1EE8313A}"/>
              </a:ext>
            </a:extLst>
          </p:cNvPr>
          <p:cNvSpPr txBox="1"/>
          <p:nvPr/>
        </p:nvSpPr>
        <p:spPr>
          <a:xfrm>
            <a:off x="6215369" y="5423730"/>
            <a:ext cx="588553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F985EB9-F100-5BA5-4FCA-720974F26957}"/>
              </a:ext>
            </a:extLst>
          </p:cNvPr>
          <p:cNvSpPr txBox="1"/>
          <p:nvPr/>
        </p:nvSpPr>
        <p:spPr>
          <a:xfrm>
            <a:off x="6308775" y="5143511"/>
            <a:ext cx="588553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1DD33C3-82E8-F5CC-CDFE-F7D7299354C2}"/>
              </a:ext>
            </a:extLst>
          </p:cNvPr>
          <p:cNvSpPr txBox="1"/>
          <p:nvPr/>
        </p:nvSpPr>
        <p:spPr>
          <a:xfrm>
            <a:off x="6618491" y="3535937"/>
            <a:ext cx="588553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49746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511999-F86E-E6AF-C71B-87437C1862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9DA60552-2292-8810-C2C9-802F9CCA02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867814"/>
              </p:ext>
            </p:extLst>
          </p:nvPr>
        </p:nvGraphicFramePr>
        <p:xfrm>
          <a:off x="19663" y="2398479"/>
          <a:ext cx="12160800" cy="3943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296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81783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6E7836-B4B3-56A4-8519-48227CA64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6E7836-B4B3-56A4-8519-48227CA644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E198A1-AE44-9232-3AE6-9100DA2D6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Цілі на наступні кілька років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0F9CDA-39D2-CCC8-9102-7E768922CB0A}"/>
              </a:ext>
            </a:extLst>
          </p:cNvPr>
          <p:cNvSpPr txBox="1"/>
          <p:nvPr/>
        </p:nvSpPr>
        <p:spPr>
          <a:xfrm>
            <a:off x="6502279" y="6473465"/>
            <a:ext cx="52449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7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359A7E-9EE8-EC18-541E-AB8CEA9683A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B68F3D7B-B4FB-4E8F-DAFA-F49979F54E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1939937"/>
              </p:ext>
            </p:extLst>
          </p:nvPr>
        </p:nvGraphicFramePr>
        <p:xfrm>
          <a:off x="3333594" y="6314206"/>
          <a:ext cx="8850095" cy="218225"/>
        </p:xfrm>
        <a:graphic>
          <a:graphicData uri="http://schemas.openxmlformats.org/drawingml/2006/table">
            <a:tbl>
              <a:tblPr firstRow="1" bandRow="1"/>
              <a:tblGrid>
                <a:gridCol w="17700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7700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7700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7700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7700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5976D972-5E3D-1E8E-921F-37D845C9BC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7894779"/>
              </p:ext>
            </p:extLst>
          </p:nvPr>
        </p:nvGraphicFramePr>
        <p:xfrm>
          <a:off x="3372471" y="2285440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A427D3D8-0E0A-F57B-E5D6-A61150291F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504122"/>
              </p:ext>
            </p:extLst>
          </p:nvPr>
        </p:nvGraphicFramePr>
        <p:xfrm>
          <a:off x="3362632" y="2142991"/>
          <a:ext cx="8821070" cy="253395"/>
        </p:xfrm>
        <a:graphic>
          <a:graphicData uri="http://schemas.openxmlformats.org/drawingml/2006/table">
            <a:tbl>
              <a:tblPr firstRow="1" bandRow="1"/>
              <a:tblGrid>
                <a:gridCol w="176421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76421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76421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76421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764214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D17B6D82-1049-7564-2E98-1CD5D6F9C463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 lIns="1512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Важливість цілей, які прагнуть досягти у наступні кілька років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749B46-1C61-033D-A46B-35985C0159AA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05B8DED4-FEFA-A30C-2366-750623A9B5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1201608"/>
              </p:ext>
            </p:extLst>
          </p:nvPr>
        </p:nvGraphicFramePr>
        <p:xfrm>
          <a:off x="8367252" y="1799302"/>
          <a:ext cx="3757450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3086164-FC34-2BF8-E872-904F1786E84C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Важливість цілей корелює з важливістю цінностей. </a:t>
            </a:r>
            <a:r>
              <a:rPr lang="uk-UA" sz="1600" dirty="0"/>
              <a:t>Найбільш важливі цілі – це бути у безпеці і мати фінансову незалежність. Далі йдуть прагнення мати цікаву роботу, розвивати професійні навички</a:t>
            </a:r>
            <a:r>
              <a:rPr lang="ru-UA" sz="1600" dirty="0"/>
              <a:t>, а також </a:t>
            </a:r>
            <a:r>
              <a:rPr lang="ru-UA" sz="1600" dirty="0" err="1"/>
              <a:t>мати</a:t>
            </a:r>
            <a:r>
              <a:rPr lang="ru-UA" sz="1600" dirty="0"/>
              <a:t> </a:t>
            </a:r>
            <a:r>
              <a:rPr lang="ru-UA" sz="1600" dirty="0" err="1"/>
              <a:t>власне</a:t>
            </a:r>
            <a:r>
              <a:rPr lang="ru-UA" sz="1600" dirty="0"/>
              <a:t> </a:t>
            </a:r>
            <a:r>
              <a:rPr lang="ru-UA" sz="1600" dirty="0" err="1"/>
              <a:t>житло</a:t>
            </a:r>
            <a:r>
              <a:rPr lang="ru-UA" sz="1600" dirty="0"/>
              <a:t> </a:t>
            </a:r>
            <a:r>
              <a:rPr lang="uk-UA" sz="1600" dirty="0"/>
              <a:t>і жити у привабливому місті. </a:t>
            </a:r>
            <a:r>
              <a:rPr lang="ru-UA" sz="1600" dirty="0" err="1"/>
              <a:t>Знайти</a:t>
            </a:r>
            <a:r>
              <a:rPr lang="ru-UA" sz="1600" dirty="0"/>
              <a:t> роботу </a:t>
            </a:r>
            <a:r>
              <a:rPr lang="uk-UA" sz="1600" dirty="0"/>
              <a:t>є більш важливо </a:t>
            </a:r>
            <a:r>
              <a:rPr lang="ru-UA" sz="1600" dirty="0"/>
              <a:t>для </a:t>
            </a:r>
            <a:r>
              <a:rPr lang="ru-UA" sz="1600" dirty="0" err="1"/>
              <a:t>наймолодшо</a:t>
            </a:r>
            <a:r>
              <a:rPr lang="uk-UA" sz="1600" dirty="0"/>
              <a:t>ї групи 14-19 років, також для цієї групи більш важливі цілі, пов’язані з гедонізмом, як-от мати цікаве дозвілля, та із досягненням високого статусу. Для старшої групу 30-35 років зростає важливість цілі виховати дітей</a:t>
            </a:r>
            <a:endParaRPr lang="uk-UA" sz="1600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2F88C3-DA6A-2922-35BE-6CBB040882DD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27" name="Диаграмма 16">
            <a:extLst>
              <a:ext uri="{FF2B5EF4-FFF2-40B4-BE49-F238E27FC236}">
                <a16:creationId xmlns:a16="http://schemas.microsoft.com/office/drawing/2014/main" id="{A00E057D-28BC-7B2F-809F-5EE1C98B43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8523191"/>
              </p:ext>
            </p:extLst>
          </p:nvPr>
        </p:nvGraphicFramePr>
        <p:xfrm>
          <a:off x="5139348" y="2291486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F05E6600-AED9-33C7-B68B-7DF33BD4EA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5476375"/>
              </p:ext>
            </p:extLst>
          </p:nvPr>
        </p:nvGraphicFramePr>
        <p:xfrm>
          <a:off x="6904480" y="2291273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C31CCE42-6452-33D3-A9C7-08FABF2234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2870315"/>
              </p:ext>
            </p:extLst>
          </p:nvPr>
        </p:nvGraphicFramePr>
        <p:xfrm>
          <a:off x="8671357" y="2297319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2" name="Диаграмма 16">
            <a:extLst>
              <a:ext uri="{FF2B5EF4-FFF2-40B4-BE49-F238E27FC236}">
                <a16:creationId xmlns:a16="http://schemas.microsoft.com/office/drawing/2014/main" id="{56C90452-4F8D-C3D5-5664-81C3865E13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8883870"/>
              </p:ext>
            </p:extLst>
          </p:nvPr>
        </p:nvGraphicFramePr>
        <p:xfrm>
          <a:off x="10435742" y="2291273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4" name="TextBox 73">
            <a:extLst>
              <a:ext uri="{FF2B5EF4-FFF2-40B4-BE49-F238E27FC236}">
                <a16:creationId xmlns:a16="http://schemas.microsoft.com/office/drawing/2014/main" id="{E30D6A29-93C9-2B3A-5960-D89E9ED6D2C3}"/>
              </a:ext>
            </a:extLst>
          </p:cNvPr>
          <p:cNvSpPr txBox="1"/>
          <p:nvPr/>
        </p:nvSpPr>
        <p:spPr>
          <a:xfrm>
            <a:off x="5814774" y="4834034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EE91ACB-F824-0DE7-CD31-BDB6FC793415}"/>
              </a:ext>
            </a:extLst>
          </p:cNvPr>
          <p:cNvSpPr txBox="1"/>
          <p:nvPr/>
        </p:nvSpPr>
        <p:spPr>
          <a:xfrm>
            <a:off x="5848763" y="427331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D9962BF0-B4E4-6147-3B98-FA14E4122FEA}"/>
              </a:ext>
            </a:extLst>
          </p:cNvPr>
          <p:cNvSpPr txBox="1"/>
          <p:nvPr/>
        </p:nvSpPr>
        <p:spPr>
          <a:xfrm>
            <a:off x="9271924" y="4472557"/>
            <a:ext cx="42071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592411A-A26A-83B7-D82B-2805A2CA9D8E}"/>
              </a:ext>
            </a:extLst>
          </p:cNvPr>
          <p:cNvSpPr txBox="1"/>
          <p:nvPr/>
        </p:nvSpPr>
        <p:spPr>
          <a:xfrm>
            <a:off x="5896054" y="3533554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CEB2860-5183-4DC3-7D87-081E3EB26FE5}"/>
              </a:ext>
            </a:extLst>
          </p:cNvPr>
          <p:cNvSpPr txBox="1"/>
          <p:nvPr/>
        </p:nvSpPr>
        <p:spPr>
          <a:xfrm>
            <a:off x="5845254" y="5413154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90E4D7-0593-158B-922E-771AE41FD34A}"/>
              </a:ext>
            </a:extLst>
          </p:cNvPr>
          <p:cNvSpPr txBox="1"/>
          <p:nvPr/>
        </p:nvSpPr>
        <p:spPr>
          <a:xfrm>
            <a:off x="5550614" y="6154834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FB8BB8F-9C62-882B-8FA4-A576FEEDED12}"/>
              </a:ext>
            </a:extLst>
          </p:cNvPr>
          <p:cNvSpPr txBox="1"/>
          <p:nvPr/>
        </p:nvSpPr>
        <p:spPr>
          <a:xfrm>
            <a:off x="5835094" y="5596034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7ECCA78-2CE9-3973-C0A4-4CD0CE13E7C6}"/>
              </a:ext>
            </a:extLst>
          </p:cNvPr>
          <p:cNvSpPr txBox="1"/>
          <p:nvPr/>
        </p:nvSpPr>
        <p:spPr>
          <a:xfrm>
            <a:off x="5784294" y="5220114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C0A1515-4665-7B9B-603E-4B72E5A7AAD6}"/>
              </a:ext>
            </a:extLst>
          </p:cNvPr>
          <p:cNvSpPr txBox="1"/>
          <p:nvPr/>
        </p:nvSpPr>
        <p:spPr>
          <a:xfrm>
            <a:off x="5611574" y="5961794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B2244D6-42DA-B63F-B23C-3F1A8030BA2B}"/>
              </a:ext>
            </a:extLst>
          </p:cNvPr>
          <p:cNvSpPr txBox="1"/>
          <p:nvPr/>
        </p:nvSpPr>
        <p:spPr>
          <a:xfrm>
            <a:off x="5848763" y="409043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DD1DB6F-011A-5E51-C995-9BA58EE36B59}"/>
              </a:ext>
            </a:extLst>
          </p:cNvPr>
          <p:cNvSpPr txBox="1"/>
          <p:nvPr/>
        </p:nvSpPr>
        <p:spPr>
          <a:xfrm>
            <a:off x="5594763" y="578715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B5AF81E-E457-6F6B-9067-0D591607EE53}"/>
              </a:ext>
            </a:extLst>
          </p:cNvPr>
          <p:cNvSpPr txBox="1"/>
          <p:nvPr/>
        </p:nvSpPr>
        <p:spPr>
          <a:xfrm>
            <a:off x="5726843" y="502515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1451AD9-1B48-F2B2-62AE-7590FF1E8F29}"/>
              </a:ext>
            </a:extLst>
          </p:cNvPr>
          <p:cNvSpPr txBox="1"/>
          <p:nvPr/>
        </p:nvSpPr>
        <p:spPr>
          <a:xfrm>
            <a:off x="5848763" y="333859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6C999A-060E-981C-2E02-DEBBB962A51C}"/>
              </a:ext>
            </a:extLst>
          </p:cNvPr>
          <p:cNvSpPr txBox="1"/>
          <p:nvPr/>
        </p:nvSpPr>
        <p:spPr>
          <a:xfrm>
            <a:off x="7575963" y="427331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5D7E58D-95AE-92DC-C389-46BBC937DEC2}"/>
              </a:ext>
            </a:extLst>
          </p:cNvPr>
          <p:cNvSpPr txBox="1"/>
          <p:nvPr/>
        </p:nvSpPr>
        <p:spPr>
          <a:xfrm>
            <a:off x="7159403" y="615291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B814138-BD57-FD44-9047-7BEC07284607}"/>
              </a:ext>
            </a:extLst>
          </p:cNvPr>
          <p:cNvSpPr txBox="1"/>
          <p:nvPr/>
        </p:nvSpPr>
        <p:spPr>
          <a:xfrm>
            <a:off x="7332123" y="577699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D4BEA1B-8312-DA1A-D4D9-BDB2D952F47D}"/>
              </a:ext>
            </a:extLst>
          </p:cNvPr>
          <p:cNvSpPr txBox="1"/>
          <p:nvPr/>
        </p:nvSpPr>
        <p:spPr>
          <a:xfrm>
            <a:off x="7159403" y="597003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F4966E8-A96D-3B5F-874A-2A33B4EE2A61}"/>
              </a:ext>
            </a:extLst>
          </p:cNvPr>
          <p:cNvSpPr txBox="1"/>
          <p:nvPr/>
        </p:nvSpPr>
        <p:spPr>
          <a:xfrm>
            <a:off x="7525163" y="503531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187E900-F731-E6CE-B6E8-245BDF0E9366}"/>
              </a:ext>
            </a:extLst>
          </p:cNvPr>
          <p:cNvSpPr txBox="1"/>
          <p:nvPr/>
        </p:nvSpPr>
        <p:spPr>
          <a:xfrm>
            <a:off x="7585364" y="389605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21AF05C-4898-6EC7-8C31-48B38CC90A17}"/>
              </a:ext>
            </a:extLst>
          </p:cNvPr>
          <p:cNvSpPr txBox="1"/>
          <p:nvPr/>
        </p:nvSpPr>
        <p:spPr>
          <a:xfrm>
            <a:off x="7737764" y="24025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8B60E-4C9A-6AEE-C518-4DE756B982C9}"/>
              </a:ext>
            </a:extLst>
          </p:cNvPr>
          <p:cNvSpPr txBox="1"/>
          <p:nvPr/>
        </p:nvSpPr>
        <p:spPr>
          <a:xfrm>
            <a:off x="7565044" y="408909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9C6EEDB-9218-2555-E89C-9D3D3DC237F8}"/>
              </a:ext>
            </a:extLst>
          </p:cNvPr>
          <p:cNvSpPr txBox="1"/>
          <p:nvPr/>
        </p:nvSpPr>
        <p:spPr>
          <a:xfrm>
            <a:off x="9871364" y="48409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9FF976-44A9-86A6-CDC7-ACB65CC28009}"/>
              </a:ext>
            </a:extLst>
          </p:cNvPr>
          <p:cNvSpPr txBox="1"/>
          <p:nvPr/>
        </p:nvSpPr>
        <p:spPr>
          <a:xfrm>
            <a:off x="9525924" y="25955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0DE68F5-0330-0905-F86F-2CA5DE2F54EE}"/>
              </a:ext>
            </a:extLst>
          </p:cNvPr>
          <p:cNvSpPr txBox="1"/>
          <p:nvPr/>
        </p:nvSpPr>
        <p:spPr>
          <a:xfrm>
            <a:off x="9536084" y="24025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C5025D6-C37F-8A2B-3BFD-DE34C037F500}"/>
              </a:ext>
            </a:extLst>
          </p:cNvPr>
          <p:cNvSpPr txBox="1"/>
          <p:nvPr/>
        </p:nvSpPr>
        <p:spPr>
          <a:xfrm>
            <a:off x="9271924" y="4655437"/>
            <a:ext cx="42071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D90B6DC-A820-E74D-A784-4A1ABDA6683C}"/>
              </a:ext>
            </a:extLst>
          </p:cNvPr>
          <p:cNvSpPr txBox="1"/>
          <p:nvPr/>
        </p:nvSpPr>
        <p:spPr>
          <a:xfrm>
            <a:off x="11009284" y="465805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38C5C6E-6930-7D3F-0F16-62DB8A7E9A73}"/>
              </a:ext>
            </a:extLst>
          </p:cNvPr>
          <p:cNvSpPr txBox="1"/>
          <p:nvPr/>
        </p:nvSpPr>
        <p:spPr>
          <a:xfrm>
            <a:off x="11293764" y="24025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8C21BED-4274-AE91-5655-B51D8EB8F7CF}"/>
              </a:ext>
            </a:extLst>
          </p:cNvPr>
          <p:cNvSpPr txBox="1"/>
          <p:nvPr/>
        </p:nvSpPr>
        <p:spPr>
          <a:xfrm>
            <a:off x="11180490" y="4460122"/>
            <a:ext cx="532181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76EB7D8-FE37-4486-D7E8-9282B41F6FF4}"/>
              </a:ext>
            </a:extLst>
          </p:cNvPr>
          <p:cNvSpPr txBox="1"/>
          <p:nvPr/>
        </p:nvSpPr>
        <p:spPr>
          <a:xfrm>
            <a:off x="6428414" y="264951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6C6FD6B-811D-9AEE-294A-37EEE902F77D}"/>
              </a:ext>
            </a:extLst>
          </p:cNvPr>
          <p:cNvSpPr txBox="1"/>
          <p:nvPr/>
        </p:nvSpPr>
        <p:spPr>
          <a:xfrm>
            <a:off x="6418254" y="37077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9C86457-B40F-57C6-6975-D1C6716A96D7}"/>
              </a:ext>
            </a:extLst>
          </p:cNvPr>
          <p:cNvSpPr txBox="1"/>
          <p:nvPr/>
        </p:nvSpPr>
        <p:spPr>
          <a:xfrm>
            <a:off x="6235374" y="44596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62B6C7E2-F184-2237-2E3C-E4FDD924F7D7}"/>
              </a:ext>
            </a:extLst>
          </p:cNvPr>
          <p:cNvSpPr txBox="1"/>
          <p:nvPr/>
        </p:nvSpPr>
        <p:spPr>
          <a:xfrm>
            <a:off x="6282134" y="2466754"/>
            <a:ext cx="5327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D2321F0-A3C8-E9F5-0F6E-F5A19895B8E5}"/>
              </a:ext>
            </a:extLst>
          </p:cNvPr>
          <p:cNvSpPr txBox="1"/>
          <p:nvPr/>
        </p:nvSpPr>
        <p:spPr>
          <a:xfrm>
            <a:off x="6229763" y="464415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2847A492-A13C-0C08-BC01-8DD563575880}"/>
              </a:ext>
            </a:extLst>
          </p:cNvPr>
          <p:cNvSpPr txBox="1"/>
          <p:nvPr/>
        </p:nvSpPr>
        <p:spPr>
          <a:xfrm>
            <a:off x="8150003" y="370435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106BE294-1F42-F24C-0C8E-8595D0429583}"/>
              </a:ext>
            </a:extLst>
          </p:cNvPr>
          <p:cNvSpPr txBox="1"/>
          <p:nvPr/>
        </p:nvSpPr>
        <p:spPr>
          <a:xfrm>
            <a:off x="8074621" y="464533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054614FF-DE5C-4C59-7AEC-0484C24ED24E}"/>
              </a:ext>
            </a:extLst>
          </p:cNvPr>
          <p:cNvSpPr txBox="1"/>
          <p:nvPr/>
        </p:nvSpPr>
        <p:spPr>
          <a:xfrm>
            <a:off x="7952414" y="44596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2564E130-FFCF-F7AF-FB47-309E05B0D8CA}"/>
              </a:ext>
            </a:extLst>
          </p:cNvPr>
          <p:cNvSpPr txBox="1"/>
          <p:nvPr/>
        </p:nvSpPr>
        <p:spPr>
          <a:xfrm>
            <a:off x="8144164" y="53997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2AD1BF9E-E6D2-065F-AE2B-EF6734047F90}"/>
              </a:ext>
            </a:extLst>
          </p:cNvPr>
          <p:cNvSpPr txBox="1"/>
          <p:nvPr/>
        </p:nvSpPr>
        <p:spPr>
          <a:xfrm>
            <a:off x="8155324" y="352348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8EE16CA-9BC6-F51B-5A6F-7FECE5FCCF60}"/>
              </a:ext>
            </a:extLst>
          </p:cNvPr>
          <p:cNvSpPr txBox="1"/>
          <p:nvPr/>
        </p:nvSpPr>
        <p:spPr>
          <a:xfrm>
            <a:off x="9913004" y="352856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A51FC36-CF37-8A91-6041-F40FB15597E6}"/>
              </a:ext>
            </a:extLst>
          </p:cNvPr>
          <p:cNvSpPr txBox="1"/>
          <p:nvPr/>
        </p:nvSpPr>
        <p:spPr>
          <a:xfrm>
            <a:off x="9789551" y="503426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7A596FFB-B47B-E9D3-4E9E-61B12C0DE887}"/>
              </a:ext>
            </a:extLst>
          </p:cNvPr>
          <p:cNvSpPr txBox="1"/>
          <p:nvPr/>
        </p:nvSpPr>
        <p:spPr>
          <a:xfrm>
            <a:off x="9611751" y="578102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C5288F38-105B-5897-04D9-9B5D2722FE1E}"/>
              </a:ext>
            </a:extLst>
          </p:cNvPr>
          <p:cNvSpPr txBox="1"/>
          <p:nvPr/>
        </p:nvSpPr>
        <p:spPr>
          <a:xfrm>
            <a:off x="9713351" y="3975648"/>
            <a:ext cx="63520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52223F8-296A-14E1-1258-E3644FAE9DCA}"/>
              </a:ext>
            </a:extLst>
          </p:cNvPr>
          <p:cNvSpPr txBox="1"/>
          <p:nvPr/>
        </p:nvSpPr>
        <p:spPr>
          <a:xfrm>
            <a:off x="9912004" y="53997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81774E08-4C4B-48A2-936E-56EC7D155CD1}"/>
              </a:ext>
            </a:extLst>
          </p:cNvPr>
          <p:cNvSpPr txBox="1"/>
          <p:nvPr/>
        </p:nvSpPr>
        <p:spPr>
          <a:xfrm>
            <a:off x="10003444" y="42821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49DDF40A-F201-8B0A-35E2-5D51793C214E}"/>
              </a:ext>
            </a:extLst>
          </p:cNvPr>
          <p:cNvSpPr txBox="1"/>
          <p:nvPr/>
        </p:nvSpPr>
        <p:spPr>
          <a:xfrm>
            <a:off x="10003444" y="40941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13272E00-BC10-426E-EBE7-CE50257834AB}"/>
              </a:ext>
            </a:extLst>
          </p:cNvPr>
          <p:cNvSpPr txBox="1"/>
          <p:nvPr/>
        </p:nvSpPr>
        <p:spPr>
          <a:xfrm>
            <a:off x="9840884" y="522701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3272FFA9-EB10-6C69-4C51-B334C1E5419B}"/>
              </a:ext>
            </a:extLst>
          </p:cNvPr>
          <p:cNvSpPr txBox="1"/>
          <p:nvPr/>
        </p:nvSpPr>
        <p:spPr>
          <a:xfrm>
            <a:off x="9464964" y="596869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E45489DE-0307-D225-F19A-244C9852660C}"/>
              </a:ext>
            </a:extLst>
          </p:cNvPr>
          <p:cNvSpPr txBox="1"/>
          <p:nvPr/>
        </p:nvSpPr>
        <p:spPr>
          <a:xfrm>
            <a:off x="10014894" y="44596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37D7B342-87E6-42A8-9AAF-D43AFEB754F9}"/>
              </a:ext>
            </a:extLst>
          </p:cNvPr>
          <p:cNvSpPr txBox="1"/>
          <p:nvPr/>
        </p:nvSpPr>
        <p:spPr>
          <a:xfrm>
            <a:off x="11629044" y="53895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0D7DFAED-D639-0C94-A73C-14C326EEABFC}"/>
              </a:ext>
            </a:extLst>
          </p:cNvPr>
          <p:cNvSpPr txBox="1"/>
          <p:nvPr/>
        </p:nvSpPr>
        <p:spPr>
          <a:xfrm>
            <a:off x="11618884" y="520669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A76CD05D-5823-58E3-878D-6DBC05C76E2B}"/>
              </a:ext>
            </a:extLst>
          </p:cNvPr>
          <p:cNvSpPr txBox="1"/>
          <p:nvPr/>
        </p:nvSpPr>
        <p:spPr>
          <a:xfrm>
            <a:off x="11151524" y="59585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72B9D11-8CC3-9883-0546-EC1E59F3F06D}"/>
              </a:ext>
            </a:extLst>
          </p:cNvPr>
          <p:cNvSpPr txBox="1"/>
          <p:nvPr/>
        </p:nvSpPr>
        <p:spPr>
          <a:xfrm>
            <a:off x="11577711" y="427226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1242DD71-82E2-035C-A0DE-DF6783D1851A}"/>
              </a:ext>
            </a:extLst>
          </p:cNvPr>
          <p:cNvSpPr txBox="1"/>
          <p:nvPr/>
        </p:nvSpPr>
        <p:spPr>
          <a:xfrm>
            <a:off x="11648831" y="408430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6A820DFA-DEBD-B965-AA53-60F803BC4DD6}"/>
              </a:ext>
            </a:extLst>
          </p:cNvPr>
          <p:cNvSpPr txBox="1"/>
          <p:nvPr/>
        </p:nvSpPr>
        <p:spPr>
          <a:xfrm>
            <a:off x="11328791" y="577086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A7B207D4-51A6-578F-688F-9DF14376EF4E}"/>
              </a:ext>
            </a:extLst>
          </p:cNvPr>
          <p:cNvSpPr txBox="1"/>
          <p:nvPr/>
        </p:nvSpPr>
        <p:spPr>
          <a:xfrm>
            <a:off x="6536478" y="446422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DC39D7AF-5053-991D-E322-DB28E2E8BB19}"/>
              </a:ext>
            </a:extLst>
          </p:cNvPr>
          <p:cNvSpPr txBox="1"/>
          <p:nvPr/>
        </p:nvSpPr>
        <p:spPr>
          <a:xfrm>
            <a:off x="8304318" y="445406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97346A85-9A2C-D362-2E22-F53AB2BDBD14}"/>
              </a:ext>
            </a:extLst>
          </p:cNvPr>
          <p:cNvSpPr txBox="1"/>
          <p:nvPr/>
        </p:nvSpPr>
        <p:spPr>
          <a:xfrm>
            <a:off x="8357524" y="492221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EF981816-D5A5-B137-2782-E5A691CC8A5D}"/>
              </a:ext>
            </a:extLst>
          </p:cNvPr>
          <p:cNvSpPr txBox="1"/>
          <p:nvPr/>
        </p:nvSpPr>
        <p:spPr>
          <a:xfrm>
            <a:off x="8327044" y="61515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5FC2696F-4A16-E212-D21C-1333CB6CB9C3}"/>
              </a:ext>
            </a:extLst>
          </p:cNvPr>
          <p:cNvSpPr txBox="1"/>
          <p:nvPr/>
        </p:nvSpPr>
        <p:spPr>
          <a:xfrm>
            <a:off x="8372764" y="596869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400568AB-FC13-21A0-8481-F17403E71E97}"/>
              </a:ext>
            </a:extLst>
          </p:cNvPr>
          <p:cNvSpPr txBox="1"/>
          <p:nvPr/>
        </p:nvSpPr>
        <p:spPr>
          <a:xfrm>
            <a:off x="8311121" y="548608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28E6FEFF-73F9-8CC7-6A93-137A87CB90BF}"/>
              </a:ext>
            </a:extLst>
          </p:cNvPr>
          <p:cNvSpPr txBox="1"/>
          <p:nvPr/>
        </p:nvSpPr>
        <p:spPr>
          <a:xfrm>
            <a:off x="8377844" y="55927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28091D3D-81A6-6727-697C-B834ADD8CDA0}"/>
              </a:ext>
            </a:extLst>
          </p:cNvPr>
          <p:cNvSpPr txBox="1"/>
          <p:nvPr/>
        </p:nvSpPr>
        <p:spPr>
          <a:xfrm>
            <a:off x="10115437" y="491199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E10A2764-EF9A-CEB3-6929-DC48CCFA385B}"/>
              </a:ext>
            </a:extLst>
          </p:cNvPr>
          <p:cNvSpPr txBox="1"/>
          <p:nvPr/>
        </p:nvSpPr>
        <p:spPr>
          <a:xfrm>
            <a:off x="10125597" y="530823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08D97D81-CBD4-F9CC-0FB9-9379F89AD49D}"/>
              </a:ext>
            </a:extLst>
          </p:cNvPr>
          <p:cNvSpPr txBox="1"/>
          <p:nvPr/>
        </p:nvSpPr>
        <p:spPr>
          <a:xfrm>
            <a:off x="10135757" y="596863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22566E15-0BB8-79AC-F304-D88D1F260D54}"/>
              </a:ext>
            </a:extLst>
          </p:cNvPr>
          <p:cNvSpPr txBox="1"/>
          <p:nvPr/>
        </p:nvSpPr>
        <p:spPr>
          <a:xfrm>
            <a:off x="9997831" y="615694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D83C8D90-2A47-0F32-45C1-F04FB25A6BFE}"/>
              </a:ext>
            </a:extLst>
          </p:cNvPr>
          <p:cNvSpPr txBox="1"/>
          <p:nvPr/>
        </p:nvSpPr>
        <p:spPr>
          <a:xfrm>
            <a:off x="9987671" y="559814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0993E71B-7567-8189-7A0D-359D893CBBAC}"/>
              </a:ext>
            </a:extLst>
          </p:cNvPr>
          <p:cNvSpPr txBox="1"/>
          <p:nvPr/>
        </p:nvSpPr>
        <p:spPr>
          <a:xfrm>
            <a:off x="11846951" y="483614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37BAC263-3836-6D8D-CC49-ECCC70493C6B}"/>
              </a:ext>
            </a:extLst>
          </p:cNvPr>
          <p:cNvSpPr txBox="1"/>
          <p:nvPr/>
        </p:nvSpPr>
        <p:spPr>
          <a:xfrm>
            <a:off x="11735191" y="614678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B8D4C0F9-A7E8-1B7B-FCC2-181308724BE3}"/>
              </a:ext>
            </a:extLst>
          </p:cNvPr>
          <p:cNvSpPr txBox="1"/>
          <p:nvPr/>
        </p:nvSpPr>
        <p:spPr>
          <a:xfrm>
            <a:off x="11755511" y="559306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3AFD3952-8C49-4AFE-4154-A39C1F4B8B01}"/>
              </a:ext>
            </a:extLst>
          </p:cNvPr>
          <p:cNvSpPr txBox="1"/>
          <p:nvPr/>
        </p:nvSpPr>
        <p:spPr>
          <a:xfrm>
            <a:off x="11798040" y="596303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7C5A0232-A079-4F62-D43A-A49F7C74893D}"/>
              </a:ext>
            </a:extLst>
          </p:cNvPr>
          <p:cNvSpPr txBox="1"/>
          <p:nvPr/>
        </p:nvSpPr>
        <p:spPr>
          <a:xfrm>
            <a:off x="11913524" y="50949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561DE0CA-7E9A-2838-5A0F-B20D172CBEFA}"/>
              </a:ext>
            </a:extLst>
          </p:cNvPr>
          <p:cNvSpPr txBox="1"/>
          <p:nvPr/>
        </p:nvSpPr>
        <p:spPr>
          <a:xfrm>
            <a:off x="11892084" y="527888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6A6561A9-C897-BA38-CCC5-ABDF8458913B}"/>
              </a:ext>
            </a:extLst>
          </p:cNvPr>
          <p:cNvSpPr txBox="1"/>
          <p:nvPr/>
        </p:nvSpPr>
        <p:spPr>
          <a:xfrm>
            <a:off x="11824165" y="547779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A880AD62-5A56-4DFE-6396-B563EAFAC717}"/>
              </a:ext>
            </a:extLst>
          </p:cNvPr>
          <p:cNvSpPr txBox="1"/>
          <p:nvPr/>
        </p:nvSpPr>
        <p:spPr>
          <a:xfrm>
            <a:off x="11844485" y="284635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27F22033-9F40-7799-6352-2850B06BB199}"/>
              </a:ext>
            </a:extLst>
          </p:cNvPr>
          <p:cNvSpPr txBox="1"/>
          <p:nvPr/>
        </p:nvSpPr>
        <p:spPr>
          <a:xfrm>
            <a:off x="11752339" y="3214493"/>
            <a:ext cx="550715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7B3EF097-0F0A-7CAE-CC25-9526CE5F5B0C}"/>
              </a:ext>
            </a:extLst>
          </p:cNvPr>
          <p:cNvSpPr txBox="1"/>
          <p:nvPr/>
        </p:nvSpPr>
        <p:spPr>
          <a:xfrm>
            <a:off x="11742179" y="3783453"/>
            <a:ext cx="550715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B6AE82BF-2EE7-482F-36AF-5D0849374245}"/>
              </a:ext>
            </a:extLst>
          </p:cNvPr>
          <p:cNvSpPr txBox="1"/>
          <p:nvPr/>
        </p:nvSpPr>
        <p:spPr>
          <a:xfrm>
            <a:off x="11686299" y="4728333"/>
            <a:ext cx="550715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4309D4D4-606A-7E0B-3091-FCBF69836B51}"/>
              </a:ext>
            </a:extLst>
          </p:cNvPr>
          <p:cNvSpPr txBox="1"/>
          <p:nvPr/>
        </p:nvSpPr>
        <p:spPr>
          <a:xfrm>
            <a:off x="11757419" y="3601916"/>
            <a:ext cx="550715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20503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A06A5C2-AF61-984D-4EAA-ED68BD7574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9D16550-F9CF-A0C7-5F22-A559FE4300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D16550-F9CF-A0C7-5F22-A559FE430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6F7277-0D79-3B0F-B465-4F766E100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000" noProof="0" dirty="0" err="1"/>
              <a:t>Активізм</a:t>
            </a:r>
            <a:r>
              <a:rPr lang="uk-UA" sz="2000" noProof="0" dirty="0"/>
              <a:t> і прагнення проявити себе є більше актуальним для молоді 14-24 роки. Після 25 років набувають важливості цілі фінансової стабільності і безпеки задля створення сім’ї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D12AB4-0764-6077-F220-0F773F31838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53F9D762-A728-10BD-2F95-86198E8AF5D6}"/>
              </a:ext>
            </a:extLst>
          </p:cNvPr>
          <p:cNvSpPr txBox="1">
            <a:spLocks/>
          </p:cNvSpPr>
          <p:nvPr/>
        </p:nvSpPr>
        <p:spPr>
          <a:xfrm>
            <a:off x="832103" y="1611856"/>
            <a:ext cx="11359897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Вираженість важливості цілей, які прагнуть досягти у наступні кілька років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07167E7-0D05-DF24-AF4E-34E42D3F7264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858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Наймолодші </a:t>
            </a:r>
            <a:r>
              <a:rPr lang="uk-UA" sz="1600" dirty="0"/>
              <a:t>(14-19 років) </a:t>
            </a:r>
            <a:r>
              <a:rPr lang="uk-UA" sz="1600" noProof="0" dirty="0"/>
              <a:t>мріють заробити багато грошей, отримати якісну освіту і набути статусу. Проявити себе у громадських ініціативах є важливим для молоді 14-19 і особливо для молоді 20-24 роки. Молодь 20-24 роки також прагне зробити кар’єру і стати відомими (набути статусу у суспільстві). Переломним є вік від 25-29 років, коли набувають важливості цілі фінансової </a:t>
            </a:r>
            <a:r>
              <a:rPr lang="uk-UA" sz="1600" noProof="0" dirty="0" err="1"/>
              <a:t>незалеж</a:t>
            </a:r>
            <a:r>
              <a:rPr lang="uk-UA" sz="1600" dirty="0" err="1"/>
              <a:t>ності</a:t>
            </a:r>
            <a:r>
              <a:rPr lang="uk-UA" sz="1600" dirty="0"/>
              <a:t>, набуття житла і створення сім’ї. У віці 30-35 років вираженою ціллю стає виховання дітей, що потребує безпечного середовища та фінансової стабільності (бути працевлаштованим).</a:t>
            </a:r>
            <a:endParaRPr lang="uk-UA" sz="1600" noProof="0" dirty="0"/>
          </a:p>
        </p:txBody>
      </p:sp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84074201-862A-C747-E9EC-1C5CBBACF1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961374"/>
              </p:ext>
            </p:extLst>
          </p:nvPr>
        </p:nvGraphicFramePr>
        <p:xfrm>
          <a:off x="737416" y="2203335"/>
          <a:ext cx="10432024" cy="46446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3457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659744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44744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726291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622399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DD868F4B-E201-5216-CE8F-814C58B6D708}"/>
              </a:ext>
            </a:extLst>
          </p:cNvPr>
          <p:cNvGraphicFramePr>
            <a:graphicFrameLocks noGrp="1"/>
          </p:cNvGraphicFramePr>
          <p:nvPr/>
        </p:nvGraphicFramePr>
        <p:xfrm>
          <a:off x="4630985" y="1907020"/>
          <a:ext cx="6538456" cy="281811"/>
        </p:xfrm>
        <a:graphic>
          <a:graphicData uri="http://schemas.openxmlformats.org/drawingml/2006/table">
            <a:tbl>
              <a:tblPr firstRow="1" bandRow="1"/>
              <a:tblGrid>
                <a:gridCol w="163461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3461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3461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34614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uk-UA" sz="16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</a:t>
                      </a:r>
                      <a:endParaRPr lang="uk-UA" sz="16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6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</a:t>
                      </a:r>
                      <a:endParaRPr lang="uk-UA" sz="16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6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</a:t>
                      </a:r>
                      <a:endParaRPr lang="uk-UA" sz="16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6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</a:t>
                      </a:r>
                      <a:endParaRPr lang="uk-UA" sz="16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graphicFrame>
        <p:nvGraphicFramePr>
          <p:cNvPr id="8" name="Таблиця 7">
            <a:extLst>
              <a:ext uri="{FF2B5EF4-FFF2-40B4-BE49-F238E27FC236}">
                <a16:creationId xmlns:a16="http://schemas.microsoft.com/office/drawing/2014/main" id="{739B3D4F-E463-8502-E922-3E043F25F0BC}"/>
              </a:ext>
            </a:extLst>
          </p:cNvPr>
          <p:cNvGraphicFramePr>
            <a:graphicFrameLocks noGrp="1"/>
          </p:cNvGraphicFramePr>
          <p:nvPr/>
        </p:nvGraphicFramePr>
        <p:xfrm>
          <a:off x="4630985" y="2209468"/>
          <a:ext cx="6458400" cy="4630864"/>
        </p:xfrm>
        <a:graphic>
          <a:graphicData uri="http://schemas.openxmlformats.org/drawingml/2006/table">
            <a:tbl>
              <a:tblPr/>
              <a:tblGrid>
                <a:gridCol w="1614600">
                  <a:extLst>
                    <a:ext uri="{9D8B030D-6E8A-4147-A177-3AD203B41FA5}">
                      <a16:colId xmlns:a16="http://schemas.microsoft.com/office/drawing/2014/main" val="2476672561"/>
                    </a:ext>
                  </a:extLst>
                </a:gridCol>
                <a:gridCol w="1614600">
                  <a:extLst>
                    <a:ext uri="{9D8B030D-6E8A-4147-A177-3AD203B41FA5}">
                      <a16:colId xmlns:a16="http://schemas.microsoft.com/office/drawing/2014/main" val="1447202941"/>
                    </a:ext>
                  </a:extLst>
                </a:gridCol>
                <a:gridCol w="1614600">
                  <a:extLst>
                    <a:ext uri="{9D8B030D-6E8A-4147-A177-3AD203B41FA5}">
                      <a16:colId xmlns:a16="http://schemas.microsoft.com/office/drawing/2014/main" val="3419582433"/>
                    </a:ext>
                  </a:extLst>
                </a:gridCol>
                <a:gridCol w="1614600">
                  <a:extLst>
                    <a:ext uri="{9D8B030D-6E8A-4147-A177-3AD203B41FA5}">
                      <a16:colId xmlns:a16="http://schemas.microsoft.com/office/drawing/2014/main" val="4044287111"/>
                    </a:ext>
                  </a:extLst>
                </a:gridCol>
              </a:tblGrid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3316781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936024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6683769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0664952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5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1226149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4961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269229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6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7189353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216116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347296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7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269039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3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A6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3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F6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C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050695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636813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0109073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4598581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B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6506266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3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219556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8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4335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C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89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364343"/>
                  </a:ext>
                </a:extLst>
              </a:tr>
              <a:tr h="22028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4C3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736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402183"/>
                  </a:ext>
                </a:extLst>
              </a:tr>
              <a:tr h="1262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716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3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882852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AC1CC5B-94B0-6A9F-C042-F4238D328B0F}"/>
              </a:ext>
            </a:extLst>
          </p:cNvPr>
          <p:cNvSpPr txBox="1"/>
          <p:nvPr/>
        </p:nvSpPr>
        <p:spPr bwMode="gray">
          <a:xfrm>
            <a:off x="216794" y="1650655"/>
            <a:ext cx="177659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Вираженість цілей у розрізі вікових груп (профілювання)</a:t>
            </a:r>
          </a:p>
        </p:txBody>
      </p:sp>
    </p:spTree>
    <p:extLst>
      <p:ext uri="{BB962C8B-B14F-4D97-AF65-F5344CB8AC3E}">
        <p14:creationId xmlns:p14="http://schemas.microsoft.com/office/powerpoint/2010/main" val="33217438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1BDD7-56BD-D83A-D3DA-BBB3F3F1D9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85CC3EF-8EB8-5C3F-44E8-4C1FCBC2D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5CC3EF-8EB8-5C3F-44E8-4C1FCBC2D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BB095A-8F84-5CC8-89F3-87D8EDC89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Можливість реалізації у місті Вінниця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AFCA1346-2B5E-7EAD-9730-7BA017024AA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46969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83FA1-FFCF-9C69-126C-F965F3C2CC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5AE3382-E1D9-46D1-41B5-145FE4C198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AE3382-E1D9-46D1-41B5-145FE4C19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BE0C3E-3E99-86DE-2111-B0E8B29C98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3624" y="2320413"/>
            <a:ext cx="11454582" cy="2310581"/>
          </a:xfrm>
          <a:solidFill>
            <a:srgbClr val="7B98A1"/>
          </a:solidFill>
        </p:spPr>
        <p:txBody>
          <a:bodyPr vert="horz" anchor="ctr">
            <a:noAutofit/>
          </a:bodyPr>
          <a:lstStyle/>
          <a:p>
            <a:pPr algn="l"/>
            <a:r>
              <a:rPr lang="uk-UA" sz="4400" b="1" noProof="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Довідка про дослідження</a:t>
            </a:r>
            <a:endParaRPr lang="uk-UA" sz="4400" noProof="0" dirty="0">
              <a:solidFill>
                <a:srgbClr val="FF0000"/>
              </a:solidFill>
            </a:endParaRP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6E565C38-48CA-63A0-3FC5-45F8AF489D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7149" y="5801033"/>
            <a:ext cx="5574890" cy="931606"/>
          </a:xfrm>
        </p:spPr>
        <p:txBody>
          <a:bodyPr anchor="ctr">
            <a:normAutofit/>
          </a:bodyPr>
          <a:lstStyle/>
          <a:p>
            <a:pPr algn="l">
              <a:spcBef>
                <a:spcPts val="600"/>
              </a:spcBef>
            </a:pPr>
            <a:r>
              <a:rPr lang="uk-UA" sz="1200" noProof="0" dirty="0">
                <a:solidFill>
                  <a:schemeClr val="bg1"/>
                </a:solidFill>
              </a:rPr>
              <a:t>Контакт: Тетяна Ситник ​</a:t>
            </a:r>
          </a:p>
          <a:p>
            <a:pPr algn="l">
              <a:spcBef>
                <a:spcPts val="600"/>
              </a:spcBef>
            </a:pPr>
            <a:r>
              <a:rPr lang="uk-UA" sz="1200" noProof="0" dirty="0">
                <a:solidFill>
                  <a:schemeClr val="bg1"/>
                </a:solidFill>
              </a:rPr>
              <a:t>Tetiana.Sytnyk@cbr.com.ua​</a:t>
            </a:r>
          </a:p>
        </p:txBody>
      </p:sp>
    </p:spTree>
    <p:extLst>
      <p:ext uri="{BB962C8B-B14F-4D97-AF65-F5344CB8AC3E}">
        <p14:creationId xmlns:p14="http://schemas.microsoft.com/office/powerpoint/2010/main" val="12372292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1C0662D-72F1-6F03-893F-7B695DCEE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E83EE0DE-43FA-DB6F-5DFD-4C331E08DE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5034702"/>
              </p:ext>
            </p:extLst>
          </p:nvPr>
        </p:nvGraphicFramePr>
        <p:xfrm>
          <a:off x="19663" y="2398479"/>
          <a:ext cx="12160800" cy="3943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296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81783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92F849E-1358-65F7-7403-CDA9EAF643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2F849E-1358-65F7-7403-CDA9EAF643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AE7E9A-3D63-7E95-B12C-EDC4A4E73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Можливість досягти цілей у місті Вінниц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663D4D-21D8-3590-ABBE-97AA50A41730}"/>
              </a:ext>
            </a:extLst>
          </p:cNvPr>
          <p:cNvSpPr txBox="1"/>
          <p:nvPr/>
        </p:nvSpPr>
        <p:spPr>
          <a:xfrm>
            <a:off x="6248400" y="6473465"/>
            <a:ext cx="54988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8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5090FD-A80F-6E1F-2111-27CA11911003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B4232885-3B20-A139-AF30-227DBFF054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016694"/>
              </p:ext>
            </p:extLst>
          </p:nvPr>
        </p:nvGraphicFramePr>
        <p:xfrm>
          <a:off x="3333594" y="6314206"/>
          <a:ext cx="8850095" cy="218225"/>
        </p:xfrm>
        <a:graphic>
          <a:graphicData uri="http://schemas.openxmlformats.org/drawingml/2006/table">
            <a:tbl>
              <a:tblPr firstRow="1" bandRow="1"/>
              <a:tblGrid>
                <a:gridCol w="17700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7700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7700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7700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7700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E56F8418-F5B9-60D5-A2DF-D8E270BA8D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0865289"/>
              </p:ext>
            </p:extLst>
          </p:nvPr>
        </p:nvGraphicFramePr>
        <p:xfrm>
          <a:off x="3372471" y="2285440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D633D248-FE2A-32A9-CA60-DA77561AF3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0077561"/>
              </p:ext>
            </p:extLst>
          </p:nvPr>
        </p:nvGraphicFramePr>
        <p:xfrm>
          <a:off x="3362632" y="2142991"/>
          <a:ext cx="8821070" cy="253395"/>
        </p:xfrm>
        <a:graphic>
          <a:graphicData uri="http://schemas.openxmlformats.org/drawingml/2006/table">
            <a:tbl>
              <a:tblPr firstRow="1" bandRow="1"/>
              <a:tblGrid>
                <a:gridCol w="176421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76421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76421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76421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764214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B8215A8D-2D8F-9E01-701C-BAB2A8E3F396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 lIns="3708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Можливість досягти цілей у місті Вінниця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10031C2-EF46-2EA5-8567-B16C90ABA9DF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93666D38-E5E8-EED1-B041-EE3F994646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8831556"/>
              </p:ext>
            </p:extLst>
          </p:nvPr>
        </p:nvGraphicFramePr>
        <p:xfrm>
          <a:off x="8367252" y="1799302"/>
          <a:ext cx="3757450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56E6C1B-4695-748F-73B8-5A596BD47CDF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Молоді люди відчувають можливості </a:t>
            </a:r>
            <a:r>
              <a:rPr lang="ru-UA" sz="1600" dirty="0"/>
              <a:t>реал</a:t>
            </a:r>
            <a:r>
              <a:rPr lang="uk-UA" sz="1600" dirty="0" err="1"/>
              <a:t>ізувати</a:t>
            </a:r>
            <a:r>
              <a:rPr lang="uk-UA" sz="1600" dirty="0"/>
              <a:t> у Вінниці свої цілі по створенню сім’ї, побудові стосунків з іншими людьми, а також цілі жити у привабливому місті. У Вінниці можна досягти цілі мати </a:t>
            </a:r>
            <a:r>
              <a:rPr lang="ru-UA" sz="1600" dirty="0" err="1"/>
              <a:t>автомоб</a:t>
            </a:r>
            <a:r>
              <a:rPr lang="uk-UA" sz="1600" dirty="0" err="1"/>
              <a:t>іль</a:t>
            </a:r>
            <a:r>
              <a:rPr lang="uk-UA" sz="1600" dirty="0"/>
              <a:t>, проте складніше досягти цілі мати власне житло. Легше досягти цілі бути працевлаштованим, особливо для </a:t>
            </a:r>
            <a:r>
              <a:rPr lang="uk-UA" sz="1600" dirty="0" err="1"/>
              <a:t>молод</a:t>
            </a:r>
            <a:r>
              <a:rPr lang="ru-UA" sz="1600" dirty="0"/>
              <a:t>ш</a:t>
            </a:r>
            <a:r>
              <a:rPr lang="uk-UA" sz="1600" dirty="0" err="1"/>
              <a:t>их</a:t>
            </a:r>
            <a:r>
              <a:rPr lang="uk-UA" sz="1600" dirty="0"/>
              <a:t> людей,</a:t>
            </a:r>
            <a:r>
              <a:rPr lang="ru-UA" sz="1600" dirty="0"/>
              <a:t> н</a:t>
            </a:r>
            <a:r>
              <a:rPr lang="uk-UA" sz="1600" dirty="0" err="1"/>
              <a:t>іж</a:t>
            </a:r>
            <a:r>
              <a:rPr lang="uk-UA" sz="1600" dirty="0"/>
              <a:t> мати цікаву роботу та зробити успішну кар’єру.  </a:t>
            </a:r>
            <a:endParaRPr lang="uk-UA" sz="1600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0E3AE8-5083-EC39-C0EF-7EC8204D69E3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27" name="Диаграмма 16">
            <a:extLst>
              <a:ext uri="{FF2B5EF4-FFF2-40B4-BE49-F238E27FC236}">
                <a16:creationId xmlns:a16="http://schemas.microsoft.com/office/drawing/2014/main" id="{B2A25E2D-F9DC-012C-5AA8-D5D6C59C00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4498823"/>
              </p:ext>
            </p:extLst>
          </p:nvPr>
        </p:nvGraphicFramePr>
        <p:xfrm>
          <a:off x="5139348" y="2291486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F3B4DB05-E9D6-880F-6A4E-77A2DC8C1E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5468096"/>
              </p:ext>
            </p:extLst>
          </p:nvPr>
        </p:nvGraphicFramePr>
        <p:xfrm>
          <a:off x="6904480" y="2291273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A1C570B6-0BCD-26A9-E68B-A830EF5B57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3563158"/>
              </p:ext>
            </p:extLst>
          </p:nvPr>
        </p:nvGraphicFramePr>
        <p:xfrm>
          <a:off x="8671357" y="2297319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2" name="Диаграмма 16">
            <a:extLst>
              <a:ext uri="{FF2B5EF4-FFF2-40B4-BE49-F238E27FC236}">
                <a16:creationId xmlns:a16="http://schemas.microsoft.com/office/drawing/2014/main" id="{A00D2D07-61DA-51D2-F420-EBD9C087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4852523"/>
              </p:ext>
            </p:extLst>
          </p:nvPr>
        </p:nvGraphicFramePr>
        <p:xfrm>
          <a:off x="10435742" y="2291273"/>
          <a:ext cx="1728000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7" name="TextBox 66">
            <a:extLst>
              <a:ext uri="{FF2B5EF4-FFF2-40B4-BE49-F238E27FC236}">
                <a16:creationId xmlns:a16="http://schemas.microsoft.com/office/drawing/2014/main" id="{096058D0-EFC7-DC53-BAFE-A857040D9022}"/>
              </a:ext>
            </a:extLst>
          </p:cNvPr>
          <p:cNvSpPr txBox="1"/>
          <p:nvPr/>
        </p:nvSpPr>
        <p:spPr>
          <a:xfrm>
            <a:off x="11167583" y="296322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F0C0734-17FE-FF77-88A1-66FFB44A071F}"/>
              </a:ext>
            </a:extLst>
          </p:cNvPr>
          <p:cNvSpPr txBox="1"/>
          <p:nvPr/>
        </p:nvSpPr>
        <p:spPr>
          <a:xfrm>
            <a:off x="7593557" y="295831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415B93-6B96-C815-04D1-D6445898C2E1}"/>
              </a:ext>
            </a:extLst>
          </p:cNvPr>
          <p:cNvSpPr txBox="1"/>
          <p:nvPr/>
        </p:nvSpPr>
        <p:spPr>
          <a:xfrm>
            <a:off x="10872615" y="558843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F732F6-6B71-7D18-46E7-F8B1BDDD4F5B}"/>
              </a:ext>
            </a:extLst>
          </p:cNvPr>
          <p:cNvSpPr txBox="1"/>
          <p:nvPr/>
        </p:nvSpPr>
        <p:spPr>
          <a:xfrm>
            <a:off x="11201996" y="2389501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900FA22-3523-6133-CD4E-C07340BF1E5F}"/>
              </a:ext>
            </a:extLst>
          </p:cNvPr>
          <p:cNvSpPr txBox="1"/>
          <p:nvPr/>
        </p:nvSpPr>
        <p:spPr>
          <a:xfrm>
            <a:off x="11167583" y="258123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413FCB-F9EC-F67D-8348-84621C22092A}"/>
              </a:ext>
            </a:extLst>
          </p:cNvPr>
          <p:cNvSpPr txBox="1"/>
          <p:nvPr/>
        </p:nvSpPr>
        <p:spPr>
          <a:xfrm>
            <a:off x="9407609" y="240425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0A3C5D-9738-F401-68E6-0AAF6B99F54C}"/>
              </a:ext>
            </a:extLst>
          </p:cNvPr>
          <p:cNvSpPr txBox="1"/>
          <p:nvPr/>
        </p:nvSpPr>
        <p:spPr>
          <a:xfrm>
            <a:off x="9422358" y="258614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D4D516-34E0-59A0-D379-D24B112E354D}"/>
              </a:ext>
            </a:extLst>
          </p:cNvPr>
          <p:cNvSpPr txBox="1"/>
          <p:nvPr/>
        </p:nvSpPr>
        <p:spPr>
          <a:xfrm>
            <a:off x="9378112" y="296322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DFF997-1C26-6576-F70C-921F9C89A5F2}"/>
              </a:ext>
            </a:extLst>
          </p:cNvPr>
          <p:cNvSpPr txBox="1"/>
          <p:nvPr/>
        </p:nvSpPr>
        <p:spPr>
          <a:xfrm>
            <a:off x="7593557" y="3517505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6C8491-1BAC-4EE7-FAFB-3BAF01CE8CEC}"/>
              </a:ext>
            </a:extLst>
          </p:cNvPr>
          <p:cNvSpPr txBox="1"/>
          <p:nvPr/>
        </p:nvSpPr>
        <p:spPr>
          <a:xfrm>
            <a:off x="7559144" y="389604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E6CDD16-11DA-12E9-07F2-764A06769DD6}"/>
              </a:ext>
            </a:extLst>
          </p:cNvPr>
          <p:cNvSpPr txBox="1"/>
          <p:nvPr/>
        </p:nvSpPr>
        <p:spPr>
          <a:xfrm>
            <a:off x="7524731" y="4461402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7B058C-F282-907C-A20C-D6A7C6E4A460}"/>
              </a:ext>
            </a:extLst>
          </p:cNvPr>
          <p:cNvSpPr txBox="1"/>
          <p:nvPr/>
        </p:nvSpPr>
        <p:spPr>
          <a:xfrm>
            <a:off x="7480486" y="521357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AC8909-8276-0BBA-6D1C-4DB1AB51D68D}"/>
              </a:ext>
            </a:extLst>
          </p:cNvPr>
          <p:cNvSpPr txBox="1"/>
          <p:nvPr/>
        </p:nvSpPr>
        <p:spPr>
          <a:xfrm>
            <a:off x="7416576" y="539546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E4BEF36-E1B2-371E-76AD-0EAE8DC16567}"/>
              </a:ext>
            </a:extLst>
          </p:cNvPr>
          <p:cNvSpPr txBox="1"/>
          <p:nvPr/>
        </p:nvSpPr>
        <p:spPr>
          <a:xfrm>
            <a:off x="7352667" y="5774009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5DCB777-CA45-70FE-836A-EE5CA6801889}"/>
              </a:ext>
            </a:extLst>
          </p:cNvPr>
          <p:cNvSpPr txBox="1"/>
          <p:nvPr/>
        </p:nvSpPr>
        <p:spPr>
          <a:xfrm>
            <a:off x="7259261" y="5955906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E809641-5614-64F1-51BB-DAA045A874D7}"/>
              </a:ext>
            </a:extLst>
          </p:cNvPr>
          <p:cNvSpPr txBox="1"/>
          <p:nvPr/>
        </p:nvSpPr>
        <p:spPr>
          <a:xfrm>
            <a:off x="7244513" y="615746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DD4814-92D2-2999-A7C7-F4852E58C105}"/>
              </a:ext>
            </a:extLst>
          </p:cNvPr>
          <p:cNvSpPr txBox="1"/>
          <p:nvPr/>
        </p:nvSpPr>
        <p:spPr>
          <a:xfrm>
            <a:off x="7367415" y="558352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83BF669-D6C5-0FF6-A392-39E21528A2B9}"/>
              </a:ext>
            </a:extLst>
          </p:cNvPr>
          <p:cNvSpPr txBox="1"/>
          <p:nvPr/>
        </p:nvSpPr>
        <p:spPr>
          <a:xfrm>
            <a:off x="5833582" y="3517505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B785468-E60E-02C6-B541-9F0AC0B6F23F}"/>
              </a:ext>
            </a:extLst>
          </p:cNvPr>
          <p:cNvSpPr txBox="1"/>
          <p:nvPr/>
        </p:nvSpPr>
        <p:spPr>
          <a:xfrm>
            <a:off x="5838498" y="389604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C429C9B-27CF-5C05-8E95-007798901B46}"/>
              </a:ext>
            </a:extLst>
          </p:cNvPr>
          <p:cNvSpPr txBox="1"/>
          <p:nvPr/>
        </p:nvSpPr>
        <p:spPr>
          <a:xfrm>
            <a:off x="5804085" y="4077944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94B9868-EB80-1424-78EC-8F049FCF4F06}"/>
              </a:ext>
            </a:extLst>
          </p:cNvPr>
          <p:cNvSpPr txBox="1"/>
          <p:nvPr/>
        </p:nvSpPr>
        <p:spPr>
          <a:xfrm>
            <a:off x="5759840" y="4456486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95F7B11-709B-B47B-F83C-81517E321D0E}"/>
              </a:ext>
            </a:extLst>
          </p:cNvPr>
          <p:cNvSpPr txBox="1"/>
          <p:nvPr/>
        </p:nvSpPr>
        <p:spPr>
          <a:xfrm>
            <a:off x="5676266" y="5208654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5B005C1-9A7F-893A-7442-7C2FD25D7470}"/>
              </a:ext>
            </a:extLst>
          </p:cNvPr>
          <p:cNvSpPr txBox="1"/>
          <p:nvPr/>
        </p:nvSpPr>
        <p:spPr>
          <a:xfrm>
            <a:off x="5671350" y="5400383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500F343-9882-F094-5480-5E4BCE4C8EC9}"/>
              </a:ext>
            </a:extLst>
          </p:cNvPr>
          <p:cNvSpPr txBox="1"/>
          <p:nvPr/>
        </p:nvSpPr>
        <p:spPr>
          <a:xfrm>
            <a:off x="5656601" y="558228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A4EF831-0B2C-AE63-21D1-7A5C9B5EEB86}"/>
              </a:ext>
            </a:extLst>
          </p:cNvPr>
          <p:cNvSpPr txBox="1"/>
          <p:nvPr/>
        </p:nvSpPr>
        <p:spPr>
          <a:xfrm>
            <a:off x="5865315" y="3711801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9206499-6144-699B-53DC-FEAF35C0DE0A}"/>
              </a:ext>
            </a:extLst>
          </p:cNvPr>
          <p:cNvSpPr txBox="1"/>
          <p:nvPr/>
        </p:nvSpPr>
        <p:spPr>
          <a:xfrm>
            <a:off x="5830902" y="4277156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15B7E4D-6741-7166-A334-05DC6D78E1BC}"/>
              </a:ext>
            </a:extLst>
          </p:cNvPr>
          <p:cNvSpPr txBox="1"/>
          <p:nvPr/>
        </p:nvSpPr>
        <p:spPr>
          <a:xfrm>
            <a:off x="5825985" y="4665530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2D58B9-9324-1418-1853-08B3C83C5CB6}"/>
              </a:ext>
            </a:extLst>
          </p:cNvPr>
          <p:cNvSpPr txBox="1"/>
          <p:nvPr/>
        </p:nvSpPr>
        <p:spPr>
          <a:xfrm>
            <a:off x="5811236" y="4837594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607D3A3-A32E-F05B-33F3-4DB5E04E3990}"/>
              </a:ext>
            </a:extLst>
          </p:cNvPr>
          <p:cNvSpPr txBox="1"/>
          <p:nvPr/>
        </p:nvSpPr>
        <p:spPr>
          <a:xfrm>
            <a:off x="5786655" y="5039156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2BA051D-03D4-1BA3-842F-FB539E6056BD}"/>
              </a:ext>
            </a:extLst>
          </p:cNvPr>
          <p:cNvSpPr txBox="1"/>
          <p:nvPr/>
        </p:nvSpPr>
        <p:spPr>
          <a:xfrm>
            <a:off x="5712913" y="5781491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F71FCDE-C0A5-C45B-D83C-6F71FDD8C0C1}"/>
              </a:ext>
            </a:extLst>
          </p:cNvPr>
          <p:cNvSpPr txBox="1"/>
          <p:nvPr/>
        </p:nvSpPr>
        <p:spPr>
          <a:xfrm>
            <a:off x="5668668" y="5973220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C85F556-7CCD-61B4-0F5E-06DE63271AC7}"/>
              </a:ext>
            </a:extLst>
          </p:cNvPr>
          <p:cNvSpPr txBox="1"/>
          <p:nvPr/>
        </p:nvSpPr>
        <p:spPr>
          <a:xfrm>
            <a:off x="5575261" y="6155116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37EFFF1-863F-A751-EE09-55D178A01AD1}"/>
              </a:ext>
            </a:extLst>
          </p:cNvPr>
          <p:cNvSpPr txBox="1"/>
          <p:nvPr/>
        </p:nvSpPr>
        <p:spPr>
          <a:xfrm>
            <a:off x="6310447" y="2480202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3956261-1ED8-01CC-8CA6-4AEAD38369BA}"/>
              </a:ext>
            </a:extLst>
          </p:cNvPr>
          <p:cNvSpPr txBox="1"/>
          <p:nvPr/>
        </p:nvSpPr>
        <p:spPr>
          <a:xfrm>
            <a:off x="6226873" y="3035725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79FC4DE-DB83-3128-20AB-803DA18819A7}"/>
              </a:ext>
            </a:extLst>
          </p:cNvPr>
          <p:cNvSpPr txBox="1"/>
          <p:nvPr/>
        </p:nvSpPr>
        <p:spPr>
          <a:xfrm>
            <a:off x="8119583" y="247037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4C5E59C-CD1A-2825-B8D7-460097272305}"/>
              </a:ext>
            </a:extLst>
          </p:cNvPr>
          <p:cNvSpPr txBox="1"/>
          <p:nvPr/>
        </p:nvSpPr>
        <p:spPr>
          <a:xfrm>
            <a:off x="8385053" y="296322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d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37E22D7-67E5-42FB-1761-FD30532C4187}"/>
              </a:ext>
            </a:extLst>
          </p:cNvPr>
          <p:cNvSpPr txBox="1"/>
          <p:nvPr/>
        </p:nvSpPr>
        <p:spPr>
          <a:xfrm>
            <a:off x="8247402" y="372031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AF136F3-C051-4D0D-AD46-21DB9639987F}"/>
              </a:ext>
            </a:extLst>
          </p:cNvPr>
          <p:cNvSpPr txBox="1"/>
          <p:nvPr/>
        </p:nvSpPr>
        <p:spPr>
          <a:xfrm>
            <a:off x="8291646" y="427583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942BF1A-142A-F889-C7E9-68D035AA5F29}"/>
              </a:ext>
            </a:extLst>
          </p:cNvPr>
          <p:cNvSpPr txBox="1"/>
          <p:nvPr/>
        </p:nvSpPr>
        <p:spPr>
          <a:xfrm>
            <a:off x="8203156" y="408562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C0F4B4F-EA5C-2C16-AD21-F3CF278AE069}"/>
              </a:ext>
            </a:extLst>
          </p:cNvPr>
          <p:cNvSpPr txBox="1"/>
          <p:nvPr/>
        </p:nvSpPr>
        <p:spPr>
          <a:xfrm>
            <a:off x="8203156" y="464945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016B724-1F4C-EA56-0104-C1738CBBD2D2}"/>
              </a:ext>
            </a:extLst>
          </p:cNvPr>
          <p:cNvSpPr txBox="1"/>
          <p:nvPr/>
        </p:nvSpPr>
        <p:spPr>
          <a:xfrm>
            <a:off x="8090085" y="485101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2976928C-3659-F9AF-58B0-546B81BA1757}"/>
              </a:ext>
            </a:extLst>
          </p:cNvPr>
          <p:cNvSpPr txBox="1"/>
          <p:nvPr/>
        </p:nvSpPr>
        <p:spPr>
          <a:xfrm>
            <a:off x="8203156" y="502308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222A036-C024-B95B-4EAA-0DE01DB20114}"/>
              </a:ext>
            </a:extLst>
          </p:cNvPr>
          <p:cNvSpPr txBox="1"/>
          <p:nvPr/>
        </p:nvSpPr>
        <p:spPr>
          <a:xfrm>
            <a:off x="8149078" y="578508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0B5619D5-C9BD-A4CF-1C2D-7433C651B2A2}"/>
              </a:ext>
            </a:extLst>
          </p:cNvPr>
          <p:cNvSpPr txBox="1"/>
          <p:nvPr/>
        </p:nvSpPr>
        <p:spPr>
          <a:xfrm>
            <a:off x="8006510" y="596698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EBA92B8-D3C6-F5A2-CA93-DBC6BCF5AA72}"/>
              </a:ext>
            </a:extLst>
          </p:cNvPr>
          <p:cNvSpPr txBox="1"/>
          <p:nvPr/>
        </p:nvSpPr>
        <p:spPr>
          <a:xfrm>
            <a:off x="7991762" y="615870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7922815-7347-623E-8CD0-82D78CE15525}"/>
              </a:ext>
            </a:extLst>
          </p:cNvPr>
          <p:cNvSpPr txBox="1"/>
          <p:nvPr/>
        </p:nvSpPr>
        <p:spPr>
          <a:xfrm>
            <a:off x="9992627" y="35187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6BA7092B-3A15-17A0-F788-4981F1B18D81}"/>
              </a:ext>
            </a:extLst>
          </p:cNvPr>
          <p:cNvSpPr txBox="1"/>
          <p:nvPr/>
        </p:nvSpPr>
        <p:spPr>
          <a:xfrm>
            <a:off x="9987711" y="372030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EC1D08A-9532-71E4-689F-1E9C351EEF7C}"/>
              </a:ext>
            </a:extLst>
          </p:cNvPr>
          <p:cNvSpPr txBox="1"/>
          <p:nvPr/>
        </p:nvSpPr>
        <p:spPr>
          <a:xfrm>
            <a:off x="9953298" y="408901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B0A3256-1B59-5EDF-6423-EB7B3DE0E1A9}"/>
              </a:ext>
            </a:extLst>
          </p:cNvPr>
          <p:cNvSpPr txBox="1"/>
          <p:nvPr/>
        </p:nvSpPr>
        <p:spPr>
          <a:xfrm>
            <a:off x="9958214" y="429058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D2EA504E-549D-270B-09CA-278B1DE35AF7}"/>
              </a:ext>
            </a:extLst>
          </p:cNvPr>
          <p:cNvSpPr txBox="1"/>
          <p:nvPr/>
        </p:nvSpPr>
        <p:spPr>
          <a:xfrm>
            <a:off x="9874639" y="464945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7829B25-1E79-A080-4281-581C1A2E2B9A}"/>
              </a:ext>
            </a:extLst>
          </p:cNvPr>
          <p:cNvSpPr txBox="1"/>
          <p:nvPr/>
        </p:nvSpPr>
        <p:spPr>
          <a:xfrm>
            <a:off x="9879556" y="485101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5530C64-DAD4-5EE8-369F-8E613A2A22CD}"/>
              </a:ext>
            </a:extLst>
          </p:cNvPr>
          <p:cNvSpPr txBox="1"/>
          <p:nvPr/>
        </p:nvSpPr>
        <p:spPr>
          <a:xfrm>
            <a:off x="9884472" y="503291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E7D3905-451A-634B-988E-E10C0A12B427}"/>
              </a:ext>
            </a:extLst>
          </p:cNvPr>
          <p:cNvSpPr txBox="1"/>
          <p:nvPr/>
        </p:nvSpPr>
        <p:spPr>
          <a:xfrm>
            <a:off x="9859892" y="522464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D9A901A4-B3B6-971F-7C59-83F608C02FA6}"/>
              </a:ext>
            </a:extLst>
          </p:cNvPr>
          <p:cNvSpPr txBox="1"/>
          <p:nvPr/>
        </p:nvSpPr>
        <p:spPr>
          <a:xfrm>
            <a:off x="9628834" y="597681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329693C4-3C26-1A2B-DEAE-5D63F52BB40B}"/>
              </a:ext>
            </a:extLst>
          </p:cNvPr>
          <p:cNvSpPr txBox="1"/>
          <p:nvPr/>
        </p:nvSpPr>
        <p:spPr>
          <a:xfrm>
            <a:off x="9841521" y="3903951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B2D33433-ED38-A7E6-6395-175FE295A007}"/>
              </a:ext>
            </a:extLst>
          </p:cNvPr>
          <p:cNvSpPr txBox="1"/>
          <p:nvPr/>
        </p:nvSpPr>
        <p:spPr>
          <a:xfrm>
            <a:off x="9866101" y="4459474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CA67AA2C-7B9D-D03F-4B6C-5BD7C7465C59}"/>
              </a:ext>
            </a:extLst>
          </p:cNvPr>
          <p:cNvSpPr txBox="1"/>
          <p:nvPr/>
        </p:nvSpPr>
        <p:spPr>
          <a:xfrm>
            <a:off x="9831688" y="540828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7EA0B28-2640-5B8E-FDAC-F30F6CA01984}"/>
              </a:ext>
            </a:extLst>
          </p:cNvPr>
          <p:cNvSpPr txBox="1"/>
          <p:nvPr/>
        </p:nvSpPr>
        <p:spPr>
          <a:xfrm>
            <a:off x="9787443" y="5786829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89DB8B4-D06E-111D-F9A7-FE3450E7986A}"/>
              </a:ext>
            </a:extLst>
          </p:cNvPr>
          <p:cNvSpPr txBox="1"/>
          <p:nvPr/>
        </p:nvSpPr>
        <p:spPr>
          <a:xfrm>
            <a:off x="9546553" y="6165371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C3D5297-4BCB-FF74-659B-032A489C27C7}"/>
              </a:ext>
            </a:extLst>
          </p:cNvPr>
          <p:cNvSpPr txBox="1"/>
          <p:nvPr/>
        </p:nvSpPr>
        <p:spPr>
          <a:xfrm>
            <a:off x="9703868" y="5608928"/>
            <a:ext cx="541795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1AF180A-A3E9-746C-04B8-5235DBD8261C}"/>
              </a:ext>
            </a:extLst>
          </p:cNvPr>
          <p:cNvSpPr txBox="1"/>
          <p:nvPr/>
        </p:nvSpPr>
        <p:spPr>
          <a:xfrm>
            <a:off x="11645742" y="3899035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B6FA2C2-C343-C0E4-4827-38485BFAFACB}"/>
              </a:ext>
            </a:extLst>
          </p:cNvPr>
          <p:cNvSpPr txBox="1"/>
          <p:nvPr/>
        </p:nvSpPr>
        <p:spPr>
          <a:xfrm>
            <a:off x="11640825" y="3530326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8F882454-C29C-A96B-806A-6C37300F2A5D}"/>
              </a:ext>
            </a:extLst>
          </p:cNvPr>
          <p:cNvSpPr txBox="1"/>
          <p:nvPr/>
        </p:nvSpPr>
        <p:spPr>
          <a:xfrm>
            <a:off x="11640826" y="446439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79CC2E29-05A4-5F9F-006E-35CA260DE0AE}"/>
              </a:ext>
            </a:extLst>
          </p:cNvPr>
          <p:cNvSpPr txBox="1"/>
          <p:nvPr/>
        </p:nvSpPr>
        <p:spPr>
          <a:xfrm>
            <a:off x="11757518" y="37104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E4CA157-4F1F-A6BC-B96B-45FADB8AA2CF}"/>
              </a:ext>
            </a:extLst>
          </p:cNvPr>
          <p:cNvSpPr txBox="1"/>
          <p:nvPr/>
        </p:nvSpPr>
        <p:spPr>
          <a:xfrm>
            <a:off x="11742770" y="406935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B3217AB3-2FE7-D017-036F-4153DA9F181C}"/>
              </a:ext>
            </a:extLst>
          </p:cNvPr>
          <p:cNvSpPr txBox="1"/>
          <p:nvPr/>
        </p:nvSpPr>
        <p:spPr>
          <a:xfrm>
            <a:off x="11737854" y="42807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D78800AF-2566-1E3C-1EA4-509EED420095}"/>
              </a:ext>
            </a:extLst>
          </p:cNvPr>
          <p:cNvSpPr txBox="1"/>
          <p:nvPr/>
        </p:nvSpPr>
        <p:spPr>
          <a:xfrm>
            <a:off x="11890254" y="44331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F6AD7258-DED0-9B03-299F-AFCC211D874E}"/>
              </a:ext>
            </a:extLst>
          </p:cNvPr>
          <p:cNvSpPr txBox="1"/>
          <p:nvPr/>
        </p:nvSpPr>
        <p:spPr>
          <a:xfrm>
            <a:off x="11742770" y="464945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CB666CBF-5A08-C786-5C24-D05C389A5B2A}"/>
              </a:ext>
            </a:extLst>
          </p:cNvPr>
          <p:cNvSpPr txBox="1"/>
          <p:nvPr/>
        </p:nvSpPr>
        <p:spPr>
          <a:xfrm>
            <a:off x="11619866" y="484118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632BBD7-1E18-4AF1-EC15-A4A5AA1D1A18}"/>
              </a:ext>
            </a:extLst>
          </p:cNvPr>
          <p:cNvSpPr txBox="1"/>
          <p:nvPr/>
        </p:nvSpPr>
        <p:spPr>
          <a:xfrm>
            <a:off x="11693608" y="503291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DDB27243-899F-83DE-CCAB-286FDDB1EC68}"/>
              </a:ext>
            </a:extLst>
          </p:cNvPr>
          <p:cNvSpPr txBox="1"/>
          <p:nvPr/>
        </p:nvSpPr>
        <p:spPr>
          <a:xfrm>
            <a:off x="11649363" y="522464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4C01077D-1CCB-5232-A082-AD2248A76A8F}"/>
              </a:ext>
            </a:extLst>
          </p:cNvPr>
          <p:cNvSpPr txBox="1"/>
          <p:nvPr/>
        </p:nvSpPr>
        <p:spPr>
          <a:xfrm>
            <a:off x="11605118" y="538687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31BC8F5B-913C-F78A-E8C9-E9F04D74F2AC}"/>
              </a:ext>
            </a:extLst>
          </p:cNvPr>
          <p:cNvSpPr txBox="1"/>
          <p:nvPr/>
        </p:nvSpPr>
        <p:spPr>
          <a:xfrm>
            <a:off x="11501879" y="578508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5F0916F5-E919-AC01-2FCA-2B95149ADD7E}"/>
              </a:ext>
            </a:extLst>
          </p:cNvPr>
          <p:cNvSpPr txBox="1"/>
          <p:nvPr/>
        </p:nvSpPr>
        <p:spPr>
          <a:xfrm>
            <a:off x="11349479" y="596698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4264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809C69-8BB3-175C-9C0D-53EA69CA12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9E26973-C102-2C00-6D7C-72B84C7E8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26973-C102-2C00-6D7C-72B84C7E8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3DA123-742E-7CC2-A1A3-030789988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Матриця важливості цілей та можливості їх досягнення у Вінниці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CA007-6557-9552-573C-D1B58B6D64C5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C88781-C257-BBE8-3D63-C45D03578292}"/>
              </a:ext>
            </a:extLst>
          </p:cNvPr>
          <p:cNvSpPr txBox="1"/>
          <p:nvPr/>
        </p:nvSpPr>
        <p:spPr>
          <a:xfrm>
            <a:off x="6292644" y="6237489"/>
            <a:ext cx="54546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lvl="0"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7.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.</a:t>
            </a:r>
          </a:p>
          <a:p>
            <a:pPr marL="180000" lvl="0"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8.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.</a:t>
            </a:r>
          </a:p>
        </p:txBody>
      </p:sp>
      <p:graphicFrame>
        <p:nvGraphicFramePr>
          <p:cNvPr id="8" name="Chart 1">
            <a:extLst>
              <a:ext uri="{FF2B5EF4-FFF2-40B4-BE49-F238E27FC236}">
                <a16:creationId xmlns:a16="http://schemas.microsoft.com/office/drawing/2014/main" id="{45CB5E05-C2E9-7B4A-67D6-205D1CE464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2360123"/>
              </p:ext>
            </p:extLst>
          </p:nvPr>
        </p:nvGraphicFramePr>
        <p:xfrm>
          <a:off x="1909485" y="1771758"/>
          <a:ext cx="9249927" cy="4048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CBECC7A-7424-6787-AAA7-34EF1409CA10}"/>
              </a:ext>
            </a:extLst>
          </p:cNvPr>
          <p:cNvSpPr txBox="1"/>
          <p:nvPr/>
        </p:nvSpPr>
        <p:spPr>
          <a:xfrm rot="16200000">
            <a:off x="-322317" y="3621392"/>
            <a:ext cx="40686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Важливість ці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E83F1E-F892-D65D-42A7-152659264FB8}"/>
              </a:ext>
            </a:extLst>
          </p:cNvPr>
          <p:cNvSpPr txBox="1"/>
          <p:nvPr/>
        </p:nvSpPr>
        <p:spPr>
          <a:xfrm>
            <a:off x="1909485" y="5858862"/>
            <a:ext cx="92499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400" i="1" kern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Можливість досягти цілей у місті Вінниц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10D4D2-6508-2FC4-4ADC-3E161A9FF492}"/>
              </a:ext>
            </a:extLst>
          </p:cNvPr>
          <p:cNvSpPr txBox="1"/>
          <p:nvPr/>
        </p:nvSpPr>
        <p:spPr>
          <a:xfrm>
            <a:off x="94500" y="1736436"/>
            <a:ext cx="11583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Вибірка загалом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EDAAC6E-9CAE-BF3C-49B4-23FABDDA80C7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1078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Молодь відчуває можливості для реалізації у Вінниці таких найважливіших цілей: бути у безпеці, бути фінансово незалежним, мати цікаву роботу, розвивати професійні навички, бути працевлаштованим, мати цікаве дозвілля і жити у приємному місті. </a:t>
            </a:r>
          </a:p>
          <a:p>
            <a:r>
              <a:rPr lang="uk-UA" sz="1600" noProof="0" dirty="0"/>
              <a:t>Водночас у </a:t>
            </a:r>
            <a:r>
              <a:rPr lang="uk-UA" sz="1600" noProof="0" dirty="0" err="1"/>
              <a:t>Вінниц</a:t>
            </a:r>
            <a:r>
              <a:rPr lang="uk-UA" sz="1600" dirty="0"/>
              <a:t>і бракує можливостей реалізації таких важливих прагнень як мати власне житло, жити у місті, де є багато можливостей, та зробити успішну кар’єру. Також місто Вінниця не підходить для реалізації другорядних за важливістю цілей, пов’язаних із підвищенням статусу: бути багатим, створити власний бізнес, мати владу і вплив, стати відомим, а також брати участь у громадських ініціативах </a:t>
            </a:r>
            <a:endParaRPr lang="uk-UA" sz="16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8B189D-F6AA-2C01-E538-E7DFB174FF78}"/>
              </a:ext>
            </a:extLst>
          </p:cNvPr>
          <p:cNvSpPr txBox="1"/>
          <p:nvPr/>
        </p:nvSpPr>
        <p:spPr>
          <a:xfrm>
            <a:off x="94500" y="6049591"/>
            <a:ext cx="2855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показано оцінки 6+7, де 7 - найбільш важлива ціль / повністю зможете досягти цих цілей у місті Вінниця</a:t>
            </a:r>
          </a:p>
        </p:txBody>
      </p:sp>
    </p:spTree>
    <p:extLst>
      <p:ext uri="{BB962C8B-B14F-4D97-AF65-F5344CB8AC3E}">
        <p14:creationId xmlns:p14="http://schemas.microsoft.com/office/powerpoint/2010/main" val="32484656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4FA3BE-CD4B-B0DF-3BFB-282708949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3FE4E3-E61D-995A-C94E-DECF289BC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3FE4E3-E61D-995A-C94E-DECF289BC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6348F0-F36A-38AA-79F0-DC822CE29F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Цільовий індекс сприйняття Вінниці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815800B5-76C2-AB4C-D035-A7280A956982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2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818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52963-FE29-C55C-0227-32B212622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2B4524B7-235D-34C2-9221-67904103E0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418586"/>
              </p:ext>
            </p:extLst>
          </p:nvPr>
        </p:nvGraphicFramePr>
        <p:xfrm>
          <a:off x="19663" y="2831099"/>
          <a:ext cx="12160800" cy="32771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4753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913263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почуваю себе безпечно і спокійно у Вінниці</a:t>
                      </a:r>
                      <a:endParaRPr lang="uk-UA" sz="103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задоволений/на життям у Вінниці</a:t>
                      </a:r>
                      <a:endParaRPr lang="uk-UA" sz="103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відчуваю гордість за місто Вінниця</a:t>
                      </a:r>
                      <a:endParaRPr lang="uk-UA" sz="103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бачу себе щасливою людиною у Вінниці через 10 років</a:t>
                      </a:r>
                      <a:endParaRPr lang="uk-UA" sz="103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b"/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Я бачу своїх дітей щасливими у Вінниці через 10 років</a:t>
                      </a:r>
                      <a:r>
                        <a:rPr lang="uk-UA" sz="1030" b="1" i="0" u="none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**</a:t>
                      </a:r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відчуваю оптимізм щодо свого майбутнього у Вінниці</a:t>
                      </a:r>
                      <a:endParaRPr lang="uk-UA" sz="103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планую протягом наступних десяти років жити у Вінниці</a:t>
                      </a:r>
                      <a:endParaRPr lang="uk-UA" sz="103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можу повністю реалізувати себе у Вінниці</a:t>
                      </a:r>
                      <a:endParaRPr lang="uk-UA" sz="103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3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готовий/ва долучатися до громадських ініціатив для розвитку Вінниці</a:t>
                      </a:r>
                      <a:endParaRPr lang="uk-UA" sz="103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5E7725-8BBF-5DD9-6D6B-F8247D384D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E7725-8BBF-5DD9-6D6B-F8247D384D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DE1D31-E5C5-D99E-1A1B-38D470718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Цільове сприйняття міста Вінниця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2ABE16-9930-DCCF-9015-1994E9C2D566}"/>
              </a:ext>
            </a:extLst>
          </p:cNvPr>
          <p:cNvSpPr txBox="1"/>
          <p:nvPr/>
        </p:nvSpPr>
        <p:spPr>
          <a:xfrm>
            <a:off x="7246374" y="6473465"/>
            <a:ext cx="45008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15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скільки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згодні з такими твердженнями щодо міста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я? Оцініть за шкалою від 1 до 7, де 1 - де 1 – абсолютно не згодні, 4 – нейтральна оцінка, 7 – повністю згодні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6EEE75-36A8-8A49-99BD-C9B56ED628EB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C9B6A4E7-FADD-94FC-55E9-4C46E43329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4444734"/>
              </p:ext>
            </p:extLst>
          </p:nvPr>
        </p:nvGraphicFramePr>
        <p:xfrm>
          <a:off x="4251003" y="6097895"/>
          <a:ext cx="7932690" cy="335280"/>
        </p:xfrm>
        <a:graphic>
          <a:graphicData uri="http://schemas.openxmlformats.org/drawingml/2006/table">
            <a:tbl>
              <a:tblPr firstRow="1" bandRow="1"/>
              <a:tblGrid>
                <a:gridCol w="1586538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586538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586538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586538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586538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N=21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N=0</a:t>
                      </a:r>
                      <a:r>
                        <a:rPr lang="uk-UA" sz="800" noProof="0" dirty="0">
                          <a:solidFill>
                            <a:srgbClr val="FF0000"/>
                          </a:solidFill>
                          <a:latin typeface="+mn-lt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N=7</a:t>
                      </a:r>
                      <a:r>
                        <a:rPr lang="uk-UA" sz="800" noProof="0" dirty="0">
                          <a:solidFill>
                            <a:srgbClr val="FF0000"/>
                          </a:solidFill>
                          <a:latin typeface="+mn-lt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N=49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N=158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A553EB69-8F48-57EA-A0E9-824E095946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758023"/>
              </p:ext>
            </p:extLst>
          </p:nvPr>
        </p:nvGraphicFramePr>
        <p:xfrm>
          <a:off x="4286874" y="2737711"/>
          <a:ext cx="1548000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10E7A26D-9B09-0FF9-0FFD-E034D3CB9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757821"/>
              </p:ext>
            </p:extLst>
          </p:nvPr>
        </p:nvGraphicFramePr>
        <p:xfrm>
          <a:off x="4277032" y="2575611"/>
          <a:ext cx="7906670" cy="253395"/>
        </p:xfrm>
        <a:graphic>
          <a:graphicData uri="http://schemas.openxmlformats.org/drawingml/2006/table">
            <a:tbl>
              <a:tblPr firstRow="1" bandRow="1"/>
              <a:tblGrid>
                <a:gridCol w="158133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58133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58133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58133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581334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0807495A-C503-5447-F7CE-7B9E85D77F25}"/>
              </a:ext>
            </a:extLst>
          </p:cNvPr>
          <p:cNvSpPr txBox="1">
            <a:spLocks/>
          </p:cNvSpPr>
          <p:nvPr/>
        </p:nvSpPr>
        <p:spPr>
          <a:xfrm>
            <a:off x="1" y="2231287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Згода з  твердженнями про місто Вінницю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3543096-6A59-7961-E8B1-D232344A540E}"/>
              </a:ext>
            </a:extLst>
          </p:cNvPr>
          <p:cNvSpPr txBox="1"/>
          <p:nvPr/>
        </p:nvSpPr>
        <p:spPr bwMode="gray">
          <a:xfrm>
            <a:off x="180218" y="261589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F87D612A-5E96-5D72-763C-138E2E7358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374273"/>
              </p:ext>
            </p:extLst>
          </p:nvPr>
        </p:nvGraphicFramePr>
        <p:xfrm>
          <a:off x="8485239" y="2231922"/>
          <a:ext cx="3639463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D301821-503D-DB5D-48A4-D749C3184EBD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12133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Молодь переважно почуває себе безпечно у Вінниці, задоволена життям у Вінниці, відчуває гордість за Вінницю.</a:t>
            </a:r>
          </a:p>
          <a:p>
            <a:r>
              <a:rPr lang="uk-UA" sz="1600" noProof="0" dirty="0"/>
              <a:t>П</a:t>
            </a:r>
            <a:r>
              <a:rPr lang="uk-UA" sz="1600" dirty="0"/>
              <a:t>роте бракує впевненості у можливості повністю реалізувати себе у Вінниці та </a:t>
            </a:r>
            <a:r>
              <a:rPr lang="uk-UA" sz="1600" dirty="0" err="1"/>
              <a:t>активізму</a:t>
            </a:r>
            <a:r>
              <a:rPr lang="uk-UA" sz="1600" dirty="0"/>
              <a:t> долучатися до громадських ініціатив для розвитку Вінниці. </a:t>
            </a:r>
          </a:p>
          <a:p>
            <a:r>
              <a:rPr lang="uk-UA" sz="1600" noProof="0" dirty="0"/>
              <a:t>Половина – 54% - мають наміри жити у Вінниці протягом наступних 10 років. Ця частка є відносно більшою у старшій групі 30-35 років.</a:t>
            </a:r>
            <a:r>
              <a:rPr lang="uk-UA" sz="1600" dirty="0"/>
              <a:t> Не мають намірів жити у Вінниці 8% загалом, але у віковій групі 14-19 років ця частка складає 10%.</a:t>
            </a:r>
            <a:endParaRPr lang="uk-UA" sz="1600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01BFF3-0BC2-97CD-7560-F708E19B4B78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500B7FDC-7A0E-01F8-20F9-B529D709D4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3778570"/>
              </p:ext>
            </p:extLst>
          </p:nvPr>
        </p:nvGraphicFramePr>
        <p:xfrm>
          <a:off x="5864364" y="2738877"/>
          <a:ext cx="1548000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6">
            <a:extLst>
              <a:ext uri="{FF2B5EF4-FFF2-40B4-BE49-F238E27FC236}">
                <a16:creationId xmlns:a16="http://schemas.microsoft.com/office/drawing/2014/main" id="{89ED10F3-2AF4-4AB9-27A3-EDCD2517D5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4825317"/>
              </p:ext>
            </p:extLst>
          </p:nvPr>
        </p:nvGraphicFramePr>
        <p:xfrm>
          <a:off x="7451686" y="2736545"/>
          <a:ext cx="1548000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Диаграмма 16">
            <a:extLst>
              <a:ext uri="{FF2B5EF4-FFF2-40B4-BE49-F238E27FC236}">
                <a16:creationId xmlns:a16="http://schemas.microsoft.com/office/drawing/2014/main" id="{E72E7114-03CE-2E79-CE4C-FB964DAEF2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6191618"/>
              </p:ext>
            </p:extLst>
          </p:nvPr>
        </p:nvGraphicFramePr>
        <p:xfrm>
          <a:off x="9029176" y="2737711"/>
          <a:ext cx="1548000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Диаграмма 16">
            <a:extLst>
              <a:ext uri="{FF2B5EF4-FFF2-40B4-BE49-F238E27FC236}">
                <a16:creationId xmlns:a16="http://schemas.microsoft.com/office/drawing/2014/main" id="{407E6488-CE6E-E53F-5A43-350DF952F2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2307123"/>
              </p:ext>
            </p:extLst>
          </p:nvPr>
        </p:nvGraphicFramePr>
        <p:xfrm>
          <a:off x="10617669" y="2739718"/>
          <a:ext cx="1548000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2" name="TextBox 121">
            <a:extLst>
              <a:ext uri="{FF2B5EF4-FFF2-40B4-BE49-F238E27FC236}">
                <a16:creationId xmlns:a16="http://schemas.microsoft.com/office/drawing/2014/main" id="{6A690059-4E5F-69D3-C747-69F3DD38CEC8}"/>
              </a:ext>
            </a:extLst>
          </p:cNvPr>
          <p:cNvSpPr txBox="1"/>
          <p:nvPr/>
        </p:nvSpPr>
        <p:spPr>
          <a:xfrm>
            <a:off x="11143339" y="509076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C0A13EC-0968-8416-BD9E-5EB1E169AAC6}"/>
              </a:ext>
            </a:extLst>
          </p:cNvPr>
          <p:cNvSpPr txBox="1"/>
          <p:nvPr/>
        </p:nvSpPr>
        <p:spPr>
          <a:xfrm>
            <a:off x="6525418" y="3289639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DC25322-7D1D-C5C7-0FC7-C727FD44B00E}"/>
              </a:ext>
            </a:extLst>
          </p:cNvPr>
          <p:cNvSpPr txBox="1"/>
          <p:nvPr/>
        </p:nvSpPr>
        <p:spPr>
          <a:xfrm>
            <a:off x="8307" y="6154000"/>
            <a:ext cx="38160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твердження задавалось лише тим респондентам, які мають дітей до 16-ти років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851C58-56D3-81F7-E5DA-AAE1C7F1C3B9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8745BE6-A9BB-7D65-D865-CD2697D88328}"/>
              </a:ext>
            </a:extLst>
          </p:cNvPr>
          <p:cNvSpPr txBox="1"/>
          <p:nvPr/>
        </p:nvSpPr>
        <p:spPr>
          <a:xfrm>
            <a:off x="7913442" y="582327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00F2B40-135A-34D4-DC6A-7F3628DE8829}"/>
              </a:ext>
            </a:extLst>
          </p:cNvPr>
          <p:cNvSpPr txBox="1"/>
          <p:nvPr/>
        </p:nvSpPr>
        <p:spPr>
          <a:xfrm>
            <a:off x="6453352" y="291784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2CA675E-42FA-3EE3-7E9F-F70CF1FE019E}"/>
              </a:ext>
            </a:extLst>
          </p:cNvPr>
          <p:cNvSpPr txBox="1"/>
          <p:nvPr/>
        </p:nvSpPr>
        <p:spPr>
          <a:xfrm>
            <a:off x="6412347" y="473006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701ED94-EF04-F7DC-178F-48DCDA1884B4}"/>
              </a:ext>
            </a:extLst>
          </p:cNvPr>
          <p:cNvSpPr txBox="1"/>
          <p:nvPr/>
        </p:nvSpPr>
        <p:spPr>
          <a:xfrm>
            <a:off x="8108411" y="2906181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82C24CA-72C0-7ED1-8FDB-1D7643DF88B4}"/>
              </a:ext>
            </a:extLst>
          </p:cNvPr>
          <p:cNvSpPr txBox="1"/>
          <p:nvPr/>
        </p:nvSpPr>
        <p:spPr>
          <a:xfrm>
            <a:off x="11727023" y="328151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4689B75-AF97-2825-A2BE-22705ECD88FA}"/>
              </a:ext>
            </a:extLst>
          </p:cNvPr>
          <p:cNvSpPr txBox="1"/>
          <p:nvPr/>
        </p:nvSpPr>
        <p:spPr>
          <a:xfrm>
            <a:off x="11751602" y="291280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C3B1C09-073B-F6E3-9E7D-A3D9DD54EA24}"/>
              </a:ext>
            </a:extLst>
          </p:cNvPr>
          <p:cNvSpPr txBox="1"/>
          <p:nvPr/>
        </p:nvSpPr>
        <p:spPr>
          <a:xfrm>
            <a:off x="11751603" y="474160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ED0144C-CC50-89DA-9B05-2ECD43708EB4}"/>
              </a:ext>
            </a:extLst>
          </p:cNvPr>
          <p:cNvSpPr txBox="1"/>
          <p:nvPr/>
        </p:nvSpPr>
        <p:spPr>
          <a:xfrm>
            <a:off x="10134197" y="474651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53B8528-C533-1450-83A0-6DCE29C3091F}"/>
              </a:ext>
            </a:extLst>
          </p:cNvPr>
          <p:cNvSpPr txBox="1"/>
          <p:nvPr/>
        </p:nvSpPr>
        <p:spPr>
          <a:xfrm>
            <a:off x="10119449" y="327659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BE7B1AF-9E85-8A2F-FCEC-6E409FED49F8}"/>
              </a:ext>
            </a:extLst>
          </p:cNvPr>
          <p:cNvSpPr txBox="1"/>
          <p:nvPr/>
        </p:nvSpPr>
        <p:spPr>
          <a:xfrm>
            <a:off x="10104700" y="364530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221D312-8BB5-164E-E125-A6D40A83D71B}"/>
              </a:ext>
            </a:extLst>
          </p:cNvPr>
          <p:cNvSpPr txBox="1"/>
          <p:nvPr/>
        </p:nvSpPr>
        <p:spPr>
          <a:xfrm>
            <a:off x="9996206" y="5108607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17461AE-B201-B6A7-22E2-2DA892FFB5D0}"/>
              </a:ext>
            </a:extLst>
          </p:cNvPr>
          <p:cNvSpPr txBox="1"/>
          <p:nvPr/>
        </p:nvSpPr>
        <p:spPr>
          <a:xfrm>
            <a:off x="11899087" y="299145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177E560-CF4D-6A16-8D60-166527486391}"/>
              </a:ext>
            </a:extLst>
          </p:cNvPr>
          <p:cNvSpPr txBox="1"/>
          <p:nvPr/>
        </p:nvSpPr>
        <p:spPr>
          <a:xfrm>
            <a:off x="11899087" y="408963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CE6C568-99EB-C9F4-7306-71087FF00210}"/>
              </a:ext>
            </a:extLst>
          </p:cNvPr>
          <p:cNvSpPr txBox="1"/>
          <p:nvPr/>
        </p:nvSpPr>
        <p:spPr>
          <a:xfrm>
            <a:off x="11892334" y="481495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1535A87-901A-D65B-0670-A88D9DDFE7A1}"/>
              </a:ext>
            </a:extLst>
          </p:cNvPr>
          <p:cNvSpPr txBox="1"/>
          <p:nvPr/>
        </p:nvSpPr>
        <p:spPr>
          <a:xfrm>
            <a:off x="11828587" y="5537817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4C094D0-684E-762F-8421-53A76393E87E}"/>
              </a:ext>
            </a:extLst>
          </p:cNvPr>
          <p:cNvCxnSpPr/>
          <p:nvPr/>
        </p:nvCxnSpPr>
        <p:spPr>
          <a:xfrm>
            <a:off x="19663" y="4645152"/>
            <a:ext cx="1219667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5526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D8B22F-F4F8-15BE-8D77-6798F399E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B6911D-1CEF-5295-21B7-CDDC2434BA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B6911D-1CEF-5295-21B7-CDDC2434BA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43C0F8-3927-CC81-346F-AD2C57CC9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Сприйняття міста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D62C9F02-A3AA-7EEB-5D96-6F56E9E9E424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76899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B2022D-7F41-5F5C-3F33-3DC653ADE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188A96A3-2D61-B838-4F71-87CE869B98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738252"/>
              </p:ext>
            </p:extLst>
          </p:nvPr>
        </p:nvGraphicFramePr>
        <p:xfrm>
          <a:off x="19663" y="2290327"/>
          <a:ext cx="12160800" cy="4197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8038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08041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форт / Комфортне / Затиш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 / Безпе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65420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раструктур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3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нспорт (сполучення / розв'язк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1748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те / Доглянут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92082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пактне / Маленьке / Не велике насел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1844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ток / Розвинене / Сучас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4590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окійне / Тих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елене / Зелені зони / Еколог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они відпочинку (парки / водойми / фонтан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жливості (для реалізації / кар'єри / бізнес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омадський транспорт (розвинений / гарний / доглянутий / зручни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у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ографічне розташува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арне / Красиве / Приєм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місць для дозвілля (кафе / магазини) / Різноманітні активно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огісти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(хороші / приємні / добр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навчальних закла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тупне / Помірні ці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різноманіття для ді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агоустрі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клюзія / </a:t>
                      </a:r>
                      <a:r>
                        <a:rPr lang="uk-UA" sz="97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бар'єрність</a:t>
                      </a:r>
                      <a:endParaRPr lang="uk-UA" sz="97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ороша місцева влад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має переваг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811E7DC-76AF-16DC-C033-83659C507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1E7DC-76AF-16DC-C033-83659C507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DB46F0-D4BE-6E19-01F9-C40EFCB78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ереваги міста Вінниця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1D9EE6-F933-57B3-F8E0-96D6C4327039}"/>
              </a:ext>
            </a:extLst>
          </p:cNvPr>
          <p:cNvSpPr txBox="1"/>
          <p:nvPr/>
        </p:nvSpPr>
        <p:spPr>
          <a:xfrm>
            <a:off x="7108724" y="6630780"/>
            <a:ext cx="463853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9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 Вашу думку, які є унікальні переваги міста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і порівняно до інших міст України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BE5CDB-9331-1C32-37C7-61022626FD6D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62D52AE0-388F-951E-556F-6D8B3F6440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93957"/>
              </p:ext>
            </p:extLst>
          </p:nvPr>
        </p:nvGraphicFramePr>
        <p:xfrm>
          <a:off x="4090219" y="6481355"/>
          <a:ext cx="7992000" cy="218225"/>
        </p:xfrm>
        <a:graphic>
          <a:graphicData uri="http://schemas.openxmlformats.org/drawingml/2006/table">
            <a:tbl>
              <a:tblPr firstRow="1" bandRow="1"/>
              <a:tblGrid>
                <a:gridCol w="1598400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598400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598400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598400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598400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7D06AF83-7F81-90E9-BC47-A8C002039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7385175"/>
              </p:ext>
            </p:extLst>
          </p:nvPr>
        </p:nvGraphicFramePr>
        <p:xfrm>
          <a:off x="4090219" y="2034839"/>
          <a:ext cx="8093480" cy="253395"/>
        </p:xfrm>
        <a:graphic>
          <a:graphicData uri="http://schemas.openxmlformats.org/drawingml/2006/table">
            <a:tbl>
              <a:tblPr firstRow="1" bandRow="1"/>
              <a:tblGrid>
                <a:gridCol w="1618696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18696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18696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18696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18696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8BBC4436-0970-0FB1-AF86-73779C551C62}"/>
              </a:ext>
            </a:extLst>
          </p:cNvPr>
          <p:cNvSpPr txBox="1">
            <a:spLocks/>
          </p:cNvSpPr>
          <p:nvPr/>
        </p:nvSpPr>
        <p:spPr>
          <a:xfrm>
            <a:off x="1" y="1690515"/>
            <a:ext cx="12192000" cy="352244"/>
          </a:xfrm>
          <a:prstGeom prst="rect">
            <a:avLst/>
          </a:prstGeom>
        </p:spPr>
        <p:txBody>
          <a:bodyPr lIns="90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Унікальні переваги міста Вінниці порівняно до інших міст Україн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BA14231-EAE4-A01D-A9F6-E09AD015AE48}"/>
              </a:ext>
            </a:extLst>
          </p:cNvPr>
          <p:cNvSpPr txBox="1"/>
          <p:nvPr/>
        </p:nvSpPr>
        <p:spPr bwMode="gray">
          <a:xfrm>
            <a:off x="180218" y="1782516"/>
            <a:ext cx="1245459" cy="3154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Відкрите запитання</a:t>
            </a:r>
          </a:p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3B65058-EAEF-ACDB-687D-2B17F47394CF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Найбільш поширені відповіді на відкрите запитання про унікальні переваги Вінниці – це комфорт, безпека, інфраструктура, транспорт, чистота, компактність, розвиток, спокій, зелені зони і зони відпочинку. На кожен із цих аспектів вказали понад 10% опитаних. </a:t>
            </a:r>
            <a:r>
              <a:rPr lang="uk-UA" sz="1600" dirty="0"/>
              <a:t>Можливості для реалізації назвали 10% опитаних, про можливості для дозвілля – 8%. </a:t>
            </a:r>
          </a:p>
          <a:p>
            <a:r>
              <a:rPr lang="uk-UA" sz="1600" noProof="0" dirty="0"/>
              <a:t>Сприйняття міста як сучасного і </a:t>
            </a:r>
            <a:r>
              <a:rPr lang="uk-UA" sz="1600" noProof="0" dirty="0" err="1"/>
              <a:t>розвинено</a:t>
            </a:r>
            <a:r>
              <a:rPr lang="uk-UA" sz="1600" dirty="0"/>
              <a:t>го більше притаманне молодшій групі 14-19 років.</a:t>
            </a:r>
            <a:endParaRPr lang="uk-UA" sz="1600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99A353-DBBD-A9EB-B7A6-9A72620E68C0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C1B43B23-96C7-B04D-5841-E70A0B9019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0688048"/>
              </p:ext>
            </p:extLst>
          </p:nvPr>
        </p:nvGraphicFramePr>
        <p:xfrm>
          <a:off x="4112058" y="2168989"/>
          <a:ext cx="154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0" name="Диаграмма 16">
            <a:extLst>
              <a:ext uri="{FF2B5EF4-FFF2-40B4-BE49-F238E27FC236}">
                <a16:creationId xmlns:a16="http://schemas.microsoft.com/office/drawing/2014/main" id="{97A5BBB8-8831-4D08-3950-564AAEEE15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7038967"/>
              </p:ext>
            </p:extLst>
          </p:nvPr>
        </p:nvGraphicFramePr>
        <p:xfrm>
          <a:off x="5721225" y="2171368"/>
          <a:ext cx="154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Диаграмма 16">
            <a:extLst>
              <a:ext uri="{FF2B5EF4-FFF2-40B4-BE49-F238E27FC236}">
                <a16:creationId xmlns:a16="http://schemas.microsoft.com/office/drawing/2014/main" id="{9F2106A0-E4CD-231F-9E76-705D085BA7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0024638"/>
              </p:ext>
            </p:extLst>
          </p:nvPr>
        </p:nvGraphicFramePr>
        <p:xfrm>
          <a:off x="7330392" y="2173904"/>
          <a:ext cx="154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7A6C0EA5-F09D-D952-26CE-36E9029487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15805"/>
              </p:ext>
            </p:extLst>
          </p:nvPr>
        </p:nvGraphicFramePr>
        <p:xfrm>
          <a:off x="8939559" y="2176283"/>
          <a:ext cx="154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5" name="Диаграмма 16">
            <a:extLst>
              <a:ext uri="{FF2B5EF4-FFF2-40B4-BE49-F238E27FC236}">
                <a16:creationId xmlns:a16="http://schemas.microsoft.com/office/drawing/2014/main" id="{3F4244F0-8894-86EA-3D5A-467B6CFE83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1754981"/>
              </p:ext>
            </p:extLst>
          </p:nvPr>
        </p:nvGraphicFramePr>
        <p:xfrm>
          <a:off x="10575613" y="2176283"/>
          <a:ext cx="154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7" name="TextBox 66">
            <a:extLst>
              <a:ext uri="{FF2B5EF4-FFF2-40B4-BE49-F238E27FC236}">
                <a16:creationId xmlns:a16="http://schemas.microsoft.com/office/drawing/2014/main" id="{4DB54EF7-AF2A-F889-0092-1D98316AD3A5}"/>
              </a:ext>
            </a:extLst>
          </p:cNvPr>
          <p:cNvSpPr txBox="1"/>
          <p:nvPr/>
        </p:nvSpPr>
        <p:spPr>
          <a:xfrm>
            <a:off x="8003691" y="225403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D30C00-CD48-C125-9BC1-6E3DE2E004B8}"/>
              </a:ext>
            </a:extLst>
          </p:cNvPr>
          <p:cNvSpPr txBox="1"/>
          <p:nvPr/>
        </p:nvSpPr>
        <p:spPr>
          <a:xfrm>
            <a:off x="9486159" y="2577741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CA9A626-C7E2-00C8-A3F4-2D813CEB7AD8}"/>
              </a:ext>
            </a:extLst>
          </p:cNvPr>
          <p:cNvSpPr txBox="1"/>
          <p:nvPr/>
        </p:nvSpPr>
        <p:spPr>
          <a:xfrm>
            <a:off x="6273213" y="319138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07A8E35-263B-0461-675C-F9171FDB8039}"/>
              </a:ext>
            </a:extLst>
          </p:cNvPr>
          <p:cNvSpPr txBox="1"/>
          <p:nvPr/>
        </p:nvSpPr>
        <p:spPr>
          <a:xfrm>
            <a:off x="6169974" y="444499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093007C-267D-ABEF-15A7-681F1BB50D9C}"/>
              </a:ext>
            </a:extLst>
          </p:cNvPr>
          <p:cNvSpPr txBox="1"/>
          <p:nvPr/>
        </p:nvSpPr>
        <p:spPr>
          <a:xfrm>
            <a:off x="6294731" y="6146109"/>
            <a:ext cx="59768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6F4F4FB-32CB-D772-801B-4F4DEC5B1628}"/>
              </a:ext>
            </a:extLst>
          </p:cNvPr>
          <p:cNvSpPr txBox="1"/>
          <p:nvPr/>
        </p:nvSpPr>
        <p:spPr>
          <a:xfrm>
            <a:off x="7821794" y="395992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F33F92F-E8D9-11F0-E3E7-9D79D1234727}"/>
              </a:ext>
            </a:extLst>
          </p:cNvPr>
          <p:cNvSpPr txBox="1"/>
          <p:nvPr/>
        </p:nvSpPr>
        <p:spPr>
          <a:xfrm>
            <a:off x="7787381" y="413199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DC8E761-4645-0871-D383-DC9CA3E06BA1}"/>
              </a:ext>
            </a:extLst>
          </p:cNvPr>
          <p:cNvSpPr txBox="1"/>
          <p:nvPr/>
        </p:nvSpPr>
        <p:spPr>
          <a:xfrm>
            <a:off x="7811961" y="473667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125D1A6-B864-1D81-2207-3AE119FEA582}"/>
              </a:ext>
            </a:extLst>
          </p:cNvPr>
          <p:cNvSpPr txBox="1"/>
          <p:nvPr/>
        </p:nvSpPr>
        <p:spPr>
          <a:xfrm>
            <a:off x="7669394" y="490874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1B906CB-BC39-022B-4AA8-AB0BE9A83955}"/>
              </a:ext>
            </a:extLst>
          </p:cNvPr>
          <p:cNvSpPr txBox="1"/>
          <p:nvPr/>
        </p:nvSpPr>
        <p:spPr>
          <a:xfrm>
            <a:off x="7882640" y="6003542"/>
            <a:ext cx="59768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93D429B-4415-AD67-D51D-E0AFF265F02C}"/>
              </a:ext>
            </a:extLst>
          </p:cNvPr>
          <p:cNvSpPr txBox="1"/>
          <p:nvPr/>
        </p:nvSpPr>
        <p:spPr>
          <a:xfrm>
            <a:off x="9652268" y="226343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D33D7B0-94B4-3CAC-7BF9-47CA7BEACBB4}"/>
              </a:ext>
            </a:extLst>
          </p:cNvPr>
          <p:cNvSpPr txBox="1"/>
          <p:nvPr/>
        </p:nvSpPr>
        <p:spPr>
          <a:xfrm>
            <a:off x="9463024" y="242588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99C2C6B-EE39-49DC-340B-8BF6510EC719}"/>
              </a:ext>
            </a:extLst>
          </p:cNvPr>
          <p:cNvSpPr txBox="1"/>
          <p:nvPr/>
        </p:nvSpPr>
        <p:spPr>
          <a:xfrm>
            <a:off x="9493169" y="288810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5688B85-F8AD-1259-45A6-E79179C85903}"/>
              </a:ext>
            </a:extLst>
          </p:cNvPr>
          <p:cNvSpPr txBox="1"/>
          <p:nvPr/>
        </p:nvSpPr>
        <p:spPr>
          <a:xfrm>
            <a:off x="9497882" y="3031592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2454210-A3B6-739C-6CC0-2FE9371CAC12}"/>
              </a:ext>
            </a:extLst>
          </p:cNvPr>
          <p:cNvSpPr txBox="1"/>
          <p:nvPr/>
        </p:nvSpPr>
        <p:spPr>
          <a:xfrm>
            <a:off x="9464699" y="335200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FDCF732-59B3-66E4-B7D7-F97E7BE5303A}"/>
              </a:ext>
            </a:extLst>
          </p:cNvPr>
          <p:cNvSpPr txBox="1"/>
          <p:nvPr/>
        </p:nvSpPr>
        <p:spPr>
          <a:xfrm>
            <a:off x="9456326" y="351445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18EB2BB-17C8-5649-1231-F2A8DB32E9E6}"/>
              </a:ext>
            </a:extLst>
          </p:cNvPr>
          <p:cNvSpPr txBox="1"/>
          <p:nvPr/>
        </p:nvSpPr>
        <p:spPr>
          <a:xfrm>
            <a:off x="9407759" y="396830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FA8620F-F6CF-6D60-3848-44691E0368E1}"/>
              </a:ext>
            </a:extLst>
          </p:cNvPr>
          <p:cNvSpPr txBox="1"/>
          <p:nvPr/>
        </p:nvSpPr>
        <p:spPr>
          <a:xfrm>
            <a:off x="9389337" y="413075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E7BE128-1F82-8BC8-F47E-08CDA38E64A1}"/>
              </a:ext>
            </a:extLst>
          </p:cNvPr>
          <p:cNvSpPr txBox="1"/>
          <p:nvPr/>
        </p:nvSpPr>
        <p:spPr>
          <a:xfrm>
            <a:off x="9280479" y="429320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51A208-B940-6B95-185C-CEF99D1AC16D}"/>
              </a:ext>
            </a:extLst>
          </p:cNvPr>
          <p:cNvSpPr txBox="1"/>
          <p:nvPr/>
        </p:nvSpPr>
        <p:spPr>
          <a:xfrm>
            <a:off x="9402734" y="459632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2DAB3EF-2146-D7F9-E01C-798C30144D00}"/>
              </a:ext>
            </a:extLst>
          </p:cNvPr>
          <p:cNvSpPr txBox="1"/>
          <p:nvPr/>
        </p:nvSpPr>
        <p:spPr>
          <a:xfrm>
            <a:off x="9384311" y="475877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20A5C10-7BD7-EA08-1902-B6EDDF8EDC6D}"/>
              </a:ext>
            </a:extLst>
          </p:cNvPr>
          <p:cNvSpPr txBox="1"/>
          <p:nvPr/>
        </p:nvSpPr>
        <p:spPr>
          <a:xfrm>
            <a:off x="9375938" y="491117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0BD392F-4313-636B-1B8A-3F4DAC35A302}"/>
              </a:ext>
            </a:extLst>
          </p:cNvPr>
          <p:cNvSpPr txBox="1"/>
          <p:nvPr/>
        </p:nvSpPr>
        <p:spPr>
          <a:xfrm>
            <a:off x="11236557" y="226008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BDA9E35-10CF-36A4-DA9C-DF1653F522DA}"/>
              </a:ext>
            </a:extLst>
          </p:cNvPr>
          <p:cNvSpPr txBox="1"/>
          <p:nvPr/>
        </p:nvSpPr>
        <p:spPr>
          <a:xfrm>
            <a:off x="11127700" y="288475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AE7D173-D8EE-111F-B564-F3A61E23BC74}"/>
              </a:ext>
            </a:extLst>
          </p:cNvPr>
          <p:cNvSpPr txBox="1"/>
          <p:nvPr/>
        </p:nvSpPr>
        <p:spPr>
          <a:xfrm>
            <a:off x="11079132" y="334865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39473EC-BCD4-AAE5-8C62-5F13ADEC53E5}"/>
              </a:ext>
            </a:extLst>
          </p:cNvPr>
          <p:cNvSpPr txBox="1"/>
          <p:nvPr/>
        </p:nvSpPr>
        <p:spPr>
          <a:xfrm>
            <a:off x="10899936" y="475710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AA3403F-80C3-6BEE-7998-A46561E1B84D}"/>
              </a:ext>
            </a:extLst>
          </p:cNvPr>
          <p:cNvSpPr txBox="1"/>
          <p:nvPr/>
        </p:nvSpPr>
        <p:spPr>
          <a:xfrm>
            <a:off x="10911659" y="491954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CA08362-0C7C-FE39-2A91-E831D520AA36}"/>
              </a:ext>
            </a:extLst>
          </p:cNvPr>
          <p:cNvSpPr txBox="1"/>
          <p:nvPr/>
        </p:nvSpPr>
        <p:spPr>
          <a:xfrm>
            <a:off x="10893237" y="615717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7E99359-7D91-1ED4-9621-31A3D84D0820}"/>
              </a:ext>
            </a:extLst>
          </p:cNvPr>
          <p:cNvSpPr txBox="1"/>
          <p:nvPr/>
        </p:nvSpPr>
        <p:spPr>
          <a:xfrm>
            <a:off x="11005444" y="444057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21FA63A-85C1-5704-A2E4-252EC338A75E}"/>
              </a:ext>
            </a:extLst>
          </p:cNvPr>
          <p:cNvSpPr txBox="1"/>
          <p:nvPr/>
        </p:nvSpPr>
        <p:spPr>
          <a:xfrm>
            <a:off x="11047003" y="4279263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E79474B-9607-C410-8762-1FCB1F87FB29}"/>
              </a:ext>
            </a:extLst>
          </p:cNvPr>
          <p:cNvSpPr txBox="1"/>
          <p:nvPr/>
        </p:nvSpPr>
        <p:spPr>
          <a:xfrm>
            <a:off x="11129064" y="3034942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B7BC18F-832F-6126-E2A2-9C52DF0EAB29}"/>
              </a:ext>
            </a:extLst>
          </p:cNvPr>
          <p:cNvSpPr txBox="1"/>
          <p:nvPr/>
        </p:nvSpPr>
        <p:spPr>
          <a:xfrm>
            <a:off x="11170932" y="2413619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ACAFBC6C-1C9A-E092-09F0-88969B0C4D4E}"/>
              </a:ext>
            </a:extLst>
          </p:cNvPr>
          <p:cNvSpPr txBox="1"/>
          <p:nvPr/>
        </p:nvSpPr>
        <p:spPr>
          <a:xfrm>
            <a:off x="11112316" y="2576068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28238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C8CA69-6C89-4FA6-C8AF-6A627E1CD1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5AED341E-8835-BAA6-B9E8-E986EA98D3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8726737"/>
              </p:ext>
            </p:extLst>
          </p:nvPr>
        </p:nvGraphicFramePr>
        <p:xfrm>
          <a:off x="19663" y="2290327"/>
          <a:ext cx="12160295" cy="4197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5160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00869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раструктура (погана / не розвинена / застаріла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агоустрій (відсутність туалетів / мало смітників / брудно / не </a:t>
                      </a:r>
                      <a:r>
                        <a:rPr lang="uk-UA" sz="97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глянуто</a:t>
                      </a:r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мало озелененн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65420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сокі ціни на житло (оренда / купівл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3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дозвілля / Мало розваг / Мало культурних захо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1748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роги (погані / вузьк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92082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тор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1844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</a:t>
                      </a:r>
                      <a:r>
                        <a:rPr lang="uk-UA" sz="97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ркомісць</a:t>
                      </a:r>
                      <a:endParaRPr lang="uk-UA" sz="97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4590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івень заробітної плати (низька / середн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машин (великий трафік / завантажені дорог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можливостей (для розвитку / кар'єри / бізнес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нспорт (система / розв'язки / мало громадського транспорт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місць для відпочинку (майданчики / парк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стання цін (продукти / комуналка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населення (багато людей приїхало / переселенц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ток міста (повільний / відсутні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віта / Навчальні заклади (погана якість / мало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бота (відсутня / важко знайти / мало вакансі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задовільна робота міської вла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клюзивність</a:t>
                      </a:r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</a:t>
                      </a:r>
                      <a:r>
                        <a:rPr lang="uk-UA" sz="97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бар'єрність</a:t>
                      </a:r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мало / відсутн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будова міс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задовільна якість водопровідної во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уп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кологія (забруднення водойм / повітр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еньке міст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має недолі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B91083-231E-9EBE-2625-6BD79D414F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B91083-231E-9EBE-2625-6BD79D414F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13BAFF-211F-0E12-2D9F-F34F2FB2A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Недоліки міста Вінниц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A70F9-CBA1-38F0-8B71-D51C0C4843FA}"/>
              </a:ext>
            </a:extLst>
          </p:cNvPr>
          <p:cNvSpPr txBox="1"/>
          <p:nvPr/>
        </p:nvSpPr>
        <p:spPr>
          <a:xfrm>
            <a:off x="7934960" y="6630780"/>
            <a:ext cx="38123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</a:t>
            </a: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10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 які є суттєві недоліки міста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і порівняно до інших міст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У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країни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9BA07F-8EC3-1ED5-664B-A9660A1954C8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CCE87B21-F674-B2AA-AB57-A366D0507B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735487"/>
              </p:ext>
            </p:extLst>
          </p:nvPr>
        </p:nvGraphicFramePr>
        <p:xfrm>
          <a:off x="5148376" y="6481355"/>
          <a:ext cx="6966000" cy="218225"/>
        </p:xfrm>
        <a:graphic>
          <a:graphicData uri="http://schemas.openxmlformats.org/drawingml/2006/table">
            <a:tbl>
              <a:tblPr firstRow="1" bandRow="1"/>
              <a:tblGrid>
                <a:gridCol w="1393200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393200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393200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393200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393200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1FBEFDE5-AEFF-9647-5C48-028EB65455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5430780"/>
              </p:ext>
            </p:extLst>
          </p:nvPr>
        </p:nvGraphicFramePr>
        <p:xfrm>
          <a:off x="5171769" y="2034839"/>
          <a:ext cx="7011930" cy="253395"/>
        </p:xfrm>
        <a:graphic>
          <a:graphicData uri="http://schemas.openxmlformats.org/drawingml/2006/table">
            <a:tbl>
              <a:tblPr firstRow="1" bandRow="1"/>
              <a:tblGrid>
                <a:gridCol w="1402386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402386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402386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402386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402386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6A1DC9A6-09DF-7D33-814D-D1D4848699AF}"/>
              </a:ext>
            </a:extLst>
          </p:cNvPr>
          <p:cNvSpPr txBox="1">
            <a:spLocks/>
          </p:cNvSpPr>
          <p:nvPr/>
        </p:nvSpPr>
        <p:spPr>
          <a:xfrm>
            <a:off x="1" y="1690515"/>
            <a:ext cx="12192000" cy="352244"/>
          </a:xfrm>
          <a:prstGeom prst="rect">
            <a:avLst/>
          </a:prstGeom>
        </p:spPr>
        <p:txBody>
          <a:bodyPr lIns="90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Недоліки міста Вінниці порівняно до інших міст Україн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B5F71A5-8104-AF0F-63E7-16EF256B1023}"/>
              </a:ext>
            </a:extLst>
          </p:cNvPr>
          <p:cNvSpPr txBox="1"/>
          <p:nvPr/>
        </p:nvSpPr>
        <p:spPr bwMode="gray">
          <a:xfrm>
            <a:off x="180218" y="2075124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7141415-FFD1-60DC-7F8F-983DF3B65EA2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Серед недоліків найчастіше згадували погану інфраструктуру, поганий благоустрій, високі ціни на житло та брак можливостей для дозвілля. Баланс відповідей щодо можливостей для дозвілля є негативним: 10% відповіли про брак можливостей для дозвілля порівняно до 8%, які відповіли про задоволеність можливостями для дозвілля. Старші вікові групи 25 років і більше є більше критично налаштовані, ніж молодші до 25 років</a:t>
            </a:r>
            <a:endParaRPr lang="uk-UA" sz="1600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218D93-CC29-C1BF-6E4C-45942527FBFA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145854B7-4CC0-2B0D-89B7-2674963533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6551498"/>
              </p:ext>
            </p:extLst>
          </p:nvPr>
        </p:nvGraphicFramePr>
        <p:xfrm>
          <a:off x="5173942" y="2168989"/>
          <a:ext cx="136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0" name="Диаграмма 16">
            <a:extLst>
              <a:ext uri="{FF2B5EF4-FFF2-40B4-BE49-F238E27FC236}">
                <a16:creationId xmlns:a16="http://schemas.microsoft.com/office/drawing/2014/main" id="{35EE268E-A002-B301-BB69-023570BDF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6653661"/>
              </p:ext>
            </p:extLst>
          </p:nvPr>
        </p:nvGraphicFramePr>
        <p:xfrm>
          <a:off x="6576631" y="2171368"/>
          <a:ext cx="136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Диаграмма 16">
            <a:extLst>
              <a:ext uri="{FF2B5EF4-FFF2-40B4-BE49-F238E27FC236}">
                <a16:creationId xmlns:a16="http://schemas.microsoft.com/office/drawing/2014/main" id="{A908240B-5ACE-9C99-2186-24717E9B52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8002861"/>
              </p:ext>
            </p:extLst>
          </p:nvPr>
        </p:nvGraphicFramePr>
        <p:xfrm>
          <a:off x="7979321" y="2173904"/>
          <a:ext cx="136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1CC1E81B-8E44-5F91-E7B1-CD070553BB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1682489"/>
              </p:ext>
            </p:extLst>
          </p:nvPr>
        </p:nvGraphicFramePr>
        <p:xfrm>
          <a:off x="9382011" y="2176283"/>
          <a:ext cx="136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5" name="Диаграмма 16">
            <a:extLst>
              <a:ext uri="{FF2B5EF4-FFF2-40B4-BE49-F238E27FC236}">
                <a16:creationId xmlns:a16="http://schemas.microsoft.com/office/drawing/2014/main" id="{8F6EDC90-5B9E-DB6A-39C0-B64A78BE38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3366985"/>
              </p:ext>
            </p:extLst>
          </p:nvPr>
        </p:nvGraphicFramePr>
        <p:xfrm>
          <a:off x="10782091" y="2176283"/>
          <a:ext cx="1368000" cy="43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E541BB85-018D-735F-2E93-B189A8CD8D2F}"/>
              </a:ext>
            </a:extLst>
          </p:cNvPr>
          <p:cNvSpPr txBox="1"/>
          <p:nvPr/>
        </p:nvSpPr>
        <p:spPr>
          <a:xfrm>
            <a:off x="9797965" y="2264462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4F52CE4-1CC2-915C-179F-B79137C0E278}"/>
              </a:ext>
            </a:extLst>
          </p:cNvPr>
          <p:cNvSpPr txBox="1"/>
          <p:nvPr/>
        </p:nvSpPr>
        <p:spPr>
          <a:xfrm>
            <a:off x="11073947" y="414512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26C1ABC-DB5A-C2FB-64E8-DE7FF061C8C1}"/>
              </a:ext>
            </a:extLst>
          </p:cNvPr>
          <p:cNvSpPr txBox="1"/>
          <p:nvPr/>
        </p:nvSpPr>
        <p:spPr>
          <a:xfrm>
            <a:off x="8442900" y="240956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F03EB6E-A0DB-E128-AF52-5154FBC2D01C}"/>
              </a:ext>
            </a:extLst>
          </p:cNvPr>
          <p:cNvSpPr txBox="1"/>
          <p:nvPr/>
        </p:nvSpPr>
        <p:spPr>
          <a:xfrm>
            <a:off x="7134038" y="6151552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2E67DE-435C-4C6B-42A9-F6E2AC97EC38}"/>
              </a:ext>
            </a:extLst>
          </p:cNvPr>
          <p:cNvSpPr txBox="1"/>
          <p:nvPr/>
        </p:nvSpPr>
        <p:spPr>
          <a:xfrm>
            <a:off x="7217614" y="6303952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D9C3D5-5723-5ABF-DEDA-40138B300E15}"/>
              </a:ext>
            </a:extLst>
          </p:cNvPr>
          <p:cNvSpPr txBox="1"/>
          <p:nvPr/>
        </p:nvSpPr>
        <p:spPr>
          <a:xfrm>
            <a:off x="8461395" y="6151552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6F7BB18-FD1B-4CF6-5DB5-CEACE406E53D}"/>
              </a:ext>
            </a:extLst>
          </p:cNvPr>
          <p:cNvSpPr txBox="1"/>
          <p:nvPr/>
        </p:nvSpPr>
        <p:spPr>
          <a:xfrm>
            <a:off x="8310164" y="257180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B66E6BB-0A29-16F0-80F5-F389EA773F5C}"/>
              </a:ext>
            </a:extLst>
          </p:cNvPr>
          <p:cNvSpPr txBox="1"/>
          <p:nvPr/>
        </p:nvSpPr>
        <p:spPr>
          <a:xfrm>
            <a:off x="8305249" y="287168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E44F14-984E-DD8E-4FAB-AE4D32D3D91C}"/>
              </a:ext>
            </a:extLst>
          </p:cNvPr>
          <p:cNvSpPr txBox="1"/>
          <p:nvPr/>
        </p:nvSpPr>
        <p:spPr>
          <a:xfrm>
            <a:off x="8280669" y="319123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C0C13F-B942-6B96-C486-078D719B4564}"/>
              </a:ext>
            </a:extLst>
          </p:cNvPr>
          <p:cNvSpPr txBox="1"/>
          <p:nvPr/>
        </p:nvSpPr>
        <p:spPr>
          <a:xfrm>
            <a:off x="8560888" y="630314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1F4E122-10F2-F813-6DC0-433C1D5117CC}"/>
              </a:ext>
            </a:extLst>
          </p:cNvPr>
          <p:cNvSpPr txBox="1"/>
          <p:nvPr/>
        </p:nvSpPr>
        <p:spPr>
          <a:xfrm>
            <a:off x="9829785" y="2728362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D23574-DC33-F798-42CC-5743DCEB6BBD}"/>
              </a:ext>
            </a:extLst>
          </p:cNvPr>
          <p:cNvSpPr txBox="1"/>
          <p:nvPr/>
        </p:nvSpPr>
        <p:spPr>
          <a:xfrm>
            <a:off x="9660637" y="3976032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002C75B-9225-4C05-CEEC-5EC3DDEC5D5C}"/>
              </a:ext>
            </a:extLst>
          </p:cNvPr>
          <p:cNvSpPr txBox="1"/>
          <p:nvPr/>
        </p:nvSpPr>
        <p:spPr>
          <a:xfrm>
            <a:off x="9849886" y="257995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757E338-8375-2172-7F8B-5F265ACE56F2}"/>
              </a:ext>
            </a:extLst>
          </p:cNvPr>
          <p:cNvSpPr txBox="1"/>
          <p:nvPr/>
        </p:nvSpPr>
        <p:spPr>
          <a:xfrm>
            <a:off x="9811367" y="320463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012E51-B484-7356-4CBA-13AFD8EB60FF}"/>
              </a:ext>
            </a:extLst>
          </p:cNvPr>
          <p:cNvSpPr txBox="1"/>
          <p:nvPr/>
        </p:nvSpPr>
        <p:spPr>
          <a:xfrm>
            <a:off x="9813042" y="28948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C04005F-B7F8-F76D-C893-F6E20C077943}"/>
              </a:ext>
            </a:extLst>
          </p:cNvPr>
          <p:cNvSpPr txBox="1"/>
          <p:nvPr/>
        </p:nvSpPr>
        <p:spPr>
          <a:xfrm>
            <a:off x="9684088" y="490615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DAED4FF-008B-2C8D-9CEC-D2DEC65FA155}"/>
              </a:ext>
            </a:extLst>
          </p:cNvPr>
          <p:cNvSpPr txBox="1"/>
          <p:nvPr/>
        </p:nvSpPr>
        <p:spPr>
          <a:xfrm>
            <a:off x="9682409" y="4279157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BBA2669-7729-5DEB-39FE-87B94037DC53}"/>
              </a:ext>
            </a:extLst>
          </p:cNvPr>
          <p:cNvSpPr txBox="1"/>
          <p:nvPr/>
        </p:nvSpPr>
        <p:spPr>
          <a:xfrm>
            <a:off x="11256650" y="2266136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41C1B59-B49B-AC42-2221-B4A2EA1C1D75}"/>
              </a:ext>
            </a:extLst>
          </p:cNvPr>
          <p:cNvSpPr txBox="1"/>
          <p:nvPr/>
        </p:nvSpPr>
        <p:spPr>
          <a:xfrm>
            <a:off x="11241583" y="258498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484ADE-2B5F-058E-D44D-147450B24B98}"/>
              </a:ext>
            </a:extLst>
          </p:cNvPr>
          <p:cNvSpPr txBox="1"/>
          <p:nvPr/>
        </p:nvSpPr>
        <p:spPr>
          <a:xfrm>
            <a:off x="11223161" y="289815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4490F7-258D-D59C-8F95-3C892C56411E}"/>
              </a:ext>
            </a:extLst>
          </p:cNvPr>
          <p:cNvSpPr txBox="1"/>
          <p:nvPr/>
        </p:nvSpPr>
        <p:spPr>
          <a:xfrm>
            <a:off x="11204739" y="304050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D7323B0-98F8-F45E-E137-D0FA50E00323}"/>
              </a:ext>
            </a:extLst>
          </p:cNvPr>
          <p:cNvSpPr txBox="1"/>
          <p:nvPr/>
        </p:nvSpPr>
        <p:spPr>
          <a:xfrm>
            <a:off x="11085833" y="320295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DECE8B2-13C6-1A58-3E01-8D27A89AF95A}"/>
              </a:ext>
            </a:extLst>
          </p:cNvPr>
          <p:cNvSpPr txBox="1"/>
          <p:nvPr/>
        </p:nvSpPr>
        <p:spPr>
          <a:xfrm>
            <a:off x="11077460" y="460135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72817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2E143-085C-1243-6B93-38A0CDA375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85D4607A-8040-AC7C-115A-4162814C49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791007"/>
              </p:ext>
            </p:extLst>
          </p:nvPr>
        </p:nvGraphicFramePr>
        <p:xfrm>
          <a:off x="19663" y="2398479"/>
          <a:ext cx="12160800" cy="39038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4753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913263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Комфортне, затишне місто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істо дружнє до людей з дітьм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Безпечне місто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для планування майбутнього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привабливе для молодих людей 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вражень та знайомств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сильної громади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з сильними цінностями толерантності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ідей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рівних можливостей для кожного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привабливе для людей креативних професій </a:t>
                      </a:r>
                      <a:r>
                        <a:rPr lang="uk-UA" sz="8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(ІТ, дизайн, реклама, тощо)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для розвитку бізнесу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Інклюзивне, </a:t>
                      </a:r>
                      <a:r>
                        <a:rPr lang="uk-UA" sz="10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безбар’єрне</a:t>
                      </a:r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 місто, дружнє для людей з інвалідністю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унікальних можливостей для самореалізації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інновацій та передових технологій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Драйвове</a:t>
                      </a:r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 місто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із сильною економікою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uk-UA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Провінційне, нецікаве місто</a:t>
                      </a:r>
                      <a:endParaRPr lang="uk-UA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A46AF8-E6DF-D38E-4056-C737A4A32F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46AF8-E6DF-D38E-4056-C737A4A32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587EB1-D1E6-2F20-055C-7D106B277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 err="1"/>
              <a:t>Візія</a:t>
            </a:r>
            <a:r>
              <a:rPr lang="uk-UA" sz="2400" noProof="0" dirty="0"/>
              <a:t> міста Вінниця очима молоді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586C9B-DD36-75EE-DF88-5A75B06244FE}"/>
              </a:ext>
            </a:extLst>
          </p:cNvPr>
          <p:cNvSpPr txBox="1"/>
          <p:nvPr/>
        </p:nvSpPr>
        <p:spPr>
          <a:xfrm>
            <a:off x="7334865" y="6473465"/>
            <a:ext cx="44123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11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скільки Ви згодні з такими твердженнями про місто Вінницю? Оцініть за шкалою від 1 до 7, де 1 – абсолютно не згодні, 4 – нейтральна оцінка, 7 – повністю згодні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F94BD6-440A-D27D-F9A6-7DC404CB272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767E1F88-15F6-3C66-8F14-771F3D2A10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52568"/>
              </p:ext>
            </p:extLst>
          </p:nvPr>
        </p:nvGraphicFramePr>
        <p:xfrm>
          <a:off x="4251003" y="6314206"/>
          <a:ext cx="7932690" cy="218225"/>
        </p:xfrm>
        <a:graphic>
          <a:graphicData uri="http://schemas.openxmlformats.org/drawingml/2006/table">
            <a:tbl>
              <a:tblPr firstRow="1" bandRow="1"/>
              <a:tblGrid>
                <a:gridCol w="1586538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586538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586538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586538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586538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7ACE24B5-96EE-A3B7-2101-17665F976A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019510"/>
              </p:ext>
            </p:extLst>
          </p:nvPr>
        </p:nvGraphicFramePr>
        <p:xfrm>
          <a:off x="4286874" y="2295272"/>
          <a:ext cx="1548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C4E57F43-A7E4-FDCF-D5E6-257995FF4F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3921805"/>
              </p:ext>
            </p:extLst>
          </p:nvPr>
        </p:nvGraphicFramePr>
        <p:xfrm>
          <a:off x="4277032" y="2142991"/>
          <a:ext cx="7906670" cy="253395"/>
        </p:xfrm>
        <a:graphic>
          <a:graphicData uri="http://schemas.openxmlformats.org/drawingml/2006/table">
            <a:tbl>
              <a:tblPr firstRow="1" bandRow="1"/>
              <a:tblGrid>
                <a:gridCol w="158133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58133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58133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58133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581334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FEA890D9-A69C-211D-0A89-39DA15AC79DF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Згода з  твердженнями про місто Вінницю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046F85B-E551-280A-FBB3-08DD3B0BA6C3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DB3512DC-6FAD-D448-100E-77707CCE44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4598123"/>
              </p:ext>
            </p:extLst>
          </p:nvPr>
        </p:nvGraphicFramePr>
        <p:xfrm>
          <a:off x="8485239" y="1799302"/>
          <a:ext cx="3639463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E9A7067-FB2B-4E5A-FCCB-E6B9A7C9C4E5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10979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Визначальною рисою Вінниці є комфорт і затишок. Так вважають 82% опитаних. Близько </a:t>
            </a:r>
            <a:r>
              <a:rPr lang="uk-UA" sz="1600" noProof="0" dirty="0" err="1"/>
              <a:t>дво</a:t>
            </a:r>
            <a:r>
              <a:rPr lang="uk-UA" sz="1600" dirty="0"/>
              <a:t>х третин називали Вінницю містом дружнім до людей з дітьми, безпечним містом, місто для планування майбутнього. Близько половини бачать Вінницю як місто привабливе для молоді, місто вражень та знайомств, місто сильної громади з цінностями </a:t>
            </a:r>
            <a:r>
              <a:rPr lang="uk-UA" sz="1600" dirty="0" err="1"/>
              <a:t>толернатності</a:t>
            </a:r>
            <a:r>
              <a:rPr lang="uk-UA" sz="1600" dirty="0"/>
              <a:t>, місто ідей. Відносно нижчі оцінки Вінниці стосуються до наявності рівних можливостей, привабливості для креативних професій, розвитку бізнесу, </a:t>
            </a:r>
            <a:r>
              <a:rPr lang="uk-UA" sz="1600" dirty="0" err="1"/>
              <a:t>інклюзивності</a:t>
            </a:r>
            <a:r>
              <a:rPr lang="uk-UA" sz="1600" dirty="0"/>
              <a:t>, унікальних можливостей для самореалізації, інновацій та технологій, драйву, сильної економіки</a:t>
            </a:r>
            <a:endParaRPr lang="uk-UA" sz="1600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D0FE92-5F63-26D8-DA71-462A6E0027EA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817C8166-02FC-50E9-0D8A-A4AC1C1F15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8532602"/>
              </p:ext>
            </p:extLst>
          </p:nvPr>
        </p:nvGraphicFramePr>
        <p:xfrm>
          <a:off x="5864364" y="2296438"/>
          <a:ext cx="1548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6">
            <a:extLst>
              <a:ext uri="{FF2B5EF4-FFF2-40B4-BE49-F238E27FC236}">
                <a16:creationId xmlns:a16="http://schemas.microsoft.com/office/drawing/2014/main" id="{53CE5603-4E9B-24F3-D6FE-72770B9A5A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5507833"/>
              </p:ext>
            </p:extLst>
          </p:nvPr>
        </p:nvGraphicFramePr>
        <p:xfrm>
          <a:off x="7451686" y="2294106"/>
          <a:ext cx="1548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Диаграмма 16">
            <a:extLst>
              <a:ext uri="{FF2B5EF4-FFF2-40B4-BE49-F238E27FC236}">
                <a16:creationId xmlns:a16="http://schemas.microsoft.com/office/drawing/2014/main" id="{B5CA2A0A-CD30-8CE5-4AF1-B73E745748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3439429"/>
              </p:ext>
            </p:extLst>
          </p:nvPr>
        </p:nvGraphicFramePr>
        <p:xfrm>
          <a:off x="9029176" y="2295272"/>
          <a:ext cx="1548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Диаграмма 16">
            <a:extLst>
              <a:ext uri="{FF2B5EF4-FFF2-40B4-BE49-F238E27FC236}">
                <a16:creationId xmlns:a16="http://schemas.microsoft.com/office/drawing/2014/main" id="{0BC82123-1424-234E-4170-FDB6195284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3837846"/>
              </p:ext>
            </p:extLst>
          </p:nvPr>
        </p:nvGraphicFramePr>
        <p:xfrm>
          <a:off x="10617669" y="2297279"/>
          <a:ext cx="1548000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86" name="TextBox 85">
            <a:extLst>
              <a:ext uri="{FF2B5EF4-FFF2-40B4-BE49-F238E27FC236}">
                <a16:creationId xmlns:a16="http://schemas.microsoft.com/office/drawing/2014/main" id="{D904C9E6-3BB2-9D4A-50F1-04BCB2CECF23}"/>
              </a:ext>
            </a:extLst>
          </p:cNvPr>
          <p:cNvSpPr txBox="1"/>
          <p:nvPr/>
        </p:nvSpPr>
        <p:spPr>
          <a:xfrm>
            <a:off x="6487533" y="263556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D5FC0A60-C034-A68D-2D7E-622D22635AD8}"/>
              </a:ext>
            </a:extLst>
          </p:cNvPr>
          <p:cNvSpPr txBox="1"/>
          <p:nvPr/>
        </p:nvSpPr>
        <p:spPr>
          <a:xfrm>
            <a:off x="8665610" y="350229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DE2305B-C5B3-8437-0530-F7F28791BCB6}"/>
              </a:ext>
            </a:extLst>
          </p:cNvPr>
          <p:cNvSpPr txBox="1"/>
          <p:nvPr/>
        </p:nvSpPr>
        <p:spPr>
          <a:xfrm>
            <a:off x="6472784" y="284695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1989C9A-F0D4-2CB9-96F0-7E7DD0C600A5}"/>
              </a:ext>
            </a:extLst>
          </p:cNvPr>
          <p:cNvSpPr txBox="1"/>
          <p:nvPr/>
        </p:nvSpPr>
        <p:spPr>
          <a:xfrm>
            <a:off x="6379378" y="370727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EDAB4C6-6658-A0AC-486D-A55A3EB47739}"/>
              </a:ext>
            </a:extLst>
          </p:cNvPr>
          <p:cNvSpPr txBox="1"/>
          <p:nvPr/>
        </p:nvSpPr>
        <p:spPr>
          <a:xfrm>
            <a:off x="6413791" y="392850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CC82128-E07B-F5FB-C7D6-1BD4F2885676}"/>
              </a:ext>
            </a:extLst>
          </p:cNvPr>
          <p:cNvSpPr txBox="1"/>
          <p:nvPr/>
        </p:nvSpPr>
        <p:spPr>
          <a:xfrm>
            <a:off x="7844385" y="45698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62A534B-0A99-8211-EDCE-7CF10CE0287C}"/>
              </a:ext>
            </a:extLst>
          </p:cNvPr>
          <p:cNvSpPr txBox="1"/>
          <p:nvPr/>
        </p:nvSpPr>
        <p:spPr>
          <a:xfrm>
            <a:off x="6408875" y="436603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367B648-6FF1-FB11-55A3-428C1ABDEEC9}"/>
              </a:ext>
            </a:extLst>
          </p:cNvPr>
          <p:cNvSpPr txBox="1"/>
          <p:nvPr/>
        </p:nvSpPr>
        <p:spPr>
          <a:xfrm>
            <a:off x="6354797" y="480357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BFAE3BA-C4B2-AF5D-CE99-7CFE732181C6}"/>
              </a:ext>
            </a:extLst>
          </p:cNvPr>
          <p:cNvSpPr txBox="1"/>
          <p:nvPr/>
        </p:nvSpPr>
        <p:spPr>
          <a:xfrm>
            <a:off x="6320384" y="544758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3FD7962-F5BF-0903-B941-EE4D0592626D}"/>
              </a:ext>
            </a:extLst>
          </p:cNvPr>
          <p:cNvSpPr txBox="1"/>
          <p:nvPr/>
        </p:nvSpPr>
        <p:spPr>
          <a:xfrm>
            <a:off x="6256474" y="587529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B9EEC99-9221-0007-E7EF-BEC3604590E4}"/>
              </a:ext>
            </a:extLst>
          </p:cNvPr>
          <p:cNvSpPr txBox="1"/>
          <p:nvPr/>
        </p:nvSpPr>
        <p:spPr>
          <a:xfrm>
            <a:off x="6483108" y="3492400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55DCE7E-B29D-E37D-F835-3B9F6F3A0344}"/>
              </a:ext>
            </a:extLst>
          </p:cNvPr>
          <p:cNvSpPr txBox="1"/>
          <p:nvPr/>
        </p:nvSpPr>
        <p:spPr>
          <a:xfrm>
            <a:off x="6478192" y="4156077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1563A52-7FE2-454D-DAF8-8EAF8D8EDAF2}"/>
              </a:ext>
            </a:extLst>
          </p:cNvPr>
          <p:cNvSpPr txBox="1"/>
          <p:nvPr/>
        </p:nvSpPr>
        <p:spPr>
          <a:xfrm>
            <a:off x="6463444" y="4583780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7240227-D753-1CD0-F36C-D5AFB9CBEC01}"/>
              </a:ext>
            </a:extLst>
          </p:cNvPr>
          <p:cNvSpPr txBox="1"/>
          <p:nvPr/>
        </p:nvSpPr>
        <p:spPr>
          <a:xfrm>
            <a:off x="6399535" y="5021316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7A38EFB-59EC-5291-A1E9-7282B31C72B1}"/>
              </a:ext>
            </a:extLst>
          </p:cNvPr>
          <p:cNvSpPr txBox="1"/>
          <p:nvPr/>
        </p:nvSpPr>
        <p:spPr>
          <a:xfrm>
            <a:off x="6394619" y="5232710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916CBAF-F3F3-BC00-A6C6-524920A23809}"/>
              </a:ext>
            </a:extLst>
          </p:cNvPr>
          <p:cNvSpPr txBox="1"/>
          <p:nvPr/>
        </p:nvSpPr>
        <p:spPr>
          <a:xfrm>
            <a:off x="6399535" y="5670246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9922DCD-DD5C-B417-D6BD-86FC26EE771B}"/>
              </a:ext>
            </a:extLst>
          </p:cNvPr>
          <p:cNvSpPr txBox="1"/>
          <p:nvPr/>
        </p:nvSpPr>
        <p:spPr>
          <a:xfrm>
            <a:off x="6089819" y="6088116"/>
            <a:ext cx="535484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B45562B-CEBD-3894-9E4D-C0ADC38F3D51}"/>
              </a:ext>
            </a:extLst>
          </p:cNvPr>
          <p:cNvSpPr txBox="1"/>
          <p:nvPr/>
        </p:nvSpPr>
        <p:spPr>
          <a:xfrm>
            <a:off x="6399274" y="328106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3B7C537-39DB-E5E5-2985-09AA9E8DC011}"/>
              </a:ext>
            </a:extLst>
          </p:cNvPr>
          <p:cNvSpPr txBox="1"/>
          <p:nvPr/>
        </p:nvSpPr>
        <p:spPr>
          <a:xfrm>
            <a:off x="8080358" y="263556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5075F2F-8BE8-CEB3-B5B9-C69F4B909CB2}"/>
              </a:ext>
            </a:extLst>
          </p:cNvPr>
          <p:cNvSpPr txBox="1"/>
          <p:nvPr/>
        </p:nvSpPr>
        <p:spPr>
          <a:xfrm>
            <a:off x="7947622" y="349588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425DDB8-6DD3-C153-FE80-4452E0F50088}"/>
              </a:ext>
            </a:extLst>
          </p:cNvPr>
          <p:cNvSpPr txBox="1"/>
          <p:nvPr/>
        </p:nvSpPr>
        <p:spPr>
          <a:xfrm>
            <a:off x="7952538" y="370727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BA15CDF-7971-26EF-7E5F-7F279B7D3135}"/>
              </a:ext>
            </a:extLst>
          </p:cNvPr>
          <p:cNvSpPr txBox="1"/>
          <p:nvPr/>
        </p:nvSpPr>
        <p:spPr>
          <a:xfrm>
            <a:off x="7957454" y="392850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FD71DF7-2554-485E-714D-D3CEFA93BF08}"/>
              </a:ext>
            </a:extLst>
          </p:cNvPr>
          <p:cNvSpPr txBox="1"/>
          <p:nvPr/>
        </p:nvSpPr>
        <p:spPr>
          <a:xfrm>
            <a:off x="7844383" y="5005136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421E820-57C7-246D-6D4D-1D8E2BDE3A3B}"/>
              </a:ext>
            </a:extLst>
          </p:cNvPr>
          <p:cNvSpPr txBox="1"/>
          <p:nvPr/>
        </p:nvSpPr>
        <p:spPr>
          <a:xfrm>
            <a:off x="7913209" y="413989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663536F-D3AD-43F6-01B6-271FDEB845A3}"/>
              </a:ext>
            </a:extLst>
          </p:cNvPr>
          <p:cNvSpPr txBox="1"/>
          <p:nvPr/>
        </p:nvSpPr>
        <p:spPr>
          <a:xfrm>
            <a:off x="7947622" y="436112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DF4F3D4-1584-A836-5A8C-ED1042C2F860}"/>
              </a:ext>
            </a:extLst>
          </p:cNvPr>
          <p:cNvSpPr txBox="1"/>
          <p:nvPr/>
        </p:nvSpPr>
        <p:spPr>
          <a:xfrm>
            <a:off x="7800138" y="522636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7A4673-E374-E162-CBC8-990AD1878AEB}"/>
              </a:ext>
            </a:extLst>
          </p:cNvPr>
          <p:cNvSpPr txBox="1"/>
          <p:nvPr/>
        </p:nvSpPr>
        <p:spPr>
          <a:xfrm>
            <a:off x="7824719" y="543775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A00BE6E-59FF-57F8-2DCC-101F45434EAF}"/>
              </a:ext>
            </a:extLst>
          </p:cNvPr>
          <p:cNvSpPr txBox="1"/>
          <p:nvPr/>
        </p:nvSpPr>
        <p:spPr>
          <a:xfrm>
            <a:off x="7790306" y="565898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12B9E03-88A6-763E-12CD-BEA78A3A9E98}"/>
              </a:ext>
            </a:extLst>
          </p:cNvPr>
          <p:cNvSpPr txBox="1"/>
          <p:nvPr/>
        </p:nvSpPr>
        <p:spPr>
          <a:xfrm>
            <a:off x="7814886" y="587037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FF24C1C-3B0C-80CE-4DB4-5AD7D96B4F7D}"/>
              </a:ext>
            </a:extLst>
          </p:cNvPr>
          <p:cNvSpPr txBox="1"/>
          <p:nvPr/>
        </p:nvSpPr>
        <p:spPr>
          <a:xfrm>
            <a:off x="7632989" y="608176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14FDA9-85F7-316C-5ACE-827F15702CD5}"/>
              </a:ext>
            </a:extLst>
          </p:cNvPr>
          <p:cNvSpPr txBox="1"/>
          <p:nvPr/>
        </p:nvSpPr>
        <p:spPr>
          <a:xfrm>
            <a:off x="7878798" y="479107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8ACA637-B937-1357-EC57-C1628A1DFF36}"/>
              </a:ext>
            </a:extLst>
          </p:cNvPr>
          <p:cNvSpPr txBox="1"/>
          <p:nvPr/>
        </p:nvSpPr>
        <p:spPr>
          <a:xfrm>
            <a:off x="10975959" y="480091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0493910-57ED-EBCA-4D35-2F726EADAA5C}"/>
              </a:ext>
            </a:extLst>
          </p:cNvPr>
          <p:cNvSpPr txBox="1"/>
          <p:nvPr/>
        </p:nvSpPr>
        <p:spPr>
          <a:xfrm>
            <a:off x="8572204" y="415614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D45B9BF-67FF-41C5-299F-A0B8AA5CB836}"/>
              </a:ext>
            </a:extLst>
          </p:cNvPr>
          <p:cNvSpPr txBox="1"/>
          <p:nvPr/>
        </p:nvSpPr>
        <p:spPr>
          <a:xfrm>
            <a:off x="8552540" y="457892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A982B72-3A0F-DBFC-88ED-430F0AB20C1D}"/>
              </a:ext>
            </a:extLst>
          </p:cNvPr>
          <p:cNvSpPr txBox="1"/>
          <p:nvPr/>
        </p:nvSpPr>
        <p:spPr>
          <a:xfrm>
            <a:off x="8557456" y="500663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E4AFBA-27F1-33C8-D369-EA33F9F4E280}"/>
              </a:ext>
            </a:extLst>
          </p:cNvPr>
          <p:cNvSpPr txBox="1"/>
          <p:nvPr/>
        </p:nvSpPr>
        <p:spPr>
          <a:xfrm>
            <a:off x="8513211" y="522785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03C5A46-832B-0F82-9A33-3E42135DA75E}"/>
              </a:ext>
            </a:extLst>
          </p:cNvPr>
          <p:cNvSpPr txBox="1"/>
          <p:nvPr/>
        </p:nvSpPr>
        <p:spPr>
          <a:xfrm>
            <a:off x="8468966" y="565555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6A59722F-876F-913C-04FE-2F292A2419E9}"/>
              </a:ext>
            </a:extLst>
          </p:cNvPr>
          <p:cNvSpPr txBox="1"/>
          <p:nvPr/>
        </p:nvSpPr>
        <p:spPr>
          <a:xfrm>
            <a:off x="10155199" y="283861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C58B3EF-1250-1354-DC45-6ACD819BC108}"/>
              </a:ext>
            </a:extLst>
          </p:cNvPr>
          <p:cNvSpPr txBox="1"/>
          <p:nvPr/>
        </p:nvSpPr>
        <p:spPr>
          <a:xfrm>
            <a:off x="9999465" y="457101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BE778D5-0CF5-099C-CB8E-9AEB61E2147A}"/>
              </a:ext>
            </a:extLst>
          </p:cNvPr>
          <p:cNvSpPr txBox="1"/>
          <p:nvPr/>
        </p:nvSpPr>
        <p:spPr>
          <a:xfrm>
            <a:off x="9886394" y="500854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86686A14-AD84-2A07-28A8-E8B903D36460}"/>
              </a:ext>
            </a:extLst>
          </p:cNvPr>
          <p:cNvSpPr txBox="1"/>
          <p:nvPr/>
        </p:nvSpPr>
        <p:spPr>
          <a:xfrm>
            <a:off x="9979801" y="521994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6F74C977-6EB6-62E0-ECD2-19B7F09CE2BB}"/>
              </a:ext>
            </a:extLst>
          </p:cNvPr>
          <p:cNvSpPr txBox="1"/>
          <p:nvPr/>
        </p:nvSpPr>
        <p:spPr>
          <a:xfrm>
            <a:off x="9876563" y="56574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49373C41-E085-FEF0-2E19-149B6A42B38F}"/>
              </a:ext>
            </a:extLst>
          </p:cNvPr>
          <p:cNvSpPr txBox="1"/>
          <p:nvPr/>
        </p:nvSpPr>
        <p:spPr>
          <a:xfrm>
            <a:off x="9979802" y="586887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C1361BB2-AC92-BFAF-9AD2-7ABC42ECFA2B}"/>
              </a:ext>
            </a:extLst>
          </p:cNvPr>
          <p:cNvSpPr txBox="1"/>
          <p:nvPr/>
        </p:nvSpPr>
        <p:spPr>
          <a:xfrm>
            <a:off x="10075643" y="262719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898ED69-A6F6-EBD6-D7D5-49DE5F37DBAB}"/>
              </a:ext>
            </a:extLst>
          </p:cNvPr>
          <p:cNvSpPr txBox="1"/>
          <p:nvPr/>
        </p:nvSpPr>
        <p:spPr>
          <a:xfrm>
            <a:off x="10070727" y="349734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0DD197F5-DE45-7D2D-36AC-D40069C0DDB9}"/>
              </a:ext>
            </a:extLst>
          </p:cNvPr>
          <p:cNvSpPr txBox="1"/>
          <p:nvPr/>
        </p:nvSpPr>
        <p:spPr>
          <a:xfrm>
            <a:off x="10075643" y="3718571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AA888DA9-1C28-5469-0911-2D286958DF76}"/>
              </a:ext>
            </a:extLst>
          </p:cNvPr>
          <p:cNvSpPr txBox="1"/>
          <p:nvPr/>
        </p:nvSpPr>
        <p:spPr>
          <a:xfrm>
            <a:off x="10060894" y="3929964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EEB5E640-8726-86EC-7104-6E46181734AE}"/>
              </a:ext>
            </a:extLst>
          </p:cNvPr>
          <p:cNvSpPr txBox="1"/>
          <p:nvPr/>
        </p:nvSpPr>
        <p:spPr>
          <a:xfrm>
            <a:off x="10065811" y="4141357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A0375F9E-2E1C-E6C3-4C07-3BC9B047F1E0}"/>
              </a:ext>
            </a:extLst>
          </p:cNvPr>
          <p:cNvSpPr txBox="1"/>
          <p:nvPr/>
        </p:nvSpPr>
        <p:spPr>
          <a:xfrm>
            <a:off x="10011733" y="436258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3E9BADC-2EA7-7C44-3DFD-70038A21DAFE}"/>
              </a:ext>
            </a:extLst>
          </p:cNvPr>
          <p:cNvSpPr txBox="1"/>
          <p:nvPr/>
        </p:nvSpPr>
        <p:spPr>
          <a:xfrm>
            <a:off x="9928159" y="543921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C5C8111B-EF7C-C02D-E8B2-CD90F1A66A81}"/>
              </a:ext>
            </a:extLst>
          </p:cNvPr>
          <p:cNvSpPr txBox="1"/>
          <p:nvPr/>
        </p:nvSpPr>
        <p:spPr>
          <a:xfrm>
            <a:off x="9902771" y="4792900"/>
            <a:ext cx="538489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EF75F9A0-3182-CB55-ED89-5570A0BDCC92}"/>
              </a:ext>
            </a:extLst>
          </p:cNvPr>
          <p:cNvSpPr txBox="1"/>
          <p:nvPr/>
        </p:nvSpPr>
        <p:spPr>
          <a:xfrm>
            <a:off x="11713613" y="28435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0F874D03-02D0-6906-4FC4-0D830DE84A7F}"/>
              </a:ext>
            </a:extLst>
          </p:cNvPr>
          <p:cNvSpPr txBox="1"/>
          <p:nvPr/>
        </p:nvSpPr>
        <p:spPr>
          <a:xfrm>
            <a:off x="11698865" y="328106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3A3F4546-E91A-D4D4-0CF4-3B9AEFF5ABA1}"/>
              </a:ext>
            </a:extLst>
          </p:cNvPr>
          <p:cNvSpPr txBox="1"/>
          <p:nvPr/>
        </p:nvSpPr>
        <p:spPr>
          <a:xfrm>
            <a:off x="11654618" y="456417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AF8BC757-A3B0-511F-3FA2-2E0860C7B715}"/>
              </a:ext>
            </a:extLst>
          </p:cNvPr>
          <p:cNvSpPr txBox="1"/>
          <p:nvPr/>
        </p:nvSpPr>
        <p:spPr>
          <a:xfrm>
            <a:off x="11659534" y="48050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D2A2DBF-74B4-B7AA-2986-7DF772682A3E}"/>
              </a:ext>
            </a:extLst>
          </p:cNvPr>
          <p:cNvSpPr txBox="1"/>
          <p:nvPr/>
        </p:nvSpPr>
        <p:spPr>
          <a:xfrm>
            <a:off x="11566128" y="522293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60E4DB0D-E265-044C-04EE-8EE44573C016}"/>
              </a:ext>
            </a:extLst>
          </p:cNvPr>
          <p:cNvSpPr txBox="1"/>
          <p:nvPr/>
        </p:nvSpPr>
        <p:spPr>
          <a:xfrm>
            <a:off x="11555398" y="5876751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C52B2F87-8FD4-65CA-C339-C547836E1AA8}"/>
              </a:ext>
            </a:extLst>
          </p:cNvPr>
          <p:cNvSpPr txBox="1"/>
          <p:nvPr/>
        </p:nvSpPr>
        <p:spPr>
          <a:xfrm>
            <a:off x="11540650" y="565552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7269CE4C-C793-6CC4-53F2-79DB2700E37F}"/>
              </a:ext>
            </a:extLst>
          </p:cNvPr>
          <p:cNvSpPr txBox="1"/>
          <p:nvPr/>
        </p:nvSpPr>
        <p:spPr>
          <a:xfrm>
            <a:off x="11594728" y="5453964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D33CBE4-69DC-82FA-B61D-BA8AE37A8687}"/>
              </a:ext>
            </a:extLst>
          </p:cNvPr>
          <p:cNvSpPr txBox="1"/>
          <p:nvPr/>
        </p:nvSpPr>
        <p:spPr>
          <a:xfrm>
            <a:off x="11609476" y="5006596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A6BFD967-77A6-B728-FE6B-5608F58A9A86}"/>
              </a:ext>
            </a:extLst>
          </p:cNvPr>
          <p:cNvSpPr txBox="1"/>
          <p:nvPr/>
        </p:nvSpPr>
        <p:spPr>
          <a:xfrm>
            <a:off x="11651734" y="349734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372E9BB4-160D-3C54-975F-CC3F24CCB1C2}"/>
              </a:ext>
            </a:extLst>
          </p:cNvPr>
          <p:cNvSpPr txBox="1"/>
          <p:nvPr/>
        </p:nvSpPr>
        <p:spPr>
          <a:xfrm>
            <a:off x="11646818" y="3708738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B968BD7B-3B0A-523C-4A60-881259A75B4B}"/>
              </a:ext>
            </a:extLst>
          </p:cNvPr>
          <p:cNvSpPr txBox="1"/>
          <p:nvPr/>
        </p:nvSpPr>
        <p:spPr>
          <a:xfrm>
            <a:off x="11622238" y="3929964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B00CAEE-65EA-FDDE-A9B2-203ED4ACD375}"/>
              </a:ext>
            </a:extLst>
          </p:cNvPr>
          <p:cNvSpPr txBox="1"/>
          <p:nvPr/>
        </p:nvSpPr>
        <p:spPr>
          <a:xfrm>
            <a:off x="11636986" y="413152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D89096DA-02C0-A9E9-DE91-5C4182DAB27F}"/>
              </a:ext>
            </a:extLst>
          </p:cNvPr>
          <p:cNvSpPr txBox="1"/>
          <p:nvPr/>
        </p:nvSpPr>
        <p:spPr>
          <a:xfrm>
            <a:off x="11602573" y="436258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07CDC0AC-2A6D-0819-73A6-83B317C9DE3D}"/>
              </a:ext>
            </a:extLst>
          </p:cNvPr>
          <p:cNvSpPr txBox="1"/>
          <p:nvPr/>
        </p:nvSpPr>
        <p:spPr>
          <a:xfrm>
            <a:off x="10173158" y="3342642"/>
            <a:ext cx="538489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C7F089A-1514-0E2E-6AB5-A785AB22268F}"/>
              </a:ext>
            </a:extLst>
          </p:cNvPr>
          <p:cNvSpPr txBox="1"/>
          <p:nvPr/>
        </p:nvSpPr>
        <p:spPr>
          <a:xfrm>
            <a:off x="10148578" y="4655248"/>
            <a:ext cx="538489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A09B881F-C98F-CE44-0F25-337DB97843B6}"/>
              </a:ext>
            </a:extLst>
          </p:cNvPr>
          <p:cNvSpPr txBox="1"/>
          <p:nvPr/>
        </p:nvSpPr>
        <p:spPr>
          <a:xfrm>
            <a:off x="10133829" y="5731880"/>
            <a:ext cx="538489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59F759DE-9E22-337F-110C-43CD5DB6C476}"/>
              </a:ext>
            </a:extLst>
          </p:cNvPr>
          <p:cNvSpPr txBox="1"/>
          <p:nvPr/>
        </p:nvSpPr>
        <p:spPr>
          <a:xfrm>
            <a:off x="10120786" y="607834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8CCEAA6-3D3F-2BCF-0B2C-D69A937F5AE7}"/>
              </a:ext>
            </a:extLst>
          </p:cNvPr>
          <p:cNvSpPr txBox="1"/>
          <p:nvPr/>
        </p:nvSpPr>
        <p:spPr>
          <a:xfrm>
            <a:off x="10331831" y="399826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9AB807A5-8AB9-CFD0-DFB5-1A0A8571312F}"/>
              </a:ext>
            </a:extLst>
          </p:cNvPr>
          <p:cNvSpPr txBox="1"/>
          <p:nvPr/>
        </p:nvSpPr>
        <p:spPr>
          <a:xfrm>
            <a:off x="10336747" y="52912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04FEAE29-4370-1383-A355-46E1962BA357}"/>
              </a:ext>
            </a:extLst>
          </p:cNvPr>
          <p:cNvSpPr txBox="1"/>
          <p:nvPr/>
        </p:nvSpPr>
        <p:spPr>
          <a:xfrm>
            <a:off x="10321998" y="59450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387A4B21-9983-1DEF-2237-8889A6CC9854}"/>
              </a:ext>
            </a:extLst>
          </p:cNvPr>
          <p:cNvSpPr txBox="1"/>
          <p:nvPr/>
        </p:nvSpPr>
        <p:spPr>
          <a:xfrm>
            <a:off x="10247707" y="4431408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48AA8AA6-E888-286D-6335-05760AC80157}"/>
              </a:ext>
            </a:extLst>
          </p:cNvPr>
          <p:cNvSpPr txBox="1"/>
          <p:nvPr/>
        </p:nvSpPr>
        <p:spPr>
          <a:xfrm>
            <a:off x="10237412" y="550999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D9617B0E-8095-769C-4E3C-AB701E5F6D2D}"/>
              </a:ext>
            </a:extLst>
          </p:cNvPr>
          <p:cNvSpPr txBox="1"/>
          <p:nvPr/>
        </p:nvSpPr>
        <p:spPr>
          <a:xfrm>
            <a:off x="10204179" y="507224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F8566DE4-BAD2-C2B3-61FF-24F1D26EBB70}"/>
              </a:ext>
            </a:extLst>
          </p:cNvPr>
          <p:cNvSpPr txBox="1"/>
          <p:nvPr/>
        </p:nvSpPr>
        <p:spPr>
          <a:xfrm>
            <a:off x="11688134" y="608814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58F08AF7-95BA-BE5E-856C-BF58663785DE}"/>
              </a:ext>
            </a:extLst>
          </p:cNvPr>
          <p:cNvSpPr txBox="1"/>
          <p:nvPr/>
        </p:nvSpPr>
        <p:spPr>
          <a:xfrm>
            <a:off x="11867076" y="443355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61F75B38-1C81-AAFE-61C7-B4EB752F4E65}"/>
              </a:ext>
            </a:extLst>
          </p:cNvPr>
          <p:cNvSpPr txBox="1"/>
          <p:nvPr/>
        </p:nvSpPr>
        <p:spPr>
          <a:xfrm>
            <a:off x="11915173" y="573913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D4BAFCD2-D79C-C7CE-FB25-291A37699EFA}"/>
              </a:ext>
            </a:extLst>
          </p:cNvPr>
          <p:cNvSpPr txBox="1"/>
          <p:nvPr/>
        </p:nvSpPr>
        <p:spPr>
          <a:xfrm>
            <a:off x="11924657" y="531578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0CC90F21-FBF4-18BD-1833-8ABCE48978ED}"/>
              </a:ext>
            </a:extLst>
          </p:cNvPr>
          <p:cNvSpPr txBox="1"/>
          <p:nvPr/>
        </p:nvSpPr>
        <p:spPr>
          <a:xfrm>
            <a:off x="11919741" y="487825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0B5D874-3E81-BA45-6B21-B7DA094EA224}"/>
              </a:ext>
            </a:extLst>
          </p:cNvPr>
          <p:cNvCxnSpPr>
            <a:endCxn id="14" idx="3"/>
          </p:cNvCxnSpPr>
          <p:nvPr/>
        </p:nvCxnSpPr>
        <p:spPr>
          <a:xfrm flipV="1">
            <a:off x="59588" y="4331279"/>
            <a:ext cx="12106081" cy="867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33212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772E594-ED94-65A8-4575-14B8CB941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7B03BB-E831-3307-D15E-C372CBDF35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7B03BB-E831-3307-D15E-C372CBDF35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FAD7C4-36E9-6E21-8218-DEFFFA9CF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Бачення майбутнього розвитку Вінниці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37D2C3-4452-49B8-EF75-27FEBDF40A3D}"/>
              </a:ext>
            </a:extLst>
          </p:cNvPr>
          <p:cNvSpPr txBox="1"/>
          <p:nvPr/>
        </p:nvSpPr>
        <p:spPr>
          <a:xfrm>
            <a:off x="7561006" y="6620950"/>
            <a:ext cx="418625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12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 Вашу думку, як буде розвиватися місто Вінниця у найближчі два-три роки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8E552-7EBC-9E1B-CE7C-00377852DDE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A9DD45A2-BF2B-DEC3-8DC9-DBFF5DFD9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752387"/>
              </p:ext>
            </p:extLst>
          </p:nvPr>
        </p:nvGraphicFramePr>
        <p:xfrm>
          <a:off x="39329" y="2821265"/>
          <a:ext cx="12142312" cy="31665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швидко розвиватись у пози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повільно розвиватись у пози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Нічого не зміниться, стагна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повільно змінюватися у нега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швидко змінюватися у нега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514A6184-BAE8-97C7-A22D-B11E5E680D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9498441"/>
              </p:ext>
            </p:extLst>
          </p:nvPr>
        </p:nvGraphicFramePr>
        <p:xfrm>
          <a:off x="4043234" y="2729423"/>
          <a:ext cx="1548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8FAC23D3-F337-E7D0-495F-DFAD3039A2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3367613"/>
              </p:ext>
            </p:extLst>
          </p:nvPr>
        </p:nvGraphicFramePr>
        <p:xfrm>
          <a:off x="4041058" y="2536281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7EBE4AE6-8E62-A60A-E850-0E479E2E9273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виток міста Вінниця у найближчі два-три роки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9EE418D7-52B4-A24A-9214-10CFA52061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1507182"/>
              </p:ext>
            </p:extLst>
          </p:nvPr>
        </p:nvGraphicFramePr>
        <p:xfrm>
          <a:off x="5654368" y="2732275"/>
          <a:ext cx="1548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A82A682F-94B2-D2CF-EA31-E0539A8BF6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3653985"/>
              </p:ext>
            </p:extLst>
          </p:nvPr>
        </p:nvGraphicFramePr>
        <p:xfrm>
          <a:off x="7285848" y="2726571"/>
          <a:ext cx="1548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84876217-360B-61E1-6E0A-4B9D878E6B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6200511"/>
              </p:ext>
            </p:extLst>
          </p:nvPr>
        </p:nvGraphicFramePr>
        <p:xfrm>
          <a:off x="8916644" y="2729423"/>
          <a:ext cx="1548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8D4B7A09-FD48-2A18-E5D7-17CA655969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061962"/>
              </p:ext>
            </p:extLst>
          </p:nvPr>
        </p:nvGraphicFramePr>
        <p:xfrm>
          <a:off x="10530361" y="2726571"/>
          <a:ext cx="1548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B95E63F-B632-2EC9-164B-F51842039764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Переважна більшість (83%) усіх опитаних вірять у розвиток міста у позитивному напрямку. Негативних відповідей майже на зафіксовано. </a:t>
            </a:r>
            <a:r>
              <a:rPr lang="uk-UA" sz="1600" dirty="0"/>
              <a:t>Водночас молодь очікує, що розвиток міста у позитивному напрямку не буде швидким. </a:t>
            </a:r>
          </a:p>
          <a:p>
            <a:r>
              <a:rPr lang="uk-UA" sz="1600" noProof="0" dirty="0"/>
              <a:t>Серед молоді 14-19 років 11% не змогли відповісти на запитання про </a:t>
            </a:r>
            <a:r>
              <a:rPr lang="uk-UA" sz="1600" dirty="0"/>
              <a:t>перспективи розвитку міста.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F0DDAB-547E-A19D-5871-93156E803D09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C8601FA1-4E8F-DA54-5A91-B9DF387EE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3898453"/>
              </p:ext>
            </p:extLst>
          </p:nvPr>
        </p:nvGraphicFramePr>
        <p:xfrm>
          <a:off x="4041058" y="5951375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1C3717D8-A2EA-66F2-E49D-046F9BDE43CA}"/>
              </a:ext>
            </a:extLst>
          </p:cNvPr>
          <p:cNvSpPr txBox="1"/>
          <p:nvPr/>
        </p:nvSpPr>
        <p:spPr>
          <a:xfrm>
            <a:off x="6394574" y="2967420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3953EE-5A28-8F3F-C745-8B60333D8EA4}"/>
              </a:ext>
            </a:extLst>
          </p:cNvPr>
          <p:cNvSpPr txBox="1"/>
          <p:nvPr/>
        </p:nvSpPr>
        <p:spPr>
          <a:xfrm>
            <a:off x="11493367" y="349347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2DA718F-318A-325B-FCAE-EC3516DE36F7}"/>
              </a:ext>
            </a:extLst>
          </p:cNvPr>
          <p:cNvSpPr txBox="1"/>
          <p:nvPr/>
        </p:nvSpPr>
        <p:spPr bwMode="gray">
          <a:xfrm>
            <a:off x="180218" y="253723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13493F8-B1EF-7911-AD8D-B78496B855C6}"/>
              </a:ext>
            </a:extLst>
          </p:cNvPr>
          <p:cNvSpPr txBox="1"/>
          <p:nvPr/>
        </p:nvSpPr>
        <p:spPr>
          <a:xfrm>
            <a:off x="8021813" y="2972336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100C0B-E5DC-9DFD-A63C-67748177B6CC}"/>
              </a:ext>
            </a:extLst>
          </p:cNvPr>
          <p:cNvSpPr txBox="1"/>
          <p:nvPr/>
        </p:nvSpPr>
        <p:spPr>
          <a:xfrm>
            <a:off x="10003013" y="3478698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4BFB90-FE8C-D8D6-EF71-6677A6E14135}"/>
              </a:ext>
            </a:extLst>
          </p:cNvPr>
          <p:cNvSpPr txBox="1"/>
          <p:nvPr/>
        </p:nvSpPr>
        <p:spPr>
          <a:xfrm>
            <a:off x="6075026" y="5597550"/>
            <a:ext cx="50275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5497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9E00ED1-043A-B431-F9E6-362A5CB7FC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B21933E-A051-817A-BC41-535AF6B190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21933E-A051-817A-BC41-535AF6B19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3B0572-19D1-5EDD-C533-13F85F7EB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Ознаки позитивного розвитку Вінниці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FC923A-B83D-E781-002D-110F8D91049A}"/>
              </a:ext>
            </a:extLst>
          </p:cNvPr>
          <p:cNvSpPr txBox="1"/>
          <p:nvPr/>
        </p:nvSpPr>
        <p:spPr>
          <a:xfrm>
            <a:off x="8021813" y="6620950"/>
            <a:ext cx="37254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13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Що свідчить про розвиток міста Вінниця у позитивному напрямку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21881B-142F-E2D2-F7F4-43ACD9B8B583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772A03DE-D3A7-FA58-15E5-F1AC77A310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334053"/>
              </p:ext>
            </p:extLst>
          </p:nvPr>
        </p:nvGraphicFramePr>
        <p:xfrm>
          <a:off x="39329" y="3322704"/>
          <a:ext cx="12142312" cy="32173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окращення благоустрою і умов для життя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івництво нового, сучасного житла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Добрий екологічний стан, зелені зо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ідкриття нових підприємств і бізнес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Розвиненість інфраструктури для виховання і навчання ді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ідкриття і розвиток кафе, рестора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роведення різних культурних захо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Якісні заклади охорони здоров’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исока якість освіти у закладах міс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Релокація</a:t>
                      </a:r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 бізнес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роведення різних спортивних заходів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064837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Збільшення пропозицій роботи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638784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ідкриття і розвиток торгівельних центр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4560074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роведення різних розважальних заходів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Релокація</a:t>
                      </a:r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 навчальних закладів з окупованих і прифронтових регіо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Збільшення заробітної платні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5B77A0C4-E213-49D6-FB69-531B36236F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4262500"/>
              </p:ext>
            </p:extLst>
          </p:nvPr>
        </p:nvGraphicFramePr>
        <p:xfrm>
          <a:off x="4043234" y="3230862"/>
          <a:ext cx="1548000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C2A89556-08A8-4F87-E0AB-35C4412594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1404040"/>
              </p:ext>
            </p:extLst>
          </p:nvPr>
        </p:nvGraphicFramePr>
        <p:xfrm>
          <a:off x="4041058" y="2359300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40BEF51A-507A-5C65-E17E-6CB7062BD297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Фактори, що свідчить про розвиток міста Вінниця у позитивному напрямку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EC5593FA-1E91-C8D3-432E-107F09BC19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9212846"/>
              </p:ext>
            </p:extLst>
          </p:nvPr>
        </p:nvGraphicFramePr>
        <p:xfrm>
          <a:off x="5654368" y="3233714"/>
          <a:ext cx="1548000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0A490AAD-3551-F909-4F63-CE850FE9D7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4505641"/>
              </p:ext>
            </p:extLst>
          </p:nvPr>
        </p:nvGraphicFramePr>
        <p:xfrm>
          <a:off x="7285848" y="3228010"/>
          <a:ext cx="1548000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5399CC26-8C70-8F60-E775-F70EF41BA9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1586011"/>
              </p:ext>
            </p:extLst>
          </p:nvPr>
        </p:nvGraphicFramePr>
        <p:xfrm>
          <a:off x="8916644" y="3230862"/>
          <a:ext cx="1548000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3C1BBD94-639F-F0E2-F721-C5FB83CB58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0580488"/>
              </p:ext>
            </p:extLst>
          </p:nvPr>
        </p:nvGraphicFramePr>
        <p:xfrm>
          <a:off x="10530361" y="3228010"/>
          <a:ext cx="1548000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A8102F0-C7AB-BB07-D008-09D17CC05B54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Головними ознаками позитивного розвитку Вінниці, що їх називали 60% і більше опитаних, є покращення благоустрою і умов життя, будівництво нового житла, добрий екологічний стан, відкриття нових підприємств і бізнесів, розвиненість інфраструктури для виховання дітей. </a:t>
            </a:r>
            <a:r>
              <a:rPr lang="uk-UA" sz="1600" noProof="0" dirty="0" err="1"/>
              <a:t>Зокрем</a:t>
            </a:r>
            <a:r>
              <a:rPr lang="uk-UA" sz="1600" dirty="0"/>
              <a:t>а розвиненість інфраструктури для виховання дітей частіше відзначали представники групи 25-29 років.</a:t>
            </a:r>
          </a:p>
          <a:p>
            <a:r>
              <a:rPr lang="uk-UA" sz="1600" noProof="0" dirty="0"/>
              <a:t>Відкриття і розвиток кафе і ресторанів</a:t>
            </a:r>
            <a:r>
              <a:rPr lang="uk-UA" sz="1600" dirty="0"/>
              <a:t> найбільш відзначали представники групи 20-24 років.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C59D1BC-0055-B17F-47D2-3E0D620FF403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57DC2D91-9EB9-E2EC-E403-1372B90E49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265638"/>
              </p:ext>
            </p:extLst>
          </p:nvPr>
        </p:nvGraphicFramePr>
        <p:xfrm>
          <a:off x="4041058" y="6511810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0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8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85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3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0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A52ADECB-6628-EE2F-DF05-ABCEC7ABF157}"/>
              </a:ext>
            </a:extLst>
          </p:cNvPr>
          <p:cNvSpPr txBox="1"/>
          <p:nvPr/>
        </p:nvSpPr>
        <p:spPr>
          <a:xfrm>
            <a:off x="10091504" y="3300496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9141F3F-BCBF-9A17-05A7-CE1DEB05D8D9}"/>
              </a:ext>
            </a:extLst>
          </p:cNvPr>
          <p:cNvSpPr txBox="1"/>
          <p:nvPr/>
        </p:nvSpPr>
        <p:spPr>
          <a:xfrm>
            <a:off x="8229636" y="400819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52E43D-B847-7485-0A43-0322EDECCD7C}"/>
              </a:ext>
            </a:extLst>
          </p:cNvPr>
          <p:cNvSpPr txBox="1"/>
          <p:nvPr/>
        </p:nvSpPr>
        <p:spPr bwMode="gray">
          <a:xfrm>
            <a:off x="180218" y="2399585"/>
            <a:ext cx="210086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вважають, що місто Вінниця у найближчі два-три роки буде розвиватися у позитивному напрямку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659F0CFE-7959-BEBB-EC68-322CE3AA36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7360569"/>
              </p:ext>
            </p:extLst>
          </p:nvPr>
        </p:nvGraphicFramePr>
        <p:xfrm>
          <a:off x="4032497" y="2653868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2BD675D1-DCC9-5C95-1833-202EDFACD6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0194877"/>
              </p:ext>
            </p:extLst>
          </p:nvPr>
        </p:nvGraphicFramePr>
        <p:xfrm>
          <a:off x="5659906" y="2652133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4EAB8BDC-A1FE-B1CA-432E-F67E1C7308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1715020"/>
              </p:ext>
            </p:extLst>
          </p:nvPr>
        </p:nvGraphicFramePr>
        <p:xfrm>
          <a:off x="7267651" y="2648056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AAFA167D-001C-995C-714F-FC228BEE84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1837989"/>
              </p:ext>
            </p:extLst>
          </p:nvPr>
        </p:nvGraphicFramePr>
        <p:xfrm>
          <a:off x="8904897" y="26463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5" name="Діаграма 34">
            <a:extLst>
              <a:ext uri="{FF2B5EF4-FFF2-40B4-BE49-F238E27FC236}">
                <a16:creationId xmlns:a16="http://schemas.microsoft.com/office/drawing/2014/main" id="{AB8EE3C1-CC1D-709B-7F20-426079B720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2162777"/>
              </p:ext>
            </p:extLst>
          </p:nvPr>
        </p:nvGraphicFramePr>
        <p:xfrm>
          <a:off x="10524101" y="26535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52789214-0DB7-5F14-A867-2885A278C9B2}"/>
              </a:ext>
            </a:extLst>
          </p:cNvPr>
          <p:cNvSpPr txBox="1"/>
          <p:nvPr/>
        </p:nvSpPr>
        <p:spPr>
          <a:xfrm>
            <a:off x="9375943" y="309866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72F3F54-D33E-407E-1523-961646D451B6}"/>
              </a:ext>
            </a:extLst>
          </p:cNvPr>
          <p:cNvSpPr txBox="1"/>
          <p:nvPr/>
        </p:nvSpPr>
        <p:spPr>
          <a:xfrm>
            <a:off x="8264049" y="436707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1885E7F-6752-7CF6-F57D-CF21E2A522C5}"/>
              </a:ext>
            </a:extLst>
          </p:cNvPr>
          <p:cNvSpPr txBox="1"/>
          <p:nvPr/>
        </p:nvSpPr>
        <p:spPr>
          <a:xfrm>
            <a:off x="8190307" y="454897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9663FAF-3A9F-D130-64C0-7F6597A9A69F}"/>
              </a:ext>
            </a:extLst>
          </p:cNvPr>
          <p:cNvSpPr txBox="1"/>
          <p:nvPr/>
        </p:nvSpPr>
        <p:spPr>
          <a:xfrm>
            <a:off x="8175559" y="490784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0D2261C-ED2A-6CAD-69F9-9DF671468CFC}"/>
              </a:ext>
            </a:extLst>
          </p:cNvPr>
          <p:cNvSpPr txBox="1"/>
          <p:nvPr/>
        </p:nvSpPr>
        <p:spPr>
          <a:xfrm>
            <a:off x="8229636" y="508974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A7E9DF4-3A63-CDF8-3E8F-FD3FAABF4597}"/>
              </a:ext>
            </a:extLst>
          </p:cNvPr>
          <p:cNvSpPr txBox="1"/>
          <p:nvPr/>
        </p:nvSpPr>
        <p:spPr>
          <a:xfrm>
            <a:off x="8205055" y="562560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4EA5035-CEE1-B9BF-9F9C-498761D4C5B8}"/>
              </a:ext>
            </a:extLst>
          </p:cNvPr>
          <p:cNvSpPr txBox="1"/>
          <p:nvPr/>
        </p:nvSpPr>
        <p:spPr>
          <a:xfrm>
            <a:off x="8219804" y="579766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D611B6-847B-024F-F59F-8EC6E1A8BC9A}"/>
              </a:ext>
            </a:extLst>
          </p:cNvPr>
          <p:cNvSpPr txBox="1"/>
          <p:nvPr/>
        </p:nvSpPr>
        <p:spPr>
          <a:xfrm>
            <a:off x="8428331" y="4179657"/>
            <a:ext cx="59768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9B8C422-9E9B-72A9-9C8B-6F6FAEDD554A}"/>
              </a:ext>
            </a:extLst>
          </p:cNvPr>
          <p:cNvSpPr txBox="1"/>
          <p:nvPr/>
        </p:nvSpPr>
        <p:spPr>
          <a:xfrm>
            <a:off x="10076756" y="4003502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7D4931E-8B1B-AF15-1CBE-A62864160D08}"/>
              </a:ext>
            </a:extLst>
          </p:cNvPr>
          <p:cNvSpPr txBox="1"/>
          <p:nvPr/>
        </p:nvSpPr>
        <p:spPr>
          <a:xfrm>
            <a:off x="10033855" y="348217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96FBBB8-F768-97FD-E9C8-799E016E6107}"/>
              </a:ext>
            </a:extLst>
          </p:cNvPr>
          <p:cNvSpPr txBox="1"/>
          <p:nvPr/>
        </p:nvSpPr>
        <p:spPr>
          <a:xfrm>
            <a:off x="10038771" y="365423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B91D3DD-8663-3FC2-D609-2AA4A6B82EF5}"/>
              </a:ext>
            </a:extLst>
          </p:cNvPr>
          <p:cNvSpPr txBox="1"/>
          <p:nvPr/>
        </p:nvSpPr>
        <p:spPr>
          <a:xfrm>
            <a:off x="9965029" y="383613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5F87EBC-D649-2490-7333-E335E2BB8547}"/>
              </a:ext>
            </a:extLst>
          </p:cNvPr>
          <p:cNvSpPr txBox="1"/>
          <p:nvPr/>
        </p:nvSpPr>
        <p:spPr>
          <a:xfrm>
            <a:off x="9901119" y="419501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EBB33AC-EA21-17D8-0D48-CD053DD42003}"/>
              </a:ext>
            </a:extLst>
          </p:cNvPr>
          <p:cNvSpPr txBox="1"/>
          <p:nvPr/>
        </p:nvSpPr>
        <p:spPr>
          <a:xfrm>
            <a:off x="9955196" y="437690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D7B8EA5-9E65-AC1C-A535-CC2D67420869}"/>
              </a:ext>
            </a:extLst>
          </p:cNvPr>
          <p:cNvSpPr txBox="1"/>
          <p:nvPr/>
        </p:nvSpPr>
        <p:spPr>
          <a:xfrm>
            <a:off x="9901118" y="454897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F95E829-E97A-1477-13BB-D04142595C42}"/>
              </a:ext>
            </a:extLst>
          </p:cNvPr>
          <p:cNvSpPr txBox="1"/>
          <p:nvPr/>
        </p:nvSpPr>
        <p:spPr>
          <a:xfrm>
            <a:off x="9915867" y="489801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D5B0AA6-B3F2-5659-18C9-ED4C4632894B}"/>
              </a:ext>
            </a:extLst>
          </p:cNvPr>
          <p:cNvSpPr txBox="1"/>
          <p:nvPr/>
        </p:nvSpPr>
        <p:spPr>
          <a:xfrm>
            <a:off x="9851957" y="507991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C4E40E2-36C2-02C4-93E7-1DC1D7F1FF48}"/>
              </a:ext>
            </a:extLst>
          </p:cNvPr>
          <p:cNvSpPr txBox="1"/>
          <p:nvPr/>
        </p:nvSpPr>
        <p:spPr>
          <a:xfrm>
            <a:off x="9837209" y="526181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D63AC4B-FFF8-5705-6F88-2032E4E59179}"/>
              </a:ext>
            </a:extLst>
          </p:cNvPr>
          <p:cNvSpPr txBox="1"/>
          <p:nvPr/>
        </p:nvSpPr>
        <p:spPr>
          <a:xfrm>
            <a:off x="9842125" y="579766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4EA869D-D6D8-C9EF-FEAD-7F923ADEF321}"/>
              </a:ext>
            </a:extLst>
          </p:cNvPr>
          <p:cNvSpPr txBox="1"/>
          <p:nvPr/>
        </p:nvSpPr>
        <p:spPr>
          <a:xfrm>
            <a:off x="9217777" y="614671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(d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63C795C-E130-8914-2A72-9DE3BA85FCB3}"/>
              </a:ext>
            </a:extLst>
          </p:cNvPr>
          <p:cNvSpPr txBox="1"/>
          <p:nvPr/>
        </p:nvSpPr>
        <p:spPr>
          <a:xfrm>
            <a:off x="11728575" y="3295580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9647B18-525C-8BC6-47FD-62D0B2863385}"/>
              </a:ext>
            </a:extLst>
          </p:cNvPr>
          <p:cNvSpPr txBox="1"/>
          <p:nvPr/>
        </p:nvSpPr>
        <p:spPr>
          <a:xfrm>
            <a:off x="11723659" y="3487309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5E0DCD5-A315-AA68-B088-70931C72BB71}"/>
              </a:ext>
            </a:extLst>
          </p:cNvPr>
          <p:cNvSpPr txBox="1"/>
          <p:nvPr/>
        </p:nvSpPr>
        <p:spPr>
          <a:xfrm>
            <a:off x="11699078" y="3649541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4D746A0-2174-C3EB-DE28-9F942CB0D416}"/>
              </a:ext>
            </a:extLst>
          </p:cNvPr>
          <p:cNvSpPr txBox="1"/>
          <p:nvPr/>
        </p:nvSpPr>
        <p:spPr>
          <a:xfrm>
            <a:off x="11625336" y="4018251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55342A2-A800-B9AA-4D56-39EC51873EB7}"/>
              </a:ext>
            </a:extLst>
          </p:cNvPr>
          <p:cNvSpPr txBox="1"/>
          <p:nvPr/>
        </p:nvSpPr>
        <p:spPr>
          <a:xfrm>
            <a:off x="11551594" y="4908071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AC74340-0821-C064-E099-06321724999A}"/>
              </a:ext>
            </a:extLst>
          </p:cNvPr>
          <p:cNvSpPr txBox="1"/>
          <p:nvPr/>
        </p:nvSpPr>
        <p:spPr>
          <a:xfrm>
            <a:off x="11557855" y="383613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0530D3A-4087-1E2A-8764-53E315876CE3}"/>
              </a:ext>
            </a:extLst>
          </p:cNvPr>
          <p:cNvSpPr txBox="1"/>
          <p:nvPr/>
        </p:nvSpPr>
        <p:spPr>
          <a:xfrm>
            <a:off x="11533274" y="419500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9948725-4222-CDF5-512B-3C828AAC3E80}"/>
              </a:ext>
            </a:extLst>
          </p:cNvPr>
          <p:cNvSpPr txBox="1"/>
          <p:nvPr/>
        </p:nvSpPr>
        <p:spPr>
          <a:xfrm>
            <a:off x="11489028" y="435724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1F8F9CE-E657-EED1-F335-33CA44311221}"/>
              </a:ext>
            </a:extLst>
          </p:cNvPr>
          <p:cNvSpPr txBox="1"/>
          <p:nvPr/>
        </p:nvSpPr>
        <p:spPr>
          <a:xfrm>
            <a:off x="11533273" y="455880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308BD90-0207-7316-D99A-D8A0A146B570}"/>
              </a:ext>
            </a:extLst>
          </p:cNvPr>
          <p:cNvSpPr txBox="1"/>
          <p:nvPr/>
        </p:nvSpPr>
        <p:spPr>
          <a:xfrm>
            <a:off x="11459531" y="473086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C141478-F459-0743-AA32-DD13B290ADA4}"/>
              </a:ext>
            </a:extLst>
          </p:cNvPr>
          <p:cNvSpPr txBox="1"/>
          <p:nvPr/>
        </p:nvSpPr>
        <p:spPr>
          <a:xfrm>
            <a:off x="11513609" y="508974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F9DBF59-C76A-0581-234D-61C059F6F22E}"/>
              </a:ext>
            </a:extLst>
          </p:cNvPr>
          <p:cNvSpPr txBox="1"/>
          <p:nvPr/>
        </p:nvSpPr>
        <p:spPr>
          <a:xfrm>
            <a:off x="11449700" y="526181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2115062-61F0-CF04-EA1D-2E781010A7E8}"/>
              </a:ext>
            </a:extLst>
          </p:cNvPr>
          <p:cNvSpPr txBox="1"/>
          <p:nvPr/>
        </p:nvSpPr>
        <p:spPr>
          <a:xfrm>
            <a:off x="11425119" y="544370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A4B14F0-0046-0F8B-F147-17073FC57ADE}"/>
              </a:ext>
            </a:extLst>
          </p:cNvPr>
          <p:cNvSpPr txBox="1"/>
          <p:nvPr/>
        </p:nvSpPr>
        <p:spPr>
          <a:xfrm>
            <a:off x="11489028" y="580258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9618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68A869-34E9-C942-DEDD-2F66F23289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68A869-34E9-C942-DEDD-2F66F2328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3DCDEBD-50DD-5E98-BAE8-B1FCFF222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2" y="119319"/>
            <a:ext cx="8534400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Довідка про дослідження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51C61BE9-EC00-A689-9853-514FB553A72C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91559945-FA85-6B31-658D-CA8E05D11022}"/>
              </a:ext>
            </a:extLst>
          </p:cNvPr>
          <p:cNvSpPr txBox="1">
            <a:spLocks/>
          </p:cNvSpPr>
          <p:nvPr/>
        </p:nvSpPr>
        <p:spPr bwMode="gray">
          <a:xfrm>
            <a:off x="582116" y="1223639"/>
            <a:ext cx="11155387" cy="1039728"/>
          </a:xfrm>
          <a:prstGeom prst="rect">
            <a:avLst/>
          </a:prstGeom>
          <a:solidFill>
            <a:srgbClr val="FFFFFF"/>
          </a:solidFill>
          <a:ln>
            <a:solidFill>
              <a:srgbClr val="B1BEC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uk-UA" sz="1400" b="1" i="0" u="none" strike="noStrike" kern="1200" cap="all" spc="0" normalizeH="0" baseline="0" noProof="0" dirty="0">
                <a:ln>
                  <a:noFill/>
                </a:ln>
                <a:solidFill>
                  <a:srgbClr val="1D242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Мета дослідження</a:t>
            </a:r>
          </a:p>
          <a:p>
            <a:pPr lvl="2">
              <a:buClr>
                <a:srgbClr val="000000"/>
              </a:buClr>
              <a:defRPr/>
            </a:pPr>
            <a:r>
              <a:rPr lang="uk-UA" sz="1400" noProof="0" dirty="0"/>
              <a:t>Дослідити бачення молоді Вінницької МТГ щодо майбутнього міста.</a:t>
            </a:r>
          </a:p>
          <a:p>
            <a:pPr lvl="2">
              <a:buClr>
                <a:srgbClr val="000000"/>
              </a:buClr>
              <a:defRPr/>
            </a:pPr>
            <a:r>
              <a:rPr lang="uk-UA" sz="1400" noProof="0" dirty="0"/>
              <a:t>Проаналізувати очікування молоді та наскільки молодь може реалізувати ці очікування у Вінниці.</a:t>
            </a:r>
          </a:p>
          <a:p>
            <a:pPr lvl="2">
              <a:buClr>
                <a:srgbClr val="000000"/>
              </a:buClr>
              <a:defRPr/>
            </a:pPr>
            <a:r>
              <a:rPr lang="uk-UA" sz="1400" noProof="0" dirty="0"/>
              <a:t>Дослідити міграційні настрої молоді та фактори їх утримання у Вінницькій МТГ. </a:t>
            </a:r>
          </a:p>
        </p:txBody>
      </p:sp>
      <p:sp>
        <p:nvSpPr>
          <p:cNvPr id="6" name="Inhaltsplatzhalter 7">
            <a:extLst>
              <a:ext uri="{FF2B5EF4-FFF2-40B4-BE49-F238E27FC236}">
                <a16:creationId xmlns:a16="http://schemas.microsoft.com/office/drawing/2014/main" id="{D6AED9CF-D84E-097E-5F63-283743E493E6}"/>
              </a:ext>
            </a:extLst>
          </p:cNvPr>
          <p:cNvSpPr txBox="1">
            <a:spLocks/>
          </p:cNvSpPr>
          <p:nvPr/>
        </p:nvSpPr>
        <p:spPr bwMode="gray">
          <a:xfrm>
            <a:off x="582116" y="2406863"/>
            <a:ext cx="11155387" cy="1406185"/>
          </a:xfrm>
          <a:prstGeom prst="rect">
            <a:avLst/>
          </a:prstGeom>
          <a:solidFill>
            <a:srgbClr val="FFFFFF"/>
          </a:solidFill>
          <a:ln>
            <a:solidFill>
              <a:srgbClr val="B1BEC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uk-UA" sz="1400" b="1" i="0" u="none" strike="noStrike" kern="1200" cap="all" spc="0" normalizeH="0" baseline="0" noProof="0" dirty="0" err="1">
                <a:ln>
                  <a:noFill/>
                </a:ln>
                <a:solidFill>
                  <a:srgbClr val="1D2427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ЦІЛЬОВа</a:t>
            </a:r>
            <a:r>
              <a:rPr kumimoji="0" lang="uk-UA" sz="1400" b="1" i="0" u="none" strike="noStrike" kern="1200" cap="all" spc="0" normalizeH="0" baseline="0" noProof="0" dirty="0">
                <a:ln>
                  <a:noFill/>
                </a:ln>
                <a:solidFill>
                  <a:srgbClr val="1D2427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</a:t>
            </a:r>
            <a:r>
              <a:rPr kumimoji="0" lang="uk-UA" sz="1400" b="1" i="0" u="none" strike="noStrike" kern="1200" cap="all" spc="0" normalizeH="0" baseline="0" noProof="0" dirty="0" err="1">
                <a:ln>
                  <a:noFill/>
                </a:ln>
                <a:solidFill>
                  <a:srgbClr val="1D2427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АУДИТОРІя</a:t>
            </a:r>
            <a:r>
              <a:rPr lang="uk-UA" sz="1400" b="1" cap="all" noProof="0" dirty="0">
                <a:solidFill>
                  <a:srgbClr val="1D2427"/>
                </a:solidFill>
                <a:sym typeface="Arial"/>
              </a:rPr>
              <a:t> і вибірка дослідження</a:t>
            </a:r>
            <a:endParaRPr kumimoji="0" lang="uk-UA" sz="1400" b="1" i="0" u="none" strike="noStrike" kern="1200" cap="all" spc="0" normalizeH="0" baseline="0" noProof="0" dirty="0">
              <a:ln>
                <a:noFill/>
              </a:ln>
              <a:solidFill>
                <a:srgbClr val="1D2427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  <a:p>
            <a:pPr marR="0" lvl="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uk-UA" sz="1400" i="0" u="none" strike="noStrike" kern="1200" spc="0" normalizeH="0" noProof="0" dirty="0">
                <a:ln>
                  <a:noFill/>
                </a:ln>
                <a:solidFill>
                  <a:srgbClr val="1D2427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Мешканці Вінницької МТГ у віці 14-35 років, що проживають у Вінницькій МТГ протягом останніх 12 місяців.</a:t>
            </a:r>
          </a:p>
          <a:p>
            <a:pPr marR="0" lvl="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uk-UA" sz="1400" noProof="0" dirty="0">
                <a:solidFill>
                  <a:srgbClr val="1D2427"/>
                </a:solidFill>
                <a:sym typeface="Arial"/>
              </a:rPr>
              <a:t>Загалом опитано 602 представників молоді Вінницької МТГ у віці 14-35 років.</a:t>
            </a:r>
          </a:p>
          <a:p>
            <a:pPr marR="0" lvl="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uk-UA" sz="1400" i="0" u="none" strike="noStrike" kern="1200" spc="0" normalizeH="0" noProof="0" dirty="0">
                <a:ln>
                  <a:noFill/>
                </a:ln>
                <a:solidFill>
                  <a:srgbClr val="1D2427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Структура </a:t>
            </a:r>
            <a:r>
              <a:rPr lang="uk-UA" sz="1400" noProof="0" dirty="0">
                <a:solidFill>
                  <a:srgbClr val="1D2427"/>
                </a:solidFill>
                <a:sym typeface="Arial"/>
              </a:rPr>
              <a:t>зваженої вибірки за статтю і віковими групами відповідає структурі генеральної сукупності за демографічними даними по місту Вінниця станом на 1.1.2022 року. Дані було зважено.</a:t>
            </a:r>
            <a:endParaRPr kumimoji="0" lang="uk-UA" sz="1400" i="0" u="none" strike="noStrike" kern="1200" spc="0" normalizeH="0" noProof="0" dirty="0">
              <a:ln>
                <a:noFill/>
              </a:ln>
              <a:solidFill>
                <a:srgbClr val="1D2427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7" name="Inhaltsplatzhalter 7">
            <a:extLst>
              <a:ext uri="{FF2B5EF4-FFF2-40B4-BE49-F238E27FC236}">
                <a16:creationId xmlns:a16="http://schemas.microsoft.com/office/drawing/2014/main" id="{F194DDAB-3665-E92A-D147-B2E4192AB310}"/>
              </a:ext>
            </a:extLst>
          </p:cNvPr>
          <p:cNvSpPr txBox="1">
            <a:spLocks/>
          </p:cNvSpPr>
          <p:nvPr/>
        </p:nvSpPr>
        <p:spPr bwMode="gray">
          <a:xfrm>
            <a:off x="582116" y="3908188"/>
            <a:ext cx="11155387" cy="1111225"/>
          </a:xfrm>
          <a:prstGeom prst="rect">
            <a:avLst/>
          </a:prstGeom>
          <a:solidFill>
            <a:srgbClr val="FFFFFF"/>
          </a:solidFill>
          <a:ln>
            <a:solidFill>
              <a:srgbClr val="B1BEC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uk-UA" sz="1400" b="1" i="0" u="none" strike="noStrike" kern="1200" cap="all" spc="0" normalizeH="0" baseline="0" noProof="0" dirty="0">
                <a:ln>
                  <a:noFill/>
                </a:ln>
                <a:solidFill>
                  <a:srgbClr val="1D2427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Методи ДОСЛІДЖЕННЯ</a:t>
            </a:r>
          </a:p>
          <a:p>
            <a:pPr marR="0" lvl="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uk-UA" sz="1400" noProof="0" dirty="0">
                <a:solidFill>
                  <a:srgbClr val="1D2427"/>
                </a:solidFill>
                <a:sym typeface="Arial"/>
              </a:rPr>
              <a:t>Опитування мешканців Вінницької МТГ методом телефонних інтерв’ю та добір інтерв’ю у віковій групі 14-17 років методом особистих інтерв’ю.</a:t>
            </a:r>
          </a:p>
          <a:p>
            <a:pPr marR="0" lvl="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uk-UA" sz="1400" i="0" u="none" strike="noStrike" kern="1200" spc="0" normalizeH="0" noProof="0" dirty="0">
                <a:ln>
                  <a:noFill/>
                </a:ln>
                <a:solidFill>
                  <a:srgbClr val="1D2427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Строки проведення опитування — 21.05.2025-</a:t>
            </a:r>
            <a:r>
              <a:rPr lang="uk-UA" sz="1400" noProof="0" dirty="0">
                <a:solidFill>
                  <a:srgbClr val="1D2427"/>
                </a:solidFill>
                <a:sym typeface="Arial"/>
              </a:rPr>
              <a:t>10</a:t>
            </a:r>
            <a:r>
              <a:rPr kumimoji="0" lang="uk-UA" sz="1400" i="0" u="none" strike="noStrike" kern="1200" spc="0" normalizeH="0" noProof="0" dirty="0">
                <a:ln>
                  <a:noFill/>
                </a:ln>
                <a:solidFill>
                  <a:srgbClr val="1D2427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.06.2025.</a:t>
            </a:r>
          </a:p>
        </p:txBody>
      </p:sp>
    </p:spTree>
    <p:extLst>
      <p:ext uri="{BB962C8B-B14F-4D97-AF65-F5344CB8AC3E}">
        <p14:creationId xmlns:p14="http://schemas.microsoft.com/office/powerpoint/2010/main" val="942061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65E563A-7F0E-02DA-F0AA-8262DE4DF4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4CFA47B-7238-B1F6-8A7A-ACF341D50FBA}"/>
              </a:ext>
            </a:extLst>
          </p:cNvPr>
          <p:cNvSpPr txBox="1"/>
          <p:nvPr/>
        </p:nvSpPr>
        <p:spPr>
          <a:xfrm>
            <a:off x="8021813" y="6620950"/>
            <a:ext cx="37254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1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Що свідчить про розвиток міста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я у негативному напрямку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F1C42F8-F07D-9B21-9BC3-E42430CF76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1C42F8-F07D-9B21-9BC3-E42430CF7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6308AC-5002-E606-1E92-726ACFD9D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Ознаки негативного напрямку розвитку міста Вінниця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8B422-F677-7A28-832B-E2A7B7341CB7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8F35E726-C0AE-E2FC-1438-48860C42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704448"/>
              </p:ext>
            </p:extLst>
          </p:nvPr>
        </p:nvGraphicFramePr>
        <p:xfrm>
          <a:off x="39329" y="3322703"/>
          <a:ext cx="12142312" cy="2964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уп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очення або відсутність росту заробітної пл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зька якість комунальних послуг, благоустро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ладно знайти достойну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криття підприємств і бізнес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сутність активного культурного житт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зька якість професійної і вищої освіти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зька якість охорони здоров’я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гана інфраструктура для виховання і навчання ді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ганий екологічний стан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сутність можливостей для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064837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сутність якісного житл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6387843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F028CED2-E667-576E-3030-2672946DD6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8394919"/>
              </p:ext>
            </p:extLst>
          </p:nvPr>
        </p:nvGraphicFramePr>
        <p:xfrm>
          <a:off x="4043234" y="3240694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9F887EA2-B4BA-B570-35FB-F6622D508B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0100562"/>
              </p:ext>
            </p:extLst>
          </p:nvPr>
        </p:nvGraphicFramePr>
        <p:xfrm>
          <a:off x="4041058" y="2359300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5408F5E6-E7E3-AC15-D1DC-183AF517325E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Фактори, що свідчить про розвиток міста Вінниця у негативному напрямку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5D3882A4-4288-968F-4107-7F38F6FA03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3742425"/>
              </p:ext>
            </p:extLst>
          </p:nvPr>
        </p:nvGraphicFramePr>
        <p:xfrm>
          <a:off x="5654368" y="3243546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D777FD74-C18B-1EE8-DF26-378A65FD4A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6309131"/>
              </p:ext>
            </p:extLst>
          </p:nvPr>
        </p:nvGraphicFramePr>
        <p:xfrm>
          <a:off x="7285848" y="3237842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85DC3F75-1EC9-EDD3-F7CD-31B5AC8909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6554235"/>
              </p:ext>
            </p:extLst>
          </p:nvPr>
        </p:nvGraphicFramePr>
        <p:xfrm>
          <a:off x="8916644" y="3240694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1C889BDD-04AC-3190-818E-1836B09DD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9299575"/>
              </p:ext>
            </p:extLst>
          </p:nvPr>
        </p:nvGraphicFramePr>
        <p:xfrm>
          <a:off x="10530361" y="3237842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1BD3A2B-CA7B-CA3A-AEC3-6CD87C62C965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Загалом 13% опитаних молодих людей вважають, що місто </a:t>
            </a:r>
            <a:r>
              <a:rPr lang="uk-UA" sz="1600" noProof="0" dirty="0" err="1"/>
              <a:t>стагнує</a:t>
            </a:r>
            <a:r>
              <a:rPr lang="uk-UA" sz="1600" noProof="0" dirty="0"/>
              <a:t> або розвивається у неправильному напрямку. </a:t>
            </a:r>
          </a:p>
          <a:p>
            <a:r>
              <a:rPr lang="uk-UA" sz="1600" dirty="0"/>
              <a:t>Головними ознаками негативного розвитку є корупція, скорочення або відсутність росту заробітної плати, низька якість комунальних послуг, складність знайти достойну роботу, закриття підприємств і бізнесів. Низьку якість послуг частіше відзначали люди у віці 25 років і старше. Складність знайти достойну роботу є найбільш актуальною для представників групи 25-29 років. Закриття бізнесів відзначали найчастіше представники групи 30-35 років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3F5155-50FE-07D5-99AE-0671D069CAE3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4A418A75-79C1-65D7-1F8C-76A7926571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0966589"/>
              </p:ext>
            </p:extLst>
          </p:nvPr>
        </p:nvGraphicFramePr>
        <p:xfrm>
          <a:off x="4011562" y="6295500"/>
          <a:ext cx="8072090" cy="218225"/>
        </p:xfrm>
        <a:graphic>
          <a:graphicData uri="http://schemas.openxmlformats.org/drawingml/2006/table">
            <a:tbl>
              <a:tblPr firstRow="1" bandRow="1"/>
              <a:tblGrid>
                <a:gridCol w="1614418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79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3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9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BCFA4CC7-D7FE-B36E-55CF-C48A883E088D}"/>
              </a:ext>
            </a:extLst>
          </p:cNvPr>
          <p:cNvSpPr txBox="1"/>
          <p:nvPr/>
        </p:nvSpPr>
        <p:spPr>
          <a:xfrm>
            <a:off x="9834280" y="373986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BBAEDD-0E88-7F83-EA18-C48BF036CE6A}"/>
              </a:ext>
            </a:extLst>
          </p:cNvPr>
          <p:cNvSpPr txBox="1"/>
          <p:nvPr/>
        </p:nvSpPr>
        <p:spPr bwMode="gray">
          <a:xfrm>
            <a:off x="180218" y="2399585"/>
            <a:ext cx="210086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вважають, що місто Вінниця у найближчі два-три роки буде розвиватися у негативному напрямку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F8355E36-A225-5312-5ED0-37A0D4FA9D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6094237"/>
              </p:ext>
            </p:extLst>
          </p:nvPr>
        </p:nvGraphicFramePr>
        <p:xfrm>
          <a:off x="4032497" y="2653868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E715FFAC-A2FA-77BB-EBAE-90E2C19E3E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4063576"/>
              </p:ext>
            </p:extLst>
          </p:nvPr>
        </p:nvGraphicFramePr>
        <p:xfrm>
          <a:off x="5659906" y="2652133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E33868F8-4D2A-4FDE-0926-46E60651DA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8346054"/>
              </p:ext>
            </p:extLst>
          </p:nvPr>
        </p:nvGraphicFramePr>
        <p:xfrm>
          <a:off x="7267651" y="2648056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DB753181-4E32-7C0D-8C20-5D1250875F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3820143"/>
              </p:ext>
            </p:extLst>
          </p:nvPr>
        </p:nvGraphicFramePr>
        <p:xfrm>
          <a:off x="8904897" y="26463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5" name="Діаграма 34">
            <a:extLst>
              <a:ext uri="{FF2B5EF4-FFF2-40B4-BE49-F238E27FC236}">
                <a16:creationId xmlns:a16="http://schemas.microsoft.com/office/drawing/2014/main" id="{ACF88DC5-DF33-2627-A191-AD2D56795C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7456109"/>
              </p:ext>
            </p:extLst>
          </p:nvPr>
        </p:nvGraphicFramePr>
        <p:xfrm>
          <a:off x="10524101" y="26535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419769C-AEF5-ED91-2A53-E89F52B6D81B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848783-44DF-FBA1-CC8F-864B1F424914}"/>
              </a:ext>
            </a:extLst>
          </p:cNvPr>
          <p:cNvSpPr txBox="1"/>
          <p:nvPr/>
        </p:nvSpPr>
        <p:spPr>
          <a:xfrm>
            <a:off x="9976848" y="394143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62BEBC-1841-D7BC-99CF-D3DE2F02B2AF}"/>
              </a:ext>
            </a:extLst>
          </p:cNvPr>
          <p:cNvSpPr txBox="1"/>
          <p:nvPr/>
        </p:nvSpPr>
        <p:spPr>
          <a:xfrm>
            <a:off x="6284835" y="607994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2EF502-F245-C461-EF5D-4DB030CFFDD7}"/>
              </a:ext>
            </a:extLst>
          </p:cNvPr>
          <p:cNvSpPr txBox="1"/>
          <p:nvPr/>
        </p:nvSpPr>
        <p:spPr>
          <a:xfrm>
            <a:off x="8030061" y="520979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7712CA6-3699-727D-0F7E-E6E7A754EBB3}"/>
              </a:ext>
            </a:extLst>
          </p:cNvPr>
          <p:cNvSpPr txBox="1"/>
          <p:nvPr/>
        </p:nvSpPr>
        <p:spPr>
          <a:xfrm>
            <a:off x="11250126" y="437896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3AEF31-7C84-9F92-138F-C41E99F52117}"/>
              </a:ext>
            </a:extLst>
          </p:cNvPr>
          <p:cNvSpPr txBox="1"/>
          <p:nvPr/>
        </p:nvSpPr>
        <p:spPr>
          <a:xfrm>
            <a:off x="11569883" y="3724239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B033F8-DF66-8A41-F5DB-96EE92D7ECFD}"/>
              </a:ext>
            </a:extLst>
          </p:cNvPr>
          <p:cNvSpPr txBox="1"/>
          <p:nvPr/>
        </p:nvSpPr>
        <p:spPr>
          <a:xfrm>
            <a:off x="11545302" y="4171606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D44EAE-1007-B703-69DF-CB4342940D79}"/>
              </a:ext>
            </a:extLst>
          </p:cNvPr>
          <p:cNvSpPr txBox="1"/>
          <p:nvPr/>
        </p:nvSpPr>
        <p:spPr>
          <a:xfrm>
            <a:off x="9613263" y="5002431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68312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AB8D09-C978-520E-6CD9-FD7B0EE79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BF2D9A-9E6F-0B52-DE82-4FF6BC989A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BF2D9A-9E6F-0B52-DE82-4FF6BC989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27E7ED-9E9D-645E-89C0-8263C90FE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Бачення ідеального міста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608A778-42A9-C8AF-31F9-6C8E3D535A9A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66596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01034-E706-1069-63B5-9BD0438BA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89AB9B94-999D-C821-0E36-B96E6BED8C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879291"/>
              </p:ext>
            </p:extLst>
          </p:nvPr>
        </p:nvGraphicFramePr>
        <p:xfrm>
          <a:off x="19663" y="2211671"/>
          <a:ext cx="12160800" cy="4389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0364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857160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 / Безпе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форт / Комфортне / Затиш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9349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нене / Розвивається / Сучасне / Перспектив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825928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окійне / Тихе / Мирне / Без вій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4242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елене / Зелені зони / Екологі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600547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новаційне / Технологічне / Прогресивне / Креатив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974539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те / Доглянут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654208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раструктур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38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 можливостями (реалізації себе / розвитку / кар'єри / бізнес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17481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бота / Працевлаштування / Висока зарпла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92082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арне / Красиве / Приваблив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18448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45909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ильна економіка / Достаток / Благополучч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у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туп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ноорієнтоване</a:t>
                      </a:r>
                      <a:endParaRPr lang="uk-UA" sz="85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ікав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еньке / Невелике / Компакт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ктивне / </a:t>
                      </a:r>
                      <a:r>
                        <a:rPr lang="uk-UA" sz="85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райвове</a:t>
                      </a:r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Енергій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е / Дружнє / Позитив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віта / Навчальні заклади (якісні / доступн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лик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(добрі / позитивні / хорош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клюзивність</a:t>
                      </a:r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</a:t>
                      </a:r>
                      <a:r>
                        <a:rPr lang="uk-UA" sz="85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бар'єрність</a:t>
                      </a:r>
                      <a:endParaRPr lang="uk-UA" sz="85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ультура / Істор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лерант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 коруп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більність / Надій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Якісна охорона здоров'я / Медицин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DD2D2C-8DCA-4C09-9E1D-F8F28349C4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DD2D2C-8DCA-4C09-9E1D-F8F28349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7BEF90-09E0-B22D-B44E-6BCDF70B7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Бачення ідеального міст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43AEC0-6A8F-665A-D02E-A9521ED3FCFB}"/>
              </a:ext>
            </a:extLst>
          </p:cNvPr>
          <p:cNvSpPr txBox="1"/>
          <p:nvPr/>
        </p:nvSpPr>
        <p:spPr>
          <a:xfrm>
            <a:off x="6493974" y="6630780"/>
            <a:ext cx="5253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</a:t>
            </a: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23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Опишіть трьома словами місто, у якому Ви точно хотіли б жити. Яким має бути ідеальне для Вас місто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84B6B7-2A3C-F311-7DC4-704AE37292B2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2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BCB8DB82-2B13-DC99-B5E0-487B739491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846109"/>
              </p:ext>
            </p:extLst>
          </p:nvPr>
        </p:nvGraphicFramePr>
        <p:xfrm>
          <a:off x="3332919" y="6540347"/>
          <a:ext cx="8749300" cy="218225"/>
        </p:xfrm>
        <a:graphic>
          <a:graphicData uri="http://schemas.openxmlformats.org/drawingml/2006/table">
            <a:tbl>
              <a:tblPr firstRow="1" bandRow="1"/>
              <a:tblGrid>
                <a:gridCol w="1749860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749860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749860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749860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749860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877EC852-7035-CAEA-4631-7EAE9E7E64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3223414"/>
              </p:ext>
            </p:extLst>
          </p:nvPr>
        </p:nvGraphicFramePr>
        <p:xfrm>
          <a:off x="3323303" y="1916855"/>
          <a:ext cx="8860395" cy="253395"/>
        </p:xfrm>
        <a:graphic>
          <a:graphicData uri="http://schemas.openxmlformats.org/drawingml/2006/table">
            <a:tbl>
              <a:tblPr firstRow="1" bandRow="1"/>
              <a:tblGrid>
                <a:gridCol w="1772079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772079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772079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772079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772079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406FEA55-608E-7172-DDF1-A1879CA026CC}"/>
              </a:ext>
            </a:extLst>
          </p:cNvPr>
          <p:cNvSpPr txBox="1"/>
          <p:nvPr/>
        </p:nvSpPr>
        <p:spPr bwMode="gray">
          <a:xfrm>
            <a:off x="180218" y="199646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0C2563A-4D2B-9396-9E35-61E8F382635C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8700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Найчастіше згадуваними ознаками ідеального міста є безпека, комфорт, розвиток і сучасність. </a:t>
            </a:r>
            <a:r>
              <a:rPr lang="uk-UA" sz="1600" noProof="0" dirty="0" err="1"/>
              <a:t>Інноваційність</a:t>
            </a:r>
            <a:r>
              <a:rPr lang="uk-UA" sz="1600" dirty="0"/>
              <a:t> / креативність більше відгукується наймолодшій аудиторії 14-19 років. Розвинена інфраструктура є відносно більш важливою для аудиторії 30-35 років. Також для цієї групи важливо, щоб місто було </a:t>
            </a:r>
            <a:r>
              <a:rPr lang="uk-UA" sz="1600" dirty="0" err="1"/>
              <a:t>людиноорієнтованим</a:t>
            </a:r>
            <a:r>
              <a:rPr lang="uk-UA" sz="1600" dirty="0"/>
              <a:t>. Дозвілля є відносно більш актуальне для вікової групи 20-29 років</a:t>
            </a:r>
            <a:endParaRPr lang="uk-UA" sz="1600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9ED2A1-B84C-2942-508D-70D01B51BEA2}"/>
              </a:ext>
            </a:extLst>
          </p:cNvPr>
          <p:cNvSpPr txBox="1"/>
          <p:nvPr/>
        </p:nvSpPr>
        <p:spPr>
          <a:xfrm>
            <a:off x="59588" y="6462418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AB90F00E-E031-126C-F2F1-51FCCCD234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0897220"/>
              </p:ext>
            </p:extLst>
          </p:nvPr>
        </p:nvGraphicFramePr>
        <p:xfrm>
          <a:off x="3335309" y="2090333"/>
          <a:ext cx="154800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0" name="Диаграмма 16">
            <a:extLst>
              <a:ext uri="{FF2B5EF4-FFF2-40B4-BE49-F238E27FC236}">
                <a16:creationId xmlns:a16="http://schemas.microsoft.com/office/drawing/2014/main" id="{D7DDD414-5AAF-D539-ABAD-9E685A0028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7361247"/>
              </p:ext>
            </p:extLst>
          </p:nvPr>
        </p:nvGraphicFramePr>
        <p:xfrm>
          <a:off x="5091960" y="2092712"/>
          <a:ext cx="154800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Диаграмма 16">
            <a:extLst>
              <a:ext uri="{FF2B5EF4-FFF2-40B4-BE49-F238E27FC236}">
                <a16:creationId xmlns:a16="http://schemas.microsoft.com/office/drawing/2014/main" id="{087CE710-0A5A-1D28-51DF-45988A411D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3030663"/>
              </p:ext>
            </p:extLst>
          </p:nvPr>
        </p:nvGraphicFramePr>
        <p:xfrm>
          <a:off x="6878107" y="2095248"/>
          <a:ext cx="154800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6C4F7410-1A39-42A1-315D-43C86F8711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7614505"/>
              </p:ext>
            </p:extLst>
          </p:nvPr>
        </p:nvGraphicFramePr>
        <p:xfrm>
          <a:off x="8634759" y="2097627"/>
          <a:ext cx="154800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5" name="Диаграмма 16">
            <a:extLst>
              <a:ext uri="{FF2B5EF4-FFF2-40B4-BE49-F238E27FC236}">
                <a16:creationId xmlns:a16="http://schemas.microsoft.com/office/drawing/2014/main" id="{584D669C-7042-9D87-A400-A9DE2A2149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0450969"/>
              </p:ext>
            </p:extLst>
          </p:nvPr>
        </p:nvGraphicFramePr>
        <p:xfrm>
          <a:off x="10408464" y="2097627"/>
          <a:ext cx="154800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6C3595C-5896-7D80-C22E-1DB7C396CEEC}"/>
              </a:ext>
            </a:extLst>
          </p:cNvPr>
          <p:cNvSpPr txBox="1">
            <a:spLocks/>
          </p:cNvSpPr>
          <p:nvPr/>
        </p:nvSpPr>
        <p:spPr>
          <a:xfrm>
            <a:off x="1" y="1580099"/>
            <a:ext cx="12192000" cy="352244"/>
          </a:xfrm>
          <a:prstGeom prst="rect">
            <a:avLst/>
          </a:prstGeom>
        </p:spPr>
        <p:txBody>
          <a:bodyPr lIns="90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Ідеальне місто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98DD184-10E6-C8B3-AAEF-A1A52C831133}"/>
              </a:ext>
            </a:extLst>
          </p:cNvPr>
          <p:cNvSpPr txBox="1"/>
          <p:nvPr/>
        </p:nvSpPr>
        <p:spPr>
          <a:xfrm>
            <a:off x="5568448" y="6432817"/>
            <a:ext cx="597682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46FCE96-AE20-EDE1-017F-2D89950269EC}"/>
              </a:ext>
            </a:extLst>
          </p:cNvPr>
          <p:cNvSpPr txBox="1"/>
          <p:nvPr/>
        </p:nvSpPr>
        <p:spPr>
          <a:xfrm>
            <a:off x="7282693" y="369415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D9C10E8-0704-3C4C-8578-3C0613F1FB03}"/>
              </a:ext>
            </a:extLst>
          </p:cNvPr>
          <p:cNvSpPr txBox="1"/>
          <p:nvPr/>
        </p:nvSpPr>
        <p:spPr>
          <a:xfrm>
            <a:off x="5609183" y="630764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3E05FC3-26FE-CE87-20DF-72F59D0FC4A4}"/>
              </a:ext>
            </a:extLst>
          </p:cNvPr>
          <p:cNvSpPr txBox="1"/>
          <p:nvPr/>
        </p:nvSpPr>
        <p:spPr>
          <a:xfrm>
            <a:off x="9439566" y="2177752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949CAB-37E9-591A-310C-8CEBDD3C95BF}"/>
              </a:ext>
            </a:extLst>
          </p:cNvPr>
          <p:cNvSpPr txBox="1"/>
          <p:nvPr/>
        </p:nvSpPr>
        <p:spPr>
          <a:xfrm>
            <a:off x="8990182" y="3691765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7BE7C71-35F6-BF6D-9497-D5C44593CB70}"/>
              </a:ext>
            </a:extLst>
          </p:cNvPr>
          <p:cNvSpPr txBox="1"/>
          <p:nvPr/>
        </p:nvSpPr>
        <p:spPr>
          <a:xfrm>
            <a:off x="5580292" y="2869110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A1CA7B-88F1-9969-4157-D1F71C4D27D0}"/>
              </a:ext>
            </a:extLst>
          </p:cNvPr>
          <p:cNvSpPr txBox="1"/>
          <p:nvPr/>
        </p:nvSpPr>
        <p:spPr>
          <a:xfrm>
            <a:off x="7369112" y="6296144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1C04169-ED8A-8001-C937-20AD3B064605}"/>
              </a:ext>
            </a:extLst>
          </p:cNvPr>
          <p:cNvSpPr txBox="1"/>
          <p:nvPr/>
        </p:nvSpPr>
        <p:spPr>
          <a:xfrm>
            <a:off x="9374426" y="231921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A69727-A74F-8A04-D304-4B5EF5AB8D84}"/>
              </a:ext>
            </a:extLst>
          </p:cNvPr>
          <p:cNvSpPr txBox="1"/>
          <p:nvPr/>
        </p:nvSpPr>
        <p:spPr>
          <a:xfrm>
            <a:off x="8912200" y="451979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4476ACC-E840-7D84-884E-DD8E6AE19896}"/>
              </a:ext>
            </a:extLst>
          </p:cNvPr>
          <p:cNvSpPr txBox="1"/>
          <p:nvPr/>
        </p:nvSpPr>
        <p:spPr>
          <a:xfrm>
            <a:off x="11259992" y="2169379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23458DB-0471-AA5E-D07F-FBA0F92C4E47}"/>
              </a:ext>
            </a:extLst>
          </p:cNvPr>
          <p:cNvSpPr txBox="1"/>
          <p:nvPr/>
        </p:nvSpPr>
        <p:spPr>
          <a:xfrm>
            <a:off x="11112790" y="232925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67B398-C056-0D01-9BDF-DF62935E0B66}"/>
              </a:ext>
            </a:extLst>
          </p:cNvPr>
          <p:cNvSpPr txBox="1"/>
          <p:nvPr/>
        </p:nvSpPr>
        <p:spPr>
          <a:xfrm>
            <a:off x="10837962" y="3144069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5326B0-7353-673C-941A-5A06D4B1BEFC}"/>
              </a:ext>
            </a:extLst>
          </p:cNvPr>
          <p:cNvSpPr txBox="1"/>
          <p:nvPr/>
        </p:nvSpPr>
        <p:spPr>
          <a:xfrm>
            <a:off x="10668815" y="4241014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7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8B49C85-DDE7-D6A4-F41E-806096BCDA01}"/>
              </a:ext>
            </a:extLst>
          </p:cNvPr>
          <p:cNvSpPr txBox="1"/>
          <p:nvPr/>
        </p:nvSpPr>
        <p:spPr>
          <a:xfrm>
            <a:off x="10670662" y="370588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09059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611F56-03A7-D469-E3DF-020451DF9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F7784E-7542-4257-09B1-156531F222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F7784E-7542-4257-09B1-156531F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D86038-F6E3-D196-2E8C-A5C9C9E52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Наміри виїхати з міста Вінниця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8BD32D7A-F39D-4162-5A65-7B7661A10EE7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11928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0C99C0-2AB3-06D0-05FE-C58AB78BA5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9A27B06-FB03-5E31-BBC6-0F35BC9488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A27B06-FB03-5E31-BBC6-0F35BC9488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23ABFA-3BA7-769C-37FC-1E34387C9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ереїзд у інше місто Україн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2342B5-1CD4-6117-D406-E28C5FED89B6}"/>
              </a:ext>
            </a:extLst>
          </p:cNvPr>
          <p:cNvSpPr txBox="1"/>
          <p:nvPr/>
        </p:nvSpPr>
        <p:spPr>
          <a:xfrm>
            <a:off x="7561006" y="6620950"/>
            <a:ext cx="418625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16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Чи плануєте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у майбутньому переїхати жити у інше місто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У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країни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BF0008-3951-16AD-DD68-4D3DC7BDB7AB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8E1B5090-41CB-1DA8-856B-A1DACA7104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885821"/>
              </p:ext>
            </p:extLst>
          </p:nvPr>
        </p:nvGraphicFramePr>
        <p:xfrm>
          <a:off x="39329" y="2821265"/>
          <a:ext cx="12142312" cy="31665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1729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10225022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днозначно так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іше так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 так, і 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іше 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днозначно 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29AC25BD-BD6A-C476-B17A-1029344569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0028212"/>
              </p:ext>
            </p:extLst>
          </p:nvPr>
        </p:nvGraphicFramePr>
        <p:xfrm>
          <a:off x="1988289" y="2729423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9DFD021F-FF56-47E1-6807-9A6D9CE97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250114"/>
              </p:ext>
            </p:extLst>
          </p:nvPr>
        </p:nvGraphicFramePr>
        <p:xfrm>
          <a:off x="1956619" y="2536281"/>
          <a:ext cx="10187750" cy="281811"/>
        </p:xfrm>
        <a:graphic>
          <a:graphicData uri="http://schemas.openxmlformats.org/drawingml/2006/table">
            <a:tbl>
              <a:tblPr firstRow="1" bandRow="1"/>
              <a:tblGrid>
                <a:gridCol w="203755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3755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3755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3755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2037550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E1D13702-3EFE-AAFA-B8D4-318D39181AF1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Наміри у майбутньому переїхати жити у інше місто України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2F7A9903-BC9C-A1F6-2E7F-E9E9E124C5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1936349"/>
              </p:ext>
            </p:extLst>
          </p:nvPr>
        </p:nvGraphicFramePr>
        <p:xfrm>
          <a:off x="4022213" y="2732275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A7175175-B53D-07D2-0D9A-1C19037EE2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253493"/>
              </p:ext>
            </p:extLst>
          </p:nvPr>
        </p:nvGraphicFramePr>
        <p:xfrm>
          <a:off x="6046983" y="2726571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AE372C78-4A06-450E-5CAF-8BD2F64E68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4529992"/>
              </p:ext>
            </p:extLst>
          </p:nvPr>
        </p:nvGraphicFramePr>
        <p:xfrm>
          <a:off x="8100567" y="2729423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5CA12E49-601A-D605-6C50-BC638D14C9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5864301"/>
              </p:ext>
            </p:extLst>
          </p:nvPr>
        </p:nvGraphicFramePr>
        <p:xfrm>
          <a:off x="10127238" y="2726571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D1746E1-486B-AE36-6BFA-768DFBFCE315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Більше половини (58%) усіх опитаних не схильні до переїзду з Вінниці у інше місто України. Ця частка є вищою у віковій групі 30-35 років. Ризики відтоку молоді є найбільшими у віковій групі 14-19 років, найменшими – у віковій групі 30-35 років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308ABE9-F5D9-C311-F0C2-A2833565AE96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8995A001-C2B6-1DF2-98F9-1749A42CF0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1846563"/>
              </p:ext>
            </p:extLst>
          </p:nvPr>
        </p:nvGraphicFramePr>
        <p:xfrm>
          <a:off x="1917290" y="5951375"/>
          <a:ext cx="10166360" cy="218225"/>
        </p:xfrm>
        <a:graphic>
          <a:graphicData uri="http://schemas.openxmlformats.org/drawingml/2006/table">
            <a:tbl>
              <a:tblPr firstRow="1" bandRow="1"/>
              <a:tblGrid>
                <a:gridCol w="2033272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33272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33272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33272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2033272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D20F8B6B-7D37-A019-43A9-0E40E7472CCC}"/>
              </a:ext>
            </a:extLst>
          </p:cNvPr>
          <p:cNvSpPr txBox="1"/>
          <p:nvPr/>
        </p:nvSpPr>
        <p:spPr>
          <a:xfrm>
            <a:off x="11019688" y="454876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9732DC-5A68-7ACB-E1CE-70D9BC6340FC}"/>
              </a:ext>
            </a:extLst>
          </p:cNvPr>
          <p:cNvSpPr txBox="1"/>
          <p:nvPr/>
        </p:nvSpPr>
        <p:spPr bwMode="gray">
          <a:xfrm>
            <a:off x="180218" y="253723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3245B1-1DA0-AAC6-F545-593E77D62672}"/>
              </a:ext>
            </a:extLst>
          </p:cNvPr>
          <p:cNvSpPr txBox="1"/>
          <p:nvPr/>
        </p:nvSpPr>
        <p:spPr>
          <a:xfrm>
            <a:off x="4659182" y="5612724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6795F1-E99F-3C9A-18FF-FF6A59AA6E51}"/>
              </a:ext>
            </a:extLst>
          </p:cNvPr>
          <p:cNvSpPr txBox="1"/>
          <p:nvPr/>
        </p:nvSpPr>
        <p:spPr>
          <a:xfrm>
            <a:off x="8768101" y="5083863"/>
            <a:ext cx="50275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A5BBD8-49E9-3F38-8A10-1836CC3230F7}"/>
              </a:ext>
            </a:extLst>
          </p:cNvPr>
          <p:cNvSpPr txBox="1"/>
          <p:nvPr/>
        </p:nvSpPr>
        <p:spPr>
          <a:xfrm>
            <a:off x="8989327" y="455367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23AAEF2-F0F1-10F2-120E-FEDFDE646751}"/>
              </a:ext>
            </a:extLst>
          </p:cNvPr>
          <p:cNvSpPr txBox="1"/>
          <p:nvPr/>
        </p:nvSpPr>
        <p:spPr>
          <a:xfrm>
            <a:off x="6890140" y="455859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F8D668-4F1E-B681-784D-64BA36427071}"/>
              </a:ext>
            </a:extLst>
          </p:cNvPr>
          <p:cNvSpPr txBox="1"/>
          <p:nvPr/>
        </p:nvSpPr>
        <p:spPr>
          <a:xfrm>
            <a:off x="4545147" y="350162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5B0DA02-5950-A535-6B13-6A39482562D5}"/>
              </a:ext>
            </a:extLst>
          </p:cNvPr>
          <p:cNvSpPr txBox="1"/>
          <p:nvPr/>
        </p:nvSpPr>
        <p:spPr>
          <a:xfrm>
            <a:off x="4786037" y="402765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1B9A6A1-AA30-21CC-5B01-0A9322A5900E}"/>
              </a:ext>
            </a:extLst>
          </p:cNvPr>
          <p:cNvSpPr txBox="1"/>
          <p:nvPr/>
        </p:nvSpPr>
        <p:spPr>
          <a:xfrm>
            <a:off x="6737741" y="404239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3C6923F-6E70-E7CE-B215-F5C7F243C187}"/>
              </a:ext>
            </a:extLst>
          </p:cNvPr>
          <p:cNvSpPr txBox="1"/>
          <p:nvPr/>
        </p:nvSpPr>
        <p:spPr>
          <a:xfrm>
            <a:off x="8758270" y="404731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86D6CF3-E6BB-DEB8-F999-9D7A7C3DE9DE}"/>
              </a:ext>
            </a:extLst>
          </p:cNvPr>
          <p:cNvSpPr txBox="1"/>
          <p:nvPr/>
        </p:nvSpPr>
        <p:spPr>
          <a:xfrm>
            <a:off x="6571556" y="5607807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D246C37-0F9F-F6BF-13C0-DF240FB075CE}"/>
              </a:ext>
            </a:extLst>
          </p:cNvPr>
          <p:cNvSpPr txBox="1"/>
          <p:nvPr/>
        </p:nvSpPr>
        <p:spPr>
          <a:xfrm>
            <a:off x="10995107" y="5088779"/>
            <a:ext cx="587293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8853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DB713-950F-DCF1-515A-DC78AAA34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6B52EFC-F8A8-B1D5-1E56-3418937273BE}"/>
              </a:ext>
            </a:extLst>
          </p:cNvPr>
          <p:cNvSpPr txBox="1"/>
          <p:nvPr/>
        </p:nvSpPr>
        <p:spPr>
          <a:xfrm>
            <a:off x="8021813" y="6620950"/>
            <a:ext cx="37254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17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і причини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шого наміру переїхати жити у інше місто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У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країни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A0E19D-3067-1EE7-1206-67300809A1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A0E19D-3067-1EE7-1206-67300809A1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6A77C3-F074-764F-7FDA-0B7A8B2A3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ричини переїзду у інше місто України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E71C5A-14DA-6B4D-18FD-BEE3D2754E48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CCB1670B-117F-23AC-2A89-93B413470D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4876880"/>
              </p:ext>
            </p:extLst>
          </p:nvPr>
        </p:nvGraphicFramePr>
        <p:xfrm>
          <a:off x="39329" y="3322701"/>
          <a:ext cx="12142312" cy="29699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роби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більше можливостей для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бити кар’єру у великих компанія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більш комфортне житт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найти кращу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велик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 іншому місті живуть близькі Вам лю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римати якісн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бити кар’єру у державному управлін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4749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38B43296-270E-0D63-A863-AA0A00BFD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4150569"/>
              </p:ext>
            </p:extLst>
          </p:nvPr>
        </p:nvGraphicFramePr>
        <p:xfrm>
          <a:off x="4043234" y="3240694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228D73E4-2AD9-8CDD-BC61-F807B7A30C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588520"/>
              </p:ext>
            </p:extLst>
          </p:nvPr>
        </p:nvGraphicFramePr>
        <p:xfrm>
          <a:off x="4041058" y="2359300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093AB3A9-89BB-6C8A-25FB-F8D0870D5F7A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Причини наміру переїхати жити у інше місто України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8D7C1F6D-B660-D23D-7A68-C0EDEDCCFC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2739491"/>
              </p:ext>
            </p:extLst>
          </p:nvPr>
        </p:nvGraphicFramePr>
        <p:xfrm>
          <a:off x="5654368" y="3243546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DAD4942A-695F-E05E-21A4-2DF0FDF24B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4353013"/>
              </p:ext>
            </p:extLst>
          </p:nvPr>
        </p:nvGraphicFramePr>
        <p:xfrm>
          <a:off x="7285848" y="3237842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34F41F23-E0FD-B2CC-8DB3-EBE0329B63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9980845"/>
              </p:ext>
            </p:extLst>
          </p:nvPr>
        </p:nvGraphicFramePr>
        <p:xfrm>
          <a:off x="8916644" y="3240694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2751D743-2AD6-BD61-4444-9BA661BFB8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2476161"/>
              </p:ext>
            </p:extLst>
          </p:nvPr>
        </p:nvGraphicFramePr>
        <p:xfrm>
          <a:off x="10530361" y="3237842"/>
          <a:ext cx="1548000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FB68B2B-BC4A-83B6-596E-F97B9AF9883C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Причинами переїзду у інше місто України є прагнення задовольнити цінності гедонізму і статусу: заробити багато грошей, мати більше можливостей для дозвілля, зробити кар’єру у великій компанії. Молодь у віці 20-24 роки прагне жити у великому місті. </a:t>
            </a:r>
            <a:r>
              <a:rPr lang="uk-UA" sz="1600" dirty="0"/>
              <a:t>Люди 30-35 років прагнуть до більш комфортного життя та розвитку власного бізнесу. Вираженою причиною переїзду для наймолодшої групи 14-19 років є прагнення отримати якісну освіту.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C96AE8-C80A-44D0-16EB-BE09E255FFFD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0EEE429C-1F27-D84A-D8DD-1799940A8C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8438387"/>
              </p:ext>
            </p:extLst>
          </p:nvPr>
        </p:nvGraphicFramePr>
        <p:xfrm>
          <a:off x="4011562" y="6295500"/>
          <a:ext cx="8072090" cy="218225"/>
        </p:xfrm>
        <a:graphic>
          <a:graphicData uri="http://schemas.openxmlformats.org/drawingml/2006/table">
            <a:tbl>
              <a:tblPr firstRow="1" bandRow="1"/>
              <a:tblGrid>
                <a:gridCol w="1614418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197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8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1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A92D0C7-B7F1-D047-4034-5E71963D4893}"/>
              </a:ext>
            </a:extLst>
          </p:cNvPr>
          <p:cNvSpPr txBox="1"/>
          <p:nvPr/>
        </p:nvSpPr>
        <p:spPr bwMode="gray">
          <a:xfrm>
            <a:off x="180217" y="2399585"/>
            <a:ext cx="23958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планують у майбутньому переїхати жити у інше місто України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0265BF33-1F3E-C348-359A-84DE49B36E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4251578"/>
              </p:ext>
            </p:extLst>
          </p:nvPr>
        </p:nvGraphicFramePr>
        <p:xfrm>
          <a:off x="4032497" y="2653868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4712E676-34F1-BD33-29AA-0D64D430E6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5940341"/>
              </p:ext>
            </p:extLst>
          </p:nvPr>
        </p:nvGraphicFramePr>
        <p:xfrm>
          <a:off x="5659906" y="2652133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8135F7BA-EC96-F0E8-1B8E-E16C853EDB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4267051"/>
              </p:ext>
            </p:extLst>
          </p:nvPr>
        </p:nvGraphicFramePr>
        <p:xfrm>
          <a:off x="7267651" y="2648056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5B7C94A9-AF41-05E3-22C8-C8CA6D0576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2424022"/>
              </p:ext>
            </p:extLst>
          </p:nvPr>
        </p:nvGraphicFramePr>
        <p:xfrm>
          <a:off x="8904897" y="26463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5" name="Діаграма 34">
            <a:extLst>
              <a:ext uri="{FF2B5EF4-FFF2-40B4-BE49-F238E27FC236}">
                <a16:creationId xmlns:a16="http://schemas.microsoft.com/office/drawing/2014/main" id="{DFA3BB37-E531-2AB7-33B6-81C5EB2BA7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975767"/>
              </p:ext>
            </p:extLst>
          </p:nvPr>
        </p:nvGraphicFramePr>
        <p:xfrm>
          <a:off x="10524101" y="26535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4F03ED48-D1A3-3A76-88C4-9FD110A4C7F8}"/>
              </a:ext>
            </a:extLst>
          </p:cNvPr>
          <p:cNvSpPr txBox="1"/>
          <p:nvPr/>
        </p:nvSpPr>
        <p:spPr>
          <a:xfrm>
            <a:off x="9571525" y="290419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0FA0A6-3DE8-3AF2-1A50-E30DA4EE3520}"/>
              </a:ext>
            </a:extLst>
          </p:cNvPr>
          <p:cNvSpPr txBox="1"/>
          <p:nvPr/>
        </p:nvSpPr>
        <p:spPr>
          <a:xfrm>
            <a:off x="8023698" y="5062783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88194A-E611-C963-B348-24E1C59BB691}"/>
              </a:ext>
            </a:extLst>
          </p:cNvPr>
          <p:cNvSpPr txBox="1"/>
          <p:nvPr/>
        </p:nvSpPr>
        <p:spPr>
          <a:xfrm>
            <a:off x="7904957" y="290910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4E838C0-F57A-90CC-F553-D486FE0C62F0}"/>
              </a:ext>
            </a:extLst>
          </p:cNvPr>
          <p:cNvSpPr txBox="1"/>
          <p:nvPr/>
        </p:nvSpPr>
        <p:spPr>
          <a:xfrm>
            <a:off x="6178382" y="2972704"/>
            <a:ext cx="464262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438C1E3-EC6F-1882-29BD-D80E3E54EB8A}"/>
              </a:ext>
            </a:extLst>
          </p:cNvPr>
          <p:cNvSpPr txBox="1"/>
          <p:nvPr/>
        </p:nvSpPr>
        <p:spPr>
          <a:xfrm>
            <a:off x="6317615" y="407177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01CC056-BE4B-DF92-09CB-B6EF6F83C65F}"/>
              </a:ext>
            </a:extLst>
          </p:cNvPr>
          <p:cNvSpPr txBox="1"/>
          <p:nvPr/>
        </p:nvSpPr>
        <p:spPr>
          <a:xfrm>
            <a:off x="6352027" y="432249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6840291-56C3-484A-9C79-0A068D867922}"/>
              </a:ext>
            </a:extLst>
          </p:cNvPr>
          <p:cNvSpPr txBox="1"/>
          <p:nvPr/>
        </p:nvSpPr>
        <p:spPr>
          <a:xfrm>
            <a:off x="9631085" y="407177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D481932-FD25-9D56-8FD6-113A2A05D9FE}"/>
              </a:ext>
            </a:extLst>
          </p:cNvPr>
          <p:cNvSpPr txBox="1"/>
          <p:nvPr/>
        </p:nvSpPr>
        <p:spPr>
          <a:xfrm>
            <a:off x="9616336" y="433232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42213F0-FB0C-5021-118C-A1D5324EBEB9}"/>
              </a:ext>
            </a:extLst>
          </p:cNvPr>
          <p:cNvSpPr txBox="1"/>
          <p:nvPr/>
        </p:nvSpPr>
        <p:spPr>
          <a:xfrm>
            <a:off x="9631084" y="456338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DD1164B-50EC-F873-4058-73DF89C292AD}"/>
              </a:ext>
            </a:extLst>
          </p:cNvPr>
          <p:cNvSpPr txBox="1"/>
          <p:nvPr/>
        </p:nvSpPr>
        <p:spPr>
          <a:xfrm>
            <a:off x="8053007" y="456830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7544113-306E-A768-8BDA-2BCEB3B9CA4E}"/>
              </a:ext>
            </a:extLst>
          </p:cNvPr>
          <p:cNvSpPr txBox="1"/>
          <p:nvPr/>
        </p:nvSpPr>
        <p:spPr>
          <a:xfrm>
            <a:off x="7615471" y="579241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637DC1D-1DE2-5A44-6255-D2D0A9A48D80}"/>
              </a:ext>
            </a:extLst>
          </p:cNvPr>
          <p:cNvSpPr txBox="1"/>
          <p:nvPr/>
        </p:nvSpPr>
        <p:spPr>
          <a:xfrm>
            <a:off x="11238658" y="481410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C4E6442-EC1A-1D75-96E7-9D3B275F500C}"/>
              </a:ext>
            </a:extLst>
          </p:cNvPr>
          <p:cNvSpPr txBox="1"/>
          <p:nvPr/>
        </p:nvSpPr>
        <p:spPr>
          <a:xfrm>
            <a:off x="10987936" y="580225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B0700E8-049A-54DC-3082-D2EE63E65FB7}"/>
              </a:ext>
            </a:extLst>
          </p:cNvPr>
          <p:cNvSpPr txBox="1"/>
          <p:nvPr/>
        </p:nvSpPr>
        <p:spPr>
          <a:xfrm>
            <a:off x="11179665" y="505991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F239C8D-4978-971A-E176-2C8F0E14BBE6}"/>
              </a:ext>
            </a:extLst>
          </p:cNvPr>
          <p:cNvSpPr txBox="1"/>
          <p:nvPr/>
        </p:nvSpPr>
        <p:spPr>
          <a:xfrm>
            <a:off x="11287821" y="409635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3C9FAF0-E62C-2290-A6F8-A733D7F0FCF4}"/>
              </a:ext>
            </a:extLst>
          </p:cNvPr>
          <p:cNvSpPr txBox="1"/>
          <p:nvPr/>
        </p:nvSpPr>
        <p:spPr>
          <a:xfrm>
            <a:off x="9232877" y="582683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A462DFE-6136-42FE-AAFE-E8EC524316F2}"/>
              </a:ext>
            </a:extLst>
          </p:cNvPr>
          <p:cNvSpPr txBox="1"/>
          <p:nvPr/>
        </p:nvSpPr>
        <p:spPr>
          <a:xfrm>
            <a:off x="6253032" y="5315474"/>
            <a:ext cx="590219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51831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3B44A2-416E-9D06-673B-5FCAEADE9F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C713BE2-9D2C-0663-0BDC-2196DAE29AD8}"/>
              </a:ext>
            </a:extLst>
          </p:cNvPr>
          <p:cNvSpPr txBox="1"/>
          <p:nvPr/>
        </p:nvSpPr>
        <p:spPr>
          <a:xfrm>
            <a:off x="9033473" y="6620950"/>
            <a:ext cx="27137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18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До якого міста України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хотіли б переїхати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853D7EA-1D34-1D57-B556-7EF71BB366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53D7EA-1D34-1D57-B556-7EF71BB36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821E9EC-757A-900C-B49D-F64AAEECD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Місто України, куди хотіли б переїхати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13B46C-6868-5EF5-1038-469264A0675C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F59E8F93-8B62-0495-E900-0C21C69BDC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7667999"/>
              </p:ext>
            </p:extLst>
          </p:nvPr>
        </p:nvGraphicFramePr>
        <p:xfrm>
          <a:off x="39329" y="3539005"/>
          <a:ext cx="12142312" cy="25046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3161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1056915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5780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иї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5780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ьв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35780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дес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35780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ар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35780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вано-Франківськ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35780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5780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456D4E48-7754-B0F9-8E8D-E5B0F0CE84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3623833"/>
              </p:ext>
            </p:extLst>
          </p:nvPr>
        </p:nvGraphicFramePr>
        <p:xfrm>
          <a:off x="1634327" y="3466828"/>
          <a:ext cx="1980000" cy="26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74FBFD02-2A78-B4F6-F76D-AB7572AB50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171699"/>
              </p:ext>
            </p:extLst>
          </p:nvPr>
        </p:nvGraphicFramePr>
        <p:xfrm>
          <a:off x="1582994" y="2447788"/>
          <a:ext cx="10561375" cy="281811"/>
        </p:xfrm>
        <a:graphic>
          <a:graphicData uri="http://schemas.openxmlformats.org/drawingml/2006/table">
            <a:tbl>
              <a:tblPr firstRow="1" bandRow="1"/>
              <a:tblGrid>
                <a:gridCol w="211227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11227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1227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1227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2112275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462CB30D-2476-EB65-AD63-4C8409B4AC8F}"/>
              </a:ext>
            </a:extLst>
          </p:cNvPr>
          <p:cNvSpPr txBox="1">
            <a:spLocks/>
          </p:cNvSpPr>
          <p:nvPr/>
        </p:nvSpPr>
        <p:spPr>
          <a:xfrm>
            <a:off x="1" y="2113296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Місто України, куди хотіли б переїхати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DF9A4264-1A33-B2DA-1724-4783F0D398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2456861"/>
              </p:ext>
            </p:extLst>
          </p:nvPr>
        </p:nvGraphicFramePr>
        <p:xfrm>
          <a:off x="3707578" y="3469680"/>
          <a:ext cx="1980000" cy="26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F6515BC5-0FEF-06DB-50F4-C9F28EB2A6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6103165"/>
              </p:ext>
            </p:extLst>
          </p:nvPr>
        </p:nvGraphicFramePr>
        <p:xfrm>
          <a:off x="5820838" y="3463976"/>
          <a:ext cx="1980000" cy="26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5A0668B2-0C68-5FC7-5BFD-FDBE7338EF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6072973"/>
              </p:ext>
            </p:extLst>
          </p:nvPr>
        </p:nvGraphicFramePr>
        <p:xfrm>
          <a:off x="7972744" y="3466828"/>
          <a:ext cx="1980000" cy="26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EF5E891D-6F1A-1EBF-E6A3-9F8BBD2757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1062638"/>
              </p:ext>
            </p:extLst>
          </p:nvPr>
        </p:nvGraphicFramePr>
        <p:xfrm>
          <a:off x="10058410" y="3463976"/>
          <a:ext cx="1980000" cy="26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C03E6E7-445F-93D2-6C81-667EAA4476EA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Близько половини опитаних – 46% - відповіли про бажання переїхати до Києва. Ця частка є найвищою у віковій групі 14-19 років і далі зменшується з віком. Для групи 20-24 роки альтернативою є переїзд до Львова, для групи 25-29 років — переїзд до Львова або Одеси. Група 30-35 років найменше розглядає переїзд до Києва, натомість альтернативами є переїзд до Харкова, Львова або Одеси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6FE2FB-C31C-EB2B-3E47-4DA261E6BD10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BC0AB36D-4466-BDF0-185F-7FBA99D8DB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987492"/>
              </p:ext>
            </p:extLst>
          </p:nvPr>
        </p:nvGraphicFramePr>
        <p:xfrm>
          <a:off x="1562968" y="6059520"/>
          <a:ext cx="10520685" cy="218225"/>
        </p:xfrm>
        <a:graphic>
          <a:graphicData uri="http://schemas.openxmlformats.org/drawingml/2006/table">
            <a:tbl>
              <a:tblPr firstRow="1" bandRow="1"/>
              <a:tblGrid>
                <a:gridCol w="2104137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104137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104137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104137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2104137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197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8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1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24BBD8BB-40CC-0E2D-028C-1BA2F4A7E57F}"/>
              </a:ext>
            </a:extLst>
          </p:cNvPr>
          <p:cNvSpPr txBox="1"/>
          <p:nvPr/>
        </p:nvSpPr>
        <p:spPr bwMode="gray">
          <a:xfrm>
            <a:off x="180217" y="2488073"/>
            <a:ext cx="140277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планують у майбутньому переїхати жити у інше місто України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EB6E3171-2CF7-9438-EA71-C4FB2B7E00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2792744"/>
              </p:ext>
            </p:extLst>
          </p:nvPr>
        </p:nvGraphicFramePr>
        <p:xfrm>
          <a:off x="1181146" y="2742356"/>
          <a:ext cx="1802401" cy="726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C552E97A-CB29-67AF-80BC-335CBF5865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5080165"/>
              </p:ext>
            </p:extLst>
          </p:nvPr>
        </p:nvGraphicFramePr>
        <p:xfrm>
          <a:off x="3310001" y="2740621"/>
          <a:ext cx="1802401" cy="726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60C05D32-B802-F95D-119F-D2BDC8F87E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5045384"/>
              </p:ext>
            </p:extLst>
          </p:nvPr>
        </p:nvGraphicFramePr>
        <p:xfrm>
          <a:off x="5429022" y="2736544"/>
          <a:ext cx="1802401" cy="726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9761D4B5-02FD-028D-B221-776AA611F0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082761"/>
              </p:ext>
            </p:extLst>
          </p:nvPr>
        </p:nvGraphicFramePr>
        <p:xfrm>
          <a:off x="7548048" y="2734809"/>
          <a:ext cx="1802401" cy="726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5" name="Діаграма 34">
            <a:extLst>
              <a:ext uri="{FF2B5EF4-FFF2-40B4-BE49-F238E27FC236}">
                <a16:creationId xmlns:a16="http://schemas.microsoft.com/office/drawing/2014/main" id="{107C9671-1448-C5EB-3AB4-AEA9A64FED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1607305"/>
              </p:ext>
            </p:extLst>
          </p:nvPr>
        </p:nvGraphicFramePr>
        <p:xfrm>
          <a:off x="9658864" y="2742009"/>
          <a:ext cx="1802401" cy="726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E6AC7DF1-D405-F981-1FA2-D66A21F6A2B6}"/>
              </a:ext>
            </a:extLst>
          </p:cNvPr>
          <p:cNvSpPr txBox="1"/>
          <p:nvPr/>
        </p:nvSpPr>
        <p:spPr>
          <a:xfrm>
            <a:off x="8519477" y="303201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44F56F-B132-E00D-6940-2E65C98D7E61}"/>
              </a:ext>
            </a:extLst>
          </p:cNvPr>
          <p:cNvSpPr txBox="1"/>
          <p:nvPr/>
        </p:nvSpPr>
        <p:spPr>
          <a:xfrm>
            <a:off x="6371129" y="305659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8C386A8-D8B0-9036-9FF0-0AFE2B83B66B}"/>
              </a:ext>
            </a:extLst>
          </p:cNvPr>
          <p:cNvSpPr txBox="1"/>
          <p:nvPr/>
        </p:nvSpPr>
        <p:spPr>
          <a:xfrm>
            <a:off x="4133278" y="3110353"/>
            <a:ext cx="464262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88EF495-660E-53F1-0F32-C2ED4084BEAD}"/>
              </a:ext>
            </a:extLst>
          </p:cNvPr>
          <p:cNvSpPr txBox="1"/>
          <p:nvPr/>
        </p:nvSpPr>
        <p:spPr>
          <a:xfrm>
            <a:off x="4818467" y="361609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4E973F3-CED1-6A8B-302F-7B14AE43EA51}"/>
              </a:ext>
            </a:extLst>
          </p:cNvPr>
          <p:cNvSpPr txBox="1"/>
          <p:nvPr/>
        </p:nvSpPr>
        <p:spPr>
          <a:xfrm>
            <a:off x="10620840" y="467581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BE9B69B-26ED-6826-67FD-2E187F990768}"/>
              </a:ext>
            </a:extLst>
          </p:cNvPr>
          <p:cNvSpPr txBox="1"/>
          <p:nvPr/>
        </p:nvSpPr>
        <p:spPr>
          <a:xfrm>
            <a:off x="4395681" y="576966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5E0434-123A-641D-6E51-0D991AACE5F8}"/>
              </a:ext>
            </a:extLst>
          </p:cNvPr>
          <p:cNvSpPr txBox="1"/>
          <p:nvPr/>
        </p:nvSpPr>
        <p:spPr>
          <a:xfrm>
            <a:off x="8708465" y="397280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84A11-991B-9925-8656-DF0230F53EF2}"/>
              </a:ext>
            </a:extLst>
          </p:cNvPr>
          <p:cNvSpPr txBox="1"/>
          <p:nvPr/>
        </p:nvSpPr>
        <p:spPr>
          <a:xfrm>
            <a:off x="8585562" y="433168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30D80C-6228-269F-7477-93E20C6C877A}"/>
              </a:ext>
            </a:extLst>
          </p:cNvPr>
          <p:cNvSpPr txBox="1"/>
          <p:nvPr/>
        </p:nvSpPr>
        <p:spPr>
          <a:xfrm>
            <a:off x="6447046" y="396297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5291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289531-0954-66B0-8EB6-E51C641ABB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4B8608F-5025-F030-6835-CF754DA518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8608F-5025-F030-6835-CF754DA51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92A2C4-C00B-9E43-E402-E8C65FD30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ереїзд за кордон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4C668C-704B-CAC1-7F7F-73CC32301DC0}"/>
              </a:ext>
            </a:extLst>
          </p:cNvPr>
          <p:cNvSpPr txBox="1"/>
          <p:nvPr/>
        </p:nvSpPr>
        <p:spPr>
          <a:xfrm>
            <a:off x="8219768" y="6620950"/>
            <a:ext cx="352749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19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Чи плануєте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у майбутньому переїхати жити за кордон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C68ADB-D456-5B66-E22D-4AC7FD46BDE2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67A17A51-8478-B2F1-5197-410090AD0D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940693"/>
              </p:ext>
            </p:extLst>
          </p:nvPr>
        </p:nvGraphicFramePr>
        <p:xfrm>
          <a:off x="39329" y="2821265"/>
          <a:ext cx="12142312" cy="31665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1729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10225022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днозначно так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іше так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 так, і 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іше 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днозначно 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1B7AEC41-85DC-759D-054E-4B9DE5271A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6371746"/>
              </p:ext>
            </p:extLst>
          </p:nvPr>
        </p:nvGraphicFramePr>
        <p:xfrm>
          <a:off x="1988289" y="2729423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97C19922-A468-63D4-EF55-31A193CE10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487484"/>
              </p:ext>
            </p:extLst>
          </p:nvPr>
        </p:nvGraphicFramePr>
        <p:xfrm>
          <a:off x="1956619" y="2536281"/>
          <a:ext cx="10187750" cy="281811"/>
        </p:xfrm>
        <a:graphic>
          <a:graphicData uri="http://schemas.openxmlformats.org/drawingml/2006/table">
            <a:tbl>
              <a:tblPr firstRow="1" bandRow="1"/>
              <a:tblGrid>
                <a:gridCol w="203755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3755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3755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3755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2037550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C72B64CA-373B-9E76-D9A5-2F5C0BE27A98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Наміри у майбутньому переїхати жити за кордон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942D9EED-1A0D-B4BD-2DA4-7A2D171AFC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6152521"/>
              </p:ext>
            </p:extLst>
          </p:nvPr>
        </p:nvGraphicFramePr>
        <p:xfrm>
          <a:off x="4022213" y="2732275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098ABF73-E288-FC77-6376-2C5B37AD87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5909265"/>
              </p:ext>
            </p:extLst>
          </p:nvPr>
        </p:nvGraphicFramePr>
        <p:xfrm>
          <a:off x="6046983" y="2726571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5B8377C3-BD0C-F969-31A1-D6A5FE108E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1900990"/>
              </p:ext>
            </p:extLst>
          </p:nvPr>
        </p:nvGraphicFramePr>
        <p:xfrm>
          <a:off x="8100567" y="2729423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832EF961-A341-C334-2A1E-9ABB9E1E48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8844478"/>
              </p:ext>
            </p:extLst>
          </p:nvPr>
        </p:nvGraphicFramePr>
        <p:xfrm>
          <a:off x="10127238" y="2726571"/>
          <a:ext cx="1944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2F6FD65-BCFF-5562-F342-17D0290DFC17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Третина опитаних схильні до переїзду за кордон, більше половини – 58% - мають намір залишатися в Україні. Схильність до переїзду за кордон є найбільш вираженою у групі 14-19 років, також цю схильність декларують люди у віці 25-29 років. Менші ризики відтоку — у групі 20-24 роки, найменші — у групі 30-35 років. Таким чином, ризики відтоку за кордон є вищими у віковій групі 14-19 років і потім у віковій групі 25-29 років.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8329BA-D3DF-5BE1-378F-1ED284339D4B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29C899A6-D551-1632-738E-52CB0B13DB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8718416"/>
              </p:ext>
            </p:extLst>
          </p:nvPr>
        </p:nvGraphicFramePr>
        <p:xfrm>
          <a:off x="1917290" y="5951375"/>
          <a:ext cx="10166360" cy="218225"/>
        </p:xfrm>
        <a:graphic>
          <a:graphicData uri="http://schemas.openxmlformats.org/drawingml/2006/table">
            <a:tbl>
              <a:tblPr firstRow="1" bandRow="1"/>
              <a:tblGrid>
                <a:gridCol w="2033272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33272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33272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33272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2033272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F951ACA2-F8B6-5B8C-9C44-90B832FEF578}"/>
              </a:ext>
            </a:extLst>
          </p:cNvPr>
          <p:cNvSpPr txBox="1"/>
          <p:nvPr/>
        </p:nvSpPr>
        <p:spPr>
          <a:xfrm>
            <a:off x="6856900" y="454971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F710A1-C62A-009D-4926-9378A7580EE2}"/>
              </a:ext>
            </a:extLst>
          </p:cNvPr>
          <p:cNvSpPr txBox="1"/>
          <p:nvPr/>
        </p:nvSpPr>
        <p:spPr bwMode="gray">
          <a:xfrm>
            <a:off x="180218" y="253723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A79889-E6C3-FFA0-F44D-6C7024DF813E}"/>
              </a:ext>
            </a:extLst>
          </p:cNvPr>
          <p:cNvSpPr txBox="1"/>
          <p:nvPr/>
        </p:nvSpPr>
        <p:spPr>
          <a:xfrm>
            <a:off x="10888125" y="5070081"/>
            <a:ext cx="50275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B25BEA7-12C5-7279-90EF-4E46B123CB01}"/>
              </a:ext>
            </a:extLst>
          </p:cNvPr>
          <p:cNvSpPr txBox="1"/>
          <p:nvPr/>
        </p:nvSpPr>
        <p:spPr>
          <a:xfrm>
            <a:off x="4348502" y="297516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22914C2-F249-76F8-89EF-8AA71A3D237A}"/>
              </a:ext>
            </a:extLst>
          </p:cNvPr>
          <p:cNvSpPr txBox="1"/>
          <p:nvPr/>
        </p:nvSpPr>
        <p:spPr>
          <a:xfrm>
            <a:off x="4788952" y="4029190"/>
            <a:ext cx="587293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485A7-3F81-9C99-683B-E07BE37E0800}"/>
              </a:ext>
            </a:extLst>
          </p:cNvPr>
          <p:cNvSpPr txBox="1"/>
          <p:nvPr/>
        </p:nvSpPr>
        <p:spPr>
          <a:xfrm>
            <a:off x="4677883" y="562495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693D91F-A12B-1866-D421-694344874D39}"/>
              </a:ext>
            </a:extLst>
          </p:cNvPr>
          <p:cNvSpPr txBox="1"/>
          <p:nvPr/>
        </p:nvSpPr>
        <p:spPr>
          <a:xfrm>
            <a:off x="6378863" y="296041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050767D-EF90-2569-ED23-CDB5DFD3977A}"/>
              </a:ext>
            </a:extLst>
          </p:cNvPr>
          <p:cNvSpPr txBox="1"/>
          <p:nvPr/>
        </p:nvSpPr>
        <p:spPr>
          <a:xfrm>
            <a:off x="6639418" y="561021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A5DDD03-D4C9-9550-CDFA-C9D3143CD2E0}"/>
              </a:ext>
            </a:extLst>
          </p:cNvPr>
          <p:cNvSpPr txBox="1"/>
          <p:nvPr/>
        </p:nvSpPr>
        <p:spPr>
          <a:xfrm>
            <a:off x="8965920" y="456446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3AE766A-E0CD-CBEA-7B1E-B675FBD0F6FC}"/>
              </a:ext>
            </a:extLst>
          </p:cNvPr>
          <p:cNvSpPr txBox="1"/>
          <p:nvPr/>
        </p:nvSpPr>
        <p:spPr>
          <a:xfrm>
            <a:off x="8803688" y="508065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8B70E87-7640-5350-5FE4-349DF63E9B8D}"/>
              </a:ext>
            </a:extLst>
          </p:cNvPr>
          <p:cNvSpPr txBox="1"/>
          <p:nvPr/>
        </p:nvSpPr>
        <p:spPr>
          <a:xfrm>
            <a:off x="8733690" y="403704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051646E-FD28-3ED3-6E72-9FC35D1FB447}"/>
              </a:ext>
            </a:extLst>
          </p:cNvPr>
          <p:cNvSpPr txBox="1"/>
          <p:nvPr/>
        </p:nvSpPr>
        <p:spPr>
          <a:xfrm>
            <a:off x="8600954" y="349135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C71DC9E-C285-FF71-D764-B2EA0693072C}"/>
              </a:ext>
            </a:extLst>
          </p:cNvPr>
          <p:cNvSpPr txBox="1"/>
          <p:nvPr/>
        </p:nvSpPr>
        <p:spPr>
          <a:xfrm>
            <a:off x="11050359" y="454479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62481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939D7F-7B13-C8C7-A94D-910C98F5D5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A8CF79D-DE25-C860-78CF-34C6CF3AC054}"/>
              </a:ext>
            </a:extLst>
          </p:cNvPr>
          <p:cNvSpPr txBox="1"/>
          <p:nvPr/>
        </p:nvSpPr>
        <p:spPr>
          <a:xfrm>
            <a:off x="8021813" y="6620950"/>
            <a:ext cx="37254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0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і головні причини Вашого наміру переїхати жити за кордон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2E302CB-FE9B-FBB1-663E-4A6E74093D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E302CB-FE9B-FBB1-663E-4A6E74093D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26F47E-2C9E-E58D-D8C7-0A4A5EC11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ричини переїзду за кордон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105AA7-1580-D1E3-0D09-5908F98B2149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6206AE18-74E3-F061-65D0-5D6147D542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4074610"/>
              </p:ext>
            </p:extLst>
          </p:nvPr>
        </p:nvGraphicFramePr>
        <p:xfrm>
          <a:off x="39329" y="3322701"/>
          <a:ext cx="12142312" cy="30662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у безпеці, подалі від вій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приємному середовищ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500811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кращий соціальний захист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роби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більше можливостей для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бити кар’єру у бажаній сфер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найти кращу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ом живуть близькі Вам лю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римати якісн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доступ до якісної медиц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358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A8A991AF-A026-38C6-2744-0351E829AE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2383612"/>
              </p:ext>
            </p:extLst>
          </p:nvPr>
        </p:nvGraphicFramePr>
        <p:xfrm>
          <a:off x="4043234" y="3240694"/>
          <a:ext cx="1548000" cy="32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A3E06C11-4E24-8130-DFDF-13A7219595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8469652"/>
              </p:ext>
            </p:extLst>
          </p:nvPr>
        </p:nvGraphicFramePr>
        <p:xfrm>
          <a:off x="4041058" y="2359300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4D1C453E-01DF-3EE9-45B8-5B5171057943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Причини наміру переїхати жити за кордон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A8337EF6-29A3-A7CF-B772-63F7A805C7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7846244"/>
              </p:ext>
            </p:extLst>
          </p:nvPr>
        </p:nvGraphicFramePr>
        <p:xfrm>
          <a:off x="5654368" y="3243546"/>
          <a:ext cx="1548000" cy="32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533133C6-1FEF-77DD-85B3-C3FF7AB47B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6389270"/>
              </p:ext>
            </p:extLst>
          </p:nvPr>
        </p:nvGraphicFramePr>
        <p:xfrm>
          <a:off x="7285848" y="3237842"/>
          <a:ext cx="1548000" cy="32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15F141F2-4EAB-44EF-E58C-E2393DAFEE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3450480"/>
              </p:ext>
            </p:extLst>
          </p:nvPr>
        </p:nvGraphicFramePr>
        <p:xfrm>
          <a:off x="8916644" y="3240694"/>
          <a:ext cx="1548000" cy="32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A4C8C9A4-5A7D-CBE5-027E-ED0EF0D52A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3569955"/>
              </p:ext>
            </p:extLst>
          </p:nvPr>
        </p:nvGraphicFramePr>
        <p:xfrm>
          <a:off x="10530361" y="3237842"/>
          <a:ext cx="1548000" cy="32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0BA1947-C24E-1E09-4137-DD50CB9B7E4F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Головною причиною розгляду виїзду за кордон є бажання бути у безпеці, зокрема ця причина є актуальніша для людей 25 років і старше. Молодь у віці 14-19 років прагне внаслідок переїзду за кордон заробити грошей, зробити кар’єру, знайти кращу роботу, отримати якісну освіту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E40F95E-7D8C-6C00-6865-D8D2E4C16A45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25126767-28AD-02A7-B799-46F24E965B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7405735"/>
              </p:ext>
            </p:extLst>
          </p:nvPr>
        </p:nvGraphicFramePr>
        <p:xfrm>
          <a:off x="4011562" y="6364324"/>
          <a:ext cx="8072090" cy="218225"/>
        </p:xfrm>
        <a:graphic>
          <a:graphicData uri="http://schemas.openxmlformats.org/drawingml/2006/table">
            <a:tbl>
              <a:tblPr firstRow="1" bandRow="1"/>
              <a:tblGrid>
                <a:gridCol w="1614418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14418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19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4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1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6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DB6C3CD-D24B-D203-5EF6-479864489040}"/>
              </a:ext>
            </a:extLst>
          </p:cNvPr>
          <p:cNvSpPr txBox="1"/>
          <p:nvPr/>
        </p:nvSpPr>
        <p:spPr bwMode="gray">
          <a:xfrm>
            <a:off x="180218" y="2399585"/>
            <a:ext cx="2159860" cy="281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планують у майбутньому переїхати жити за кордон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3D8ACBD9-5993-E061-EFF5-7DFAEC2F2F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7659699"/>
              </p:ext>
            </p:extLst>
          </p:nvPr>
        </p:nvGraphicFramePr>
        <p:xfrm>
          <a:off x="4032497" y="2653868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5ECB8E86-491F-CF76-BA44-CEB1D532B3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0005957"/>
              </p:ext>
            </p:extLst>
          </p:nvPr>
        </p:nvGraphicFramePr>
        <p:xfrm>
          <a:off x="5659906" y="2652133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B64AA33A-72F6-F16C-22B3-66B1B4003F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4419686"/>
              </p:ext>
            </p:extLst>
          </p:nvPr>
        </p:nvGraphicFramePr>
        <p:xfrm>
          <a:off x="7267651" y="2648056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59E9341E-FCE7-BAC1-E37A-523B1BFDB4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7623118"/>
              </p:ext>
            </p:extLst>
          </p:nvPr>
        </p:nvGraphicFramePr>
        <p:xfrm>
          <a:off x="8904897" y="26463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5" name="Діаграма 34">
            <a:extLst>
              <a:ext uri="{FF2B5EF4-FFF2-40B4-BE49-F238E27FC236}">
                <a16:creationId xmlns:a16="http://schemas.microsoft.com/office/drawing/2014/main" id="{3E8A7BBB-5279-6551-F3B2-77E3C62943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4727865"/>
              </p:ext>
            </p:extLst>
          </p:nvPr>
        </p:nvGraphicFramePr>
        <p:xfrm>
          <a:off x="10524101" y="26535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C494BC31-54BF-5C8D-EF30-44C6363931EE}"/>
              </a:ext>
            </a:extLst>
          </p:cNvPr>
          <p:cNvSpPr txBox="1"/>
          <p:nvPr/>
        </p:nvSpPr>
        <p:spPr>
          <a:xfrm>
            <a:off x="9971595" y="3332931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30C237-8062-B1ED-2D22-F09CA773E338}"/>
              </a:ext>
            </a:extLst>
          </p:cNvPr>
          <p:cNvSpPr txBox="1"/>
          <p:nvPr/>
        </p:nvSpPr>
        <p:spPr>
          <a:xfrm>
            <a:off x="6258621" y="522813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59525E5-9E98-5620-571F-1AAD96D7E11A}"/>
              </a:ext>
            </a:extLst>
          </p:cNvPr>
          <p:cNvSpPr txBox="1"/>
          <p:nvPr/>
        </p:nvSpPr>
        <p:spPr>
          <a:xfrm>
            <a:off x="9572635" y="293395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6ABEED3-8DF8-9A85-1040-BB6598394DCA}"/>
              </a:ext>
            </a:extLst>
          </p:cNvPr>
          <p:cNvSpPr txBox="1"/>
          <p:nvPr/>
        </p:nvSpPr>
        <p:spPr>
          <a:xfrm>
            <a:off x="6513716" y="404419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A55FAA6-4EAC-F9FC-0D8D-0FBC93B4FC59}"/>
              </a:ext>
            </a:extLst>
          </p:cNvPr>
          <p:cNvSpPr txBox="1"/>
          <p:nvPr/>
        </p:nvSpPr>
        <p:spPr>
          <a:xfrm>
            <a:off x="11730865" y="3281193"/>
            <a:ext cx="470967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E9A753-26CF-0CB1-14B2-DE0C7CAFD7AA}"/>
              </a:ext>
            </a:extLst>
          </p:cNvPr>
          <p:cNvSpPr txBox="1"/>
          <p:nvPr/>
        </p:nvSpPr>
        <p:spPr>
          <a:xfrm>
            <a:off x="6420309" y="452105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79B75E-FF89-423F-83C5-A1282C35E5A0}"/>
              </a:ext>
            </a:extLst>
          </p:cNvPr>
          <p:cNvSpPr txBox="1"/>
          <p:nvPr/>
        </p:nvSpPr>
        <p:spPr>
          <a:xfrm>
            <a:off x="6366231" y="476194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772EC4-4BA0-878F-DAC7-902BD5756064}"/>
              </a:ext>
            </a:extLst>
          </p:cNvPr>
          <p:cNvSpPr txBox="1"/>
          <p:nvPr/>
        </p:nvSpPr>
        <p:spPr>
          <a:xfrm>
            <a:off x="6309134" y="5454526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F48093-224F-E530-3821-C4DD320E348C}"/>
              </a:ext>
            </a:extLst>
          </p:cNvPr>
          <p:cNvSpPr txBox="1"/>
          <p:nvPr/>
        </p:nvSpPr>
        <p:spPr>
          <a:xfrm>
            <a:off x="6196063" y="2952217"/>
            <a:ext cx="52246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727092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5377FB-ED69-453E-C3CE-5473C2149B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397E455-D46F-9EBC-2874-50B3C258C77F}"/>
              </a:ext>
            </a:extLst>
          </p:cNvPr>
          <p:cNvSpPr txBox="1"/>
          <p:nvPr/>
        </p:nvSpPr>
        <p:spPr>
          <a:xfrm>
            <a:off x="7059561" y="6620950"/>
            <a:ext cx="468769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2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Що могло б спонукати Вас повернутись у Вінницю після життя у іншому місті або країні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858C31E-6DED-EB2E-42E3-B38DE2C245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58C31E-6DED-EB2E-42E3-B38DE2C24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D9EB6B-3EC4-271B-425C-494177A75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Спонукання повернутись у Вінницю після життя у іншому місті або країні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35DA05-6D22-F2AF-16EC-20AFC3DF3FEA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C2F12E21-1534-FFB5-1D3F-950087DC14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107905"/>
              </p:ext>
            </p:extLst>
          </p:nvPr>
        </p:nvGraphicFramePr>
        <p:xfrm>
          <a:off x="39329" y="3664628"/>
          <a:ext cx="12142312" cy="26479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774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90648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жання жити у спокійному, тихому, звичн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оз’єднання</a:t>
                      </a:r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 родино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1869443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сне житло у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кінчення вій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жливості добре заробля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жливост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жливості для кар’єр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жливості працювати за бажаним напрямко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і можливості для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22065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3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планую повертатис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04E95C7D-2627-1C78-FD1A-7A468DE4E8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3703245"/>
              </p:ext>
            </p:extLst>
          </p:nvPr>
        </p:nvGraphicFramePr>
        <p:xfrm>
          <a:off x="3128831" y="3586467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149505F3-771E-0160-F9C8-CF97365B5F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810473"/>
              </p:ext>
            </p:extLst>
          </p:nvPr>
        </p:nvGraphicFramePr>
        <p:xfrm>
          <a:off x="3097161" y="2359300"/>
          <a:ext cx="9047205" cy="281811"/>
        </p:xfrm>
        <a:graphic>
          <a:graphicData uri="http://schemas.openxmlformats.org/drawingml/2006/table">
            <a:tbl>
              <a:tblPr firstRow="1" bandRow="1"/>
              <a:tblGrid>
                <a:gridCol w="1809441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809441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809441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809441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809441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65A94978-C450-F7B8-4A80-CCD2C3144056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Фактори, що можуть спонукати повернутись у Вінницю після життя у іншому місті або країні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384EFEBB-2B59-9F98-F73C-513B6C1C62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3281311"/>
              </p:ext>
            </p:extLst>
          </p:nvPr>
        </p:nvGraphicFramePr>
        <p:xfrm>
          <a:off x="4936609" y="3589319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1F91AB1C-7345-4648-DD53-C42DC2A694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4127951"/>
              </p:ext>
            </p:extLst>
          </p:nvPr>
        </p:nvGraphicFramePr>
        <p:xfrm>
          <a:off x="6764734" y="3583615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691CB069-8BE8-EF91-370B-153A987797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1507401"/>
              </p:ext>
            </p:extLst>
          </p:nvPr>
        </p:nvGraphicFramePr>
        <p:xfrm>
          <a:off x="8602008" y="3586467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121C2CD4-A8F9-224E-1E4E-908DA3FF6F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2331102"/>
              </p:ext>
            </p:extLst>
          </p:nvPr>
        </p:nvGraphicFramePr>
        <p:xfrm>
          <a:off x="10402535" y="3583615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815B35D-0B96-C398-FDDC-D6767EFC60BF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Молодь, що є схильною до виїзду в інше місто або за кордон, найчастіше називала такі спонукальні чинники для повернення у Вінницю: бажання жити у спокійному, звичному місті, </a:t>
            </a:r>
            <a:r>
              <a:rPr lang="uk-UA" sz="1600" dirty="0" err="1"/>
              <a:t>воз’єднання</a:t>
            </a:r>
            <a:r>
              <a:rPr lang="uk-UA" sz="1600" dirty="0"/>
              <a:t> з родиною, власне житло у Вінниці та закінчення війни. Бажання жити у тихому місті та закінчення війни є більш актуальними чинниками для вікової групи 30-35 років. Також цієї групи відносно більш актуальним є можливість добре заробляти як чинник повернення у Вінницю.</a:t>
            </a:r>
            <a:endParaRPr lang="uk-UA" sz="1600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C2A99C2-B348-AA0E-E6EB-C4F2A7AB717D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24EEFAE8-CAB8-7319-A13A-97EB8351D8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9341502"/>
              </p:ext>
            </p:extLst>
          </p:nvPr>
        </p:nvGraphicFramePr>
        <p:xfrm>
          <a:off x="3071302" y="6305332"/>
          <a:ext cx="9073065" cy="218225"/>
        </p:xfrm>
        <a:graphic>
          <a:graphicData uri="http://schemas.openxmlformats.org/drawingml/2006/table">
            <a:tbl>
              <a:tblPr firstRow="1" bandRow="1"/>
              <a:tblGrid>
                <a:gridCol w="1814613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814613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814613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814613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814613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28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61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45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98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EA504A6-33B3-7F97-8DC1-6D0D36CF7746}"/>
              </a:ext>
            </a:extLst>
          </p:cNvPr>
          <p:cNvSpPr txBox="1"/>
          <p:nvPr/>
        </p:nvSpPr>
        <p:spPr bwMode="gray">
          <a:xfrm>
            <a:off x="180218" y="2586399"/>
            <a:ext cx="1781148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планують у майбутньому переїхати жити у інше місто України чи за кордон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2D1D8EB8-B2E6-F6B7-C829-1E4AFF75C1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2193554"/>
              </p:ext>
            </p:extLst>
          </p:nvPr>
        </p:nvGraphicFramePr>
        <p:xfrm>
          <a:off x="2970612" y="2968500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11427FBB-DA6A-66EB-2BD5-2847711600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3760422"/>
              </p:ext>
            </p:extLst>
          </p:nvPr>
        </p:nvGraphicFramePr>
        <p:xfrm>
          <a:off x="4824163" y="2966765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ADCB18A1-EF9B-B080-3BE2-A3981DBD1D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1649624"/>
              </p:ext>
            </p:extLst>
          </p:nvPr>
        </p:nvGraphicFramePr>
        <p:xfrm>
          <a:off x="6638385" y="2962688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858F5692-E3BD-4B07-307B-1323D29877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696756"/>
              </p:ext>
            </p:extLst>
          </p:nvPr>
        </p:nvGraphicFramePr>
        <p:xfrm>
          <a:off x="8472276" y="2960953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5" name="Діаграма 34">
            <a:extLst>
              <a:ext uri="{FF2B5EF4-FFF2-40B4-BE49-F238E27FC236}">
                <a16:creationId xmlns:a16="http://schemas.microsoft.com/office/drawing/2014/main" id="{D1517A0B-21D6-23D5-B149-510AD3883D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3027"/>
              </p:ext>
            </p:extLst>
          </p:nvPr>
        </p:nvGraphicFramePr>
        <p:xfrm>
          <a:off x="10297960" y="2968153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DC633CF6-E0F5-38C7-DFA7-39F0433D862E}"/>
              </a:ext>
            </a:extLst>
          </p:cNvPr>
          <p:cNvSpPr txBox="1"/>
          <p:nvPr/>
        </p:nvSpPr>
        <p:spPr>
          <a:xfrm>
            <a:off x="11470922" y="3661366"/>
            <a:ext cx="48302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2" name="Діаграма 11">
            <a:extLst>
              <a:ext uri="{FF2B5EF4-FFF2-40B4-BE49-F238E27FC236}">
                <a16:creationId xmlns:a16="http://schemas.microsoft.com/office/drawing/2014/main" id="{F39D9882-8E8C-3A3D-3F21-6CC780A8BA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6154130"/>
              </p:ext>
            </p:extLst>
          </p:nvPr>
        </p:nvGraphicFramePr>
        <p:xfrm>
          <a:off x="3755092" y="2973410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13" name="Діаграма 12">
            <a:extLst>
              <a:ext uri="{FF2B5EF4-FFF2-40B4-BE49-F238E27FC236}">
                <a16:creationId xmlns:a16="http://schemas.microsoft.com/office/drawing/2014/main" id="{9E4A7F61-BD2F-C057-66CC-91839881FC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5869038"/>
              </p:ext>
            </p:extLst>
          </p:nvPr>
        </p:nvGraphicFramePr>
        <p:xfrm>
          <a:off x="5608643" y="2971675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4" name="Діаграма 13">
            <a:extLst>
              <a:ext uri="{FF2B5EF4-FFF2-40B4-BE49-F238E27FC236}">
                <a16:creationId xmlns:a16="http://schemas.microsoft.com/office/drawing/2014/main" id="{F0605AAA-FDD1-ADCF-C208-925B1013DA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5292304"/>
              </p:ext>
            </p:extLst>
          </p:nvPr>
        </p:nvGraphicFramePr>
        <p:xfrm>
          <a:off x="7422865" y="2967598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6" name="Діаграма 15">
            <a:extLst>
              <a:ext uri="{FF2B5EF4-FFF2-40B4-BE49-F238E27FC236}">
                <a16:creationId xmlns:a16="http://schemas.microsoft.com/office/drawing/2014/main" id="{D89C6CB2-AFEF-2612-A47F-AB567877F8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2470821"/>
              </p:ext>
            </p:extLst>
          </p:nvPr>
        </p:nvGraphicFramePr>
        <p:xfrm>
          <a:off x="9256756" y="2965863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19" name="Діаграма 18">
            <a:extLst>
              <a:ext uri="{FF2B5EF4-FFF2-40B4-BE49-F238E27FC236}">
                <a16:creationId xmlns:a16="http://schemas.microsoft.com/office/drawing/2014/main" id="{1A47E159-7D3C-7EF0-DE52-04334C83EE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2634413"/>
              </p:ext>
            </p:extLst>
          </p:nvPr>
        </p:nvGraphicFramePr>
        <p:xfrm>
          <a:off x="11082440" y="2973063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20" name="Таблиця 19">
            <a:extLst>
              <a:ext uri="{FF2B5EF4-FFF2-40B4-BE49-F238E27FC236}">
                <a16:creationId xmlns:a16="http://schemas.microsoft.com/office/drawing/2014/main" id="{7A495809-3449-C83E-DA3C-6C31DBE201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051121"/>
              </p:ext>
            </p:extLst>
          </p:nvPr>
        </p:nvGraphicFramePr>
        <p:xfrm>
          <a:off x="2970612" y="2595446"/>
          <a:ext cx="9000000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9265126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284243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346131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0784348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82255803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9271349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44332576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71710648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356211058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4043813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8263979"/>
                  </a:ext>
                </a:extLst>
              </a:tr>
            </a:tbl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B6BD7A72-02C2-5287-79F9-198B6084A75D}"/>
              </a:ext>
            </a:extLst>
          </p:cNvPr>
          <p:cNvSpPr txBox="1"/>
          <p:nvPr/>
        </p:nvSpPr>
        <p:spPr>
          <a:xfrm>
            <a:off x="9612082" y="365503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52108C-6C50-8D7E-DBF2-F5961D9B97EB}"/>
              </a:ext>
            </a:extLst>
          </p:cNvPr>
          <p:cNvSpPr txBox="1"/>
          <p:nvPr/>
        </p:nvSpPr>
        <p:spPr>
          <a:xfrm>
            <a:off x="9322030" y="454485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118893D-B90F-F035-A403-03BAA19E8369}"/>
              </a:ext>
            </a:extLst>
          </p:cNvPr>
          <p:cNvSpPr txBox="1"/>
          <p:nvPr/>
        </p:nvSpPr>
        <p:spPr>
          <a:xfrm>
            <a:off x="9346611" y="476608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4E6D12C-66F7-46AC-D51E-157EC18749EE}"/>
              </a:ext>
            </a:extLst>
          </p:cNvPr>
          <p:cNvSpPr txBox="1"/>
          <p:nvPr/>
        </p:nvSpPr>
        <p:spPr>
          <a:xfrm>
            <a:off x="7394908" y="541992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E5B045A-9F31-5778-B392-1E8E8C912897}"/>
              </a:ext>
            </a:extLst>
          </p:cNvPr>
          <p:cNvSpPr txBox="1"/>
          <p:nvPr/>
        </p:nvSpPr>
        <p:spPr>
          <a:xfrm>
            <a:off x="5885657" y="390084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36D8741-5043-EA1B-672C-8621144379EF}"/>
              </a:ext>
            </a:extLst>
          </p:cNvPr>
          <p:cNvSpPr txBox="1"/>
          <p:nvPr/>
        </p:nvSpPr>
        <p:spPr>
          <a:xfrm>
            <a:off x="11328355" y="4325043"/>
            <a:ext cx="48302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991D08A-99CA-3B15-DC06-F005F8DA0039}"/>
              </a:ext>
            </a:extLst>
          </p:cNvPr>
          <p:cNvSpPr txBox="1"/>
          <p:nvPr/>
        </p:nvSpPr>
        <p:spPr>
          <a:xfrm>
            <a:off x="11175955" y="4546269"/>
            <a:ext cx="48302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62F5306-113E-13A3-561A-800E2FFB76D4}"/>
              </a:ext>
            </a:extLst>
          </p:cNvPr>
          <p:cNvSpPr txBox="1"/>
          <p:nvPr/>
        </p:nvSpPr>
        <p:spPr>
          <a:xfrm>
            <a:off x="5137553" y="3286330"/>
            <a:ext cx="474275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2141888-AF95-1338-8D9B-028A1522FF9D}"/>
              </a:ext>
            </a:extLst>
          </p:cNvPr>
          <p:cNvSpPr txBox="1"/>
          <p:nvPr/>
        </p:nvSpPr>
        <p:spPr>
          <a:xfrm>
            <a:off x="7070444" y="321750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0EEFE5-8740-AC89-2135-981AB2A0F834}"/>
              </a:ext>
            </a:extLst>
          </p:cNvPr>
          <p:cNvSpPr txBox="1"/>
          <p:nvPr/>
        </p:nvSpPr>
        <p:spPr>
          <a:xfrm>
            <a:off x="8913993" y="320275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AAC107A-48F5-75BA-858B-A0320211983B}"/>
              </a:ext>
            </a:extLst>
          </p:cNvPr>
          <p:cNvSpPr txBox="1"/>
          <p:nvPr/>
        </p:nvSpPr>
        <p:spPr>
          <a:xfrm>
            <a:off x="5967402" y="3275287"/>
            <a:ext cx="455256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25FAB86-CE1B-E125-C7FE-8B87F4579DD7}"/>
              </a:ext>
            </a:extLst>
          </p:cNvPr>
          <p:cNvSpPr txBox="1"/>
          <p:nvPr/>
        </p:nvSpPr>
        <p:spPr>
          <a:xfrm>
            <a:off x="9685825" y="322733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4180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C9126CC-02E5-7CCC-D6E8-A09129CF84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137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9126CC-02E5-7CCC-D6E8-A09129CF8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463D8D-2CF1-9624-3C25-E8BCAD985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Демографічна інформація про опитаних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B30E0685-54CE-1B0A-C055-CE1F769F37D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263778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68EC0B-08A7-0A1A-A937-A4D6389F88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0692A82-79DF-B9A9-2BE0-28EF24BE8480}"/>
              </a:ext>
            </a:extLst>
          </p:cNvPr>
          <p:cNvSpPr txBox="1"/>
          <p:nvPr/>
        </p:nvSpPr>
        <p:spPr>
          <a:xfrm>
            <a:off x="8021813" y="6620950"/>
            <a:ext cx="37254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1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і причини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шого наміру залишатися у місті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я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0BA2EE4-FD31-399B-ED58-EFC2E7B13C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BA2EE4-FD31-399B-ED58-EFC2E7B1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84FC34-165D-7A09-B92D-AC40A373A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ричини наміру залишатися у Вінниці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644B48-B26A-BED3-6A19-BA8D233C27A1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D7C29160-A560-C472-8074-CE130A0DB4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562823"/>
              </p:ext>
            </p:extLst>
          </p:nvPr>
        </p:nvGraphicFramePr>
        <p:xfrm>
          <a:off x="39329" y="3664628"/>
          <a:ext cx="12142312" cy="26563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774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90648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ут живе Ваша родин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фортні умови для життя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ут Ваші друз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ут є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жливості працювати за бажаним напрямко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ут безпечн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і можливості для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а якість осві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жливост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вичка / Тут народився(-</a:t>
                      </a:r>
                      <a:r>
                        <a:rPr lang="uk-UA" sz="11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ась</a:t>
                      </a:r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/ Люблю це міст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241486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EE295CB8-6402-FD6E-8038-DD4E732CB2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2388376"/>
              </p:ext>
            </p:extLst>
          </p:nvPr>
        </p:nvGraphicFramePr>
        <p:xfrm>
          <a:off x="3128831" y="3596299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3625BA6-003B-A4FA-48C9-83E01BA9BC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1138827"/>
              </p:ext>
            </p:extLst>
          </p:nvPr>
        </p:nvGraphicFramePr>
        <p:xfrm>
          <a:off x="3097161" y="2359300"/>
          <a:ext cx="9047205" cy="281811"/>
        </p:xfrm>
        <a:graphic>
          <a:graphicData uri="http://schemas.openxmlformats.org/drawingml/2006/table">
            <a:tbl>
              <a:tblPr firstRow="1" bandRow="1"/>
              <a:tblGrid>
                <a:gridCol w="1809441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809441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809441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809441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809441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C6DF4359-6D9C-2934-D2D1-029E9DFEB966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Причини наміру залишатися у місті Вінниця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FDB18D69-BA26-D7EA-1029-9333DCFB65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2776440"/>
              </p:ext>
            </p:extLst>
          </p:nvPr>
        </p:nvGraphicFramePr>
        <p:xfrm>
          <a:off x="4936609" y="3599151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B468445F-C9D7-E166-219F-E60D1866FE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6222874"/>
              </p:ext>
            </p:extLst>
          </p:nvPr>
        </p:nvGraphicFramePr>
        <p:xfrm>
          <a:off x="6764734" y="3593447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96F33E7F-980B-3163-A687-BEDD7F6857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6592752"/>
              </p:ext>
            </p:extLst>
          </p:nvPr>
        </p:nvGraphicFramePr>
        <p:xfrm>
          <a:off x="8602008" y="3596299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09E3DB97-D345-AF03-E67B-CDCF824053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3224126"/>
              </p:ext>
            </p:extLst>
          </p:nvPr>
        </p:nvGraphicFramePr>
        <p:xfrm>
          <a:off x="10402535" y="3593447"/>
          <a:ext cx="1728000" cy="27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1CC062A-8C27-28B1-A251-A72297D702BC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Для тих, хто має намір залишатись у Вінниці, головними причинами є близькість до родини, комфортні умови, близькість до друзів і наявність власного житла. Близькість до друзів є найбільш важливою для групи 14-19 років, а наявність власного житла – для людей 25 років і старше. Добрі можливості для дозвілля є відносно більш актуальним чинником залишатися у Вінниці для групи 20-24 років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2963A1-15A4-E6CA-CBD7-5E8B0709ECEA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DB9AB3DF-66BB-4CE8-59D2-0616C9DCC8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9285452"/>
              </p:ext>
            </p:extLst>
          </p:nvPr>
        </p:nvGraphicFramePr>
        <p:xfrm>
          <a:off x="3071302" y="6305332"/>
          <a:ext cx="9073065" cy="218225"/>
        </p:xfrm>
        <a:graphic>
          <a:graphicData uri="http://schemas.openxmlformats.org/drawingml/2006/table">
            <a:tbl>
              <a:tblPr firstRow="1" bandRow="1"/>
              <a:tblGrid>
                <a:gridCol w="1814613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814613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814613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814613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814613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28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3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8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45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0477502-B671-4CD1-EE20-A83D56E137CB}"/>
              </a:ext>
            </a:extLst>
          </p:cNvPr>
          <p:cNvSpPr txBox="1"/>
          <p:nvPr/>
        </p:nvSpPr>
        <p:spPr bwMode="gray">
          <a:xfrm>
            <a:off x="180218" y="2586399"/>
            <a:ext cx="192388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НЕ планують у майбутньому переїхати жити у інше місто України чи за кордон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440BB558-74C3-F355-F195-2F64E2DD26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3155154"/>
              </p:ext>
            </p:extLst>
          </p:nvPr>
        </p:nvGraphicFramePr>
        <p:xfrm>
          <a:off x="2970612" y="2968500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D439FAF6-215F-E570-34B1-D8082C5159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6800421"/>
              </p:ext>
            </p:extLst>
          </p:nvPr>
        </p:nvGraphicFramePr>
        <p:xfrm>
          <a:off x="4824163" y="2966765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E483700F-5C37-BF0F-D625-5CB052D80E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0749380"/>
              </p:ext>
            </p:extLst>
          </p:nvPr>
        </p:nvGraphicFramePr>
        <p:xfrm>
          <a:off x="6638385" y="2962688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62557622-2C59-6613-1F2A-A38D746D8E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8621539"/>
              </p:ext>
            </p:extLst>
          </p:nvPr>
        </p:nvGraphicFramePr>
        <p:xfrm>
          <a:off x="8472276" y="2960953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5" name="Діаграма 34">
            <a:extLst>
              <a:ext uri="{FF2B5EF4-FFF2-40B4-BE49-F238E27FC236}">
                <a16:creationId xmlns:a16="http://schemas.microsoft.com/office/drawing/2014/main" id="{14A5D529-100B-3864-00F4-F66A53A3C9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6847726"/>
              </p:ext>
            </p:extLst>
          </p:nvPr>
        </p:nvGraphicFramePr>
        <p:xfrm>
          <a:off x="10297960" y="2968153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070C4232-3842-079F-19AD-071CD288184F}"/>
              </a:ext>
            </a:extLst>
          </p:cNvPr>
          <p:cNvSpPr txBox="1"/>
          <p:nvPr/>
        </p:nvSpPr>
        <p:spPr>
          <a:xfrm>
            <a:off x="8625840" y="3379366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D393F99-A3A8-B505-0B06-1091D9299589}"/>
              </a:ext>
            </a:extLst>
          </p:cNvPr>
          <p:cNvSpPr txBox="1"/>
          <p:nvPr/>
        </p:nvSpPr>
        <p:spPr>
          <a:xfrm>
            <a:off x="7699708" y="511574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717046D-0D2A-FE33-F73E-A77C41B6A247}"/>
              </a:ext>
            </a:extLst>
          </p:cNvPr>
          <p:cNvSpPr txBox="1"/>
          <p:nvPr/>
        </p:nvSpPr>
        <p:spPr>
          <a:xfrm>
            <a:off x="11671279" y="4394382"/>
            <a:ext cx="48302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F0D140A-9DAB-1108-6093-12FF23D34E52}"/>
              </a:ext>
            </a:extLst>
          </p:cNvPr>
          <p:cNvSpPr txBox="1"/>
          <p:nvPr/>
        </p:nvSpPr>
        <p:spPr>
          <a:xfrm>
            <a:off x="6850691" y="338855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41467F7-24D3-7EE4-29B9-1FCC0E39A1C2}"/>
              </a:ext>
            </a:extLst>
          </p:cNvPr>
          <p:cNvSpPr txBox="1"/>
          <p:nvPr/>
        </p:nvSpPr>
        <p:spPr>
          <a:xfrm>
            <a:off x="8088082" y="392615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41349E8-8F06-D5D5-8DE9-1B5048811C57}"/>
              </a:ext>
            </a:extLst>
          </p:cNvPr>
          <p:cNvSpPr txBox="1"/>
          <p:nvPr/>
        </p:nvSpPr>
        <p:spPr>
          <a:xfrm>
            <a:off x="6337088" y="4112240"/>
            <a:ext cx="474275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2" name="Діаграма 11">
            <a:extLst>
              <a:ext uri="{FF2B5EF4-FFF2-40B4-BE49-F238E27FC236}">
                <a16:creationId xmlns:a16="http://schemas.microsoft.com/office/drawing/2014/main" id="{F8750666-C15E-7BA8-92C8-E77C249A16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754031"/>
              </p:ext>
            </p:extLst>
          </p:nvPr>
        </p:nvGraphicFramePr>
        <p:xfrm>
          <a:off x="3755092" y="2973410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13" name="Діаграма 12">
            <a:extLst>
              <a:ext uri="{FF2B5EF4-FFF2-40B4-BE49-F238E27FC236}">
                <a16:creationId xmlns:a16="http://schemas.microsoft.com/office/drawing/2014/main" id="{2313BA67-0C75-6C72-E124-38E5A7021F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1476516"/>
              </p:ext>
            </p:extLst>
          </p:nvPr>
        </p:nvGraphicFramePr>
        <p:xfrm>
          <a:off x="5608643" y="2971675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4" name="Діаграма 13">
            <a:extLst>
              <a:ext uri="{FF2B5EF4-FFF2-40B4-BE49-F238E27FC236}">
                <a16:creationId xmlns:a16="http://schemas.microsoft.com/office/drawing/2014/main" id="{E676B603-6B24-AD22-4CA8-59CEF5B8E5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3419478"/>
              </p:ext>
            </p:extLst>
          </p:nvPr>
        </p:nvGraphicFramePr>
        <p:xfrm>
          <a:off x="7422865" y="2967598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6" name="Діаграма 15">
            <a:extLst>
              <a:ext uri="{FF2B5EF4-FFF2-40B4-BE49-F238E27FC236}">
                <a16:creationId xmlns:a16="http://schemas.microsoft.com/office/drawing/2014/main" id="{CA6EACD9-5343-94D8-BE27-9C8B7DE1A3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5134364"/>
              </p:ext>
            </p:extLst>
          </p:nvPr>
        </p:nvGraphicFramePr>
        <p:xfrm>
          <a:off x="9256756" y="2965863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19" name="Діаграма 18">
            <a:extLst>
              <a:ext uri="{FF2B5EF4-FFF2-40B4-BE49-F238E27FC236}">
                <a16:creationId xmlns:a16="http://schemas.microsoft.com/office/drawing/2014/main" id="{04AACD42-DC58-306E-B21A-EE283F88DA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1335255"/>
              </p:ext>
            </p:extLst>
          </p:nvPr>
        </p:nvGraphicFramePr>
        <p:xfrm>
          <a:off x="11082440" y="2973063"/>
          <a:ext cx="804976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20" name="Таблиця 19">
            <a:extLst>
              <a:ext uri="{FF2B5EF4-FFF2-40B4-BE49-F238E27FC236}">
                <a16:creationId xmlns:a16="http://schemas.microsoft.com/office/drawing/2014/main" id="{5249768C-704C-FFC8-B91C-3C0851105C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267059"/>
              </p:ext>
            </p:extLst>
          </p:nvPr>
        </p:nvGraphicFramePr>
        <p:xfrm>
          <a:off x="2970612" y="2595446"/>
          <a:ext cx="9000000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9265126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284243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346131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0784348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82255803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9271349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44332576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71710648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356211058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4043813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у інше місто Україн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650" b="0" noProof="0" dirty="0">
                          <a:solidFill>
                            <a:schemeClr val="tx1"/>
                          </a:solidFill>
                        </a:rPr>
                        <a:t>НЕ планують переїжджати жити за кордо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8263979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341CDBF8-58E5-2956-4F54-4F9396D5B974}"/>
              </a:ext>
            </a:extLst>
          </p:cNvPr>
          <p:cNvSpPr txBox="1"/>
          <p:nvPr/>
        </p:nvSpPr>
        <p:spPr>
          <a:xfrm>
            <a:off x="10426792" y="3350775"/>
            <a:ext cx="590219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C2AD566-B4DC-9CDB-652A-065DC8A2D05B}"/>
              </a:ext>
            </a:extLst>
          </p:cNvPr>
          <p:cNvSpPr txBox="1"/>
          <p:nvPr/>
        </p:nvSpPr>
        <p:spPr>
          <a:xfrm>
            <a:off x="7671685" y="341313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3CFEA9D-4546-DF7E-1EE4-136E7B8A7BE5}"/>
              </a:ext>
            </a:extLst>
          </p:cNvPr>
          <p:cNvSpPr txBox="1"/>
          <p:nvPr/>
        </p:nvSpPr>
        <p:spPr>
          <a:xfrm>
            <a:off x="9397672" y="3354785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uk-UA" sz="800" b="1" noProof="0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CFFE83D-E2E2-D188-AEFB-2F40CD94662F}"/>
              </a:ext>
            </a:extLst>
          </p:cNvPr>
          <p:cNvSpPr txBox="1"/>
          <p:nvPr/>
        </p:nvSpPr>
        <p:spPr>
          <a:xfrm>
            <a:off x="11198624" y="3345859"/>
            <a:ext cx="590219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183BA94-F4F5-742C-272F-3B631E35D3C9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A7EAB4F-A71E-7DA9-52A1-E34A4B8B5CC1}"/>
              </a:ext>
            </a:extLst>
          </p:cNvPr>
          <p:cNvSpPr txBox="1"/>
          <p:nvPr/>
        </p:nvSpPr>
        <p:spPr>
          <a:xfrm>
            <a:off x="7699708" y="439318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E41CDB8-61DF-F76B-CD2A-AE0A57B4094D}"/>
              </a:ext>
            </a:extLst>
          </p:cNvPr>
          <p:cNvSpPr txBox="1"/>
          <p:nvPr/>
        </p:nvSpPr>
        <p:spPr>
          <a:xfrm>
            <a:off x="9852973" y="390156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D83AC91-E5AF-5BC3-1D9D-21FFEDA33F00}"/>
              </a:ext>
            </a:extLst>
          </p:cNvPr>
          <p:cNvSpPr txBox="1"/>
          <p:nvPr/>
        </p:nvSpPr>
        <p:spPr>
          <a:xfrm>
            <a:off x="11578534" y="391631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750F48C-E5D8-87E4-0573-984EFD91B85F}"/>
              </a:ext>
            </a:extLst>
          </p:cNvPr>
          <p:cNvSpPr txBox="1"/>
          <p:nvPr/>
        </p:nvSpPr>
        <p:spPr>
          <a:xfrm>
            <a:off x="9758905" y="4399298"/>
            <a:ext cx="48302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85081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C9126CC-02E5-7CCC-D6E8-A09129CF84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9126CC-02E5-7CCC-D6E8-A09129CF8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463D8D-2CF1-9624-3C25-E8BCAD985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Autofit/>
          </a:bodyPr>
          <a:lstStyle/>
          <a:p>
            <a:r>
              <a:rPr lang="uk-UA" sz="3200" b="1" dirty="0">
                <a:solidFill>
                  <a:schemeClr val="bg1"/>
                </a:solidFill>
                <a:ea typeface="Times New Roman" panose="02020603050405020304" pitchFamily="18" charset="0"/>
              </a:rPr>
              <a:t>Аналіз груп молоді за намірами виїзду в інше місто або за кордон</a:t>
            </a:r>
            <a:endParaRPr lang="uk-UA" sz="3200" noProof="0" dirty="0">
              <a:solidFill>
                <a:schemeClr val="bg1"/>
              </a:solidFill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B30E0685-54CE-1B0A-C055-CE1F769F37D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04984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57E646-5622-47A2-DAF4-3A3F61B8E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46F63DD-D141-9227-1331-4F68CA2B85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6F63DD-D141-9227-1331-4F68CA2B8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27ACA2-B006-0F62-A39F-F6F5697E4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Найбільша частина – 44% - не планує переїзд до іншого міста або за кордон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06E6B5-D9E9-2E6E-8782-D979F757D759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2</a:t>
            </a:fld>
            <a:endParaRPr kumimoji="0" lang="uk-UA" sz="1100" b="0" i="0" u="none" strike="noStrike" kern="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71496EC-213B-BFF2-591E-14AD3DA9E5A0}"/>
              </a:ext>
            </a:extLst>
          </p:cNvPr>
          <p:cNvSpPr txBox="1">
            <a:spLocks/>
          </p:cNvSpPr>
          <p:nvPr/>
        </p:nvSpPr>
        <p:spPr>
          <a:xfrm>
            <a:off x="314631" y="773165"/>
            <a:ext cx="11621201" cy="9271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Мають наміри виїхати з Вінниці в інше місто або за кордон – 21%.</a:t>
            </a:r>
            <a:endParaRPr lang="uk-UA" sz="1600" dirty="0"/>
          </a:p>
          <a:p>
            <a:r>
              <a:rPr lang="uk-UA" sz="1600" dirty="0"/>
              <a:t>Групи тих, хто планує виїзд за кордон, і тих, хто планує виїзд в інше місто, суттєво не перетинаються.</a:t>
            </a:r>
          </a:p>
          <a:p>
            <a:r>
              <a:rPr lang="uk-UA" sz="1600" dirty="0"/>
              <a:t>Перетин складає 4,4% усіх опитаних – це респонденти, які відповіли і про намір виїзду за кордон, і про намір виїзду в інше місто.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7" name="Діаграма 16">
                <a:extLst>
                  <a:ext uri="{FF2B5EF4-FFF2-40B4-BE49-F238E27FC236}">
                    <a16:creationId xmlns:a16="http://schemas.microsoft.com/office/drawing/2014/main" id="{CA70C88A-CB14-2466-FA7D-484B22ACED72}"/>
                  </a:ext>
                </a:extLst>
              </p:cNvPr>
              <p:cNvGraphicFramePr/>
              <p:nvPr/>
            </p:nvGraphicFramePr>
            <p:xfrm>
              <a:off x="1" y="2002313"/>
              <a:ext cx="12191998" cy="462116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17" name="Діаграма 16">
                <a:extLst>
                  <a:ext uri="{FF2B5EF4-FFF2-40B4-BE49-F238E27FC236}">
                    <a16:creationId xmlns:a16="http://schemas.microsoft.com/office/drawing/2014/main" id="{CA70C88A-CB14-2466-FA7D-484B22ACED7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" y="2002313"/>
                <a:ext cx="12191998" cy="4621161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itle 1">
            <a:extLst>
              <a:ext uri="{FF2B5EF4-FFF2-40B4-BE49-F238E27FC236}">
                <a16:creationId xmlns:a16="http://schemas.microsoft.com/office/drawing/2014/main" id="{35CD21A8-527A-D173-82EB-5F62C26DD486}"/>
              </a:ext>
            </a:extLst>
          </p:cNvPr>
          <p:cNvSpPr txBox="1">
            <a:spLocks/>
          </p:cNvSpPr>
          <p:nvPr/>
        </p:nvSpPr>
        <p:spPr>
          <a:xfrm>
            <a:off x="1" y="1670843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Сегментація молоді 14-35 років за намірами переїзду в інше місто або за кордон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3AECC1-20F1-1D91-7AE4-C3A1D552601C}"/>
              </a:ext>
            </a:extLst>
          </p:cNvPr>
          <p:cNvSpPr/>
          <p:nvPr/>
        </p:nvSpPr>
        <p:spPr>
          <a:xfrm>
            <a:off x="6351639" y="6292645"/>
            <a:ext cx="431973" cy="20355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8FD478-1103-D832-4B48-C24BD856DB8F}"/>
              </a:ext>
            </a:extLst>
          </p:cNvPr>
          <p:cNvSpPr/>
          <p:nvPr/>
        </p:nvSpPr>
        <p:spPr>
          <a:xfrm>
            <a:off x="9994490" y="6357086"/>
            <a:ext cx="431973" cy="20355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1BF3C6-CD29-7468-C441-9A9D8CD27168}"/>
              </a:ext>
            </a:extLst>
          </p:cNvPr>
          <p:cNvSpPr/>
          <p:nvPr/>
        </p:nvSpPr>
        <p:spPr>
          <a:xfrm>
            <a:off x="11471802" y="3356719"/>
            <a:ext cx="431973" cy="20355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021EDB8-5DD8-5B16-3B34-5A84066F939A}"/>
              </a:ext>
            </a:extLst>
          </p:cNvPr>
          <p:cNvSpPr/>
          <p:nvPr/>
        </p:nvSpPr>
        <p:spPr>
          <a:xfrm>
            <a:off x="11476717" y="4846307"/>
            <a:ext cx="431973" cy="20355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FBE2A8-D8CC-8302-51AD-21271FEE754C}"/>
              </a:ext>
            </a:extLst>
          </p:cNvPr>
          <p:cNvSpPr/>
          <p:nvPr/>
        </p:nvSpPr>
        <p:spPr>
          <a:xfrm>
            <a:off x="11412806" y="6286733"/>
            <a:ext cx="431973" cy="20355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795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4C55937-430C-5BD1-F24F-A94B49FB6D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9260A7-C9DF-757C-00AE-D05491A000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9260A7-C9DF-757C-00AE-D05491A000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F949C4C-C7AB-AB16-89C3-0928B6E1A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: розподіл за віком і статтю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003AF1-D673-504F-5CE9-F0F55B83166D}"/>
              </a:ext>
            </a:extLst>
          </p:cNvPr>
          <p:cNvSpPr txBox="1"/>
          <p:nvPr/>
        </p:nvSpPr>
        <p:spPr>
          <a:xfrm>
            <a:off x="9930588" y="6493132"/>
            <a:ext cx="18166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1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Скільки Вам повних років?</a:t>
            </a:r>
          </a:p>
          <a:p>
            <a:pPr marL="180340" lvl="0"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3. </a:t>
            </a:r>
            <a:r>
              <a:rPr lang="uk-UA" sz="800" dirty="0">
                <a:solidFill>
                  <a:srgbClr val="585858"/>
                </a:solidFill>
                <a:ea typeface="Times New Roman" panose="02020603050405020304" pitchFamily="18" charset="0"/>
              </a:rPr>
              <a:t>Стать.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48C0BA-B405-D3CC-D2F9-8FCCB4D43BA5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28AF187A-1AA6-91FB-9340-F84C9B8EDCCB}"/>
              </a:ext>
            </a:extLst>
          </p:cNvPr>
          <p:cNvGraphicFramePr>
            <a:graphicFrameLocks noGrp="1"/>
          </p:cNvGraphicFramePr>
          <p:nvPr/>
        </p:nvGraphicFramePr>
        <p:xfrm>
          <a:off x="2009846" y="4485708"/>
          <a:ext cx="9865164" cy="218225"/>
        </p:xfrm>
        <a:graphic>
          <a:graphicData uri="http://schemas.openxmlformats.org/drawingml/2006/table">
            <a:tbl>
              <a:tblPr firstRow="1" bandRow="1"/>
              <a:tblGrid>
                <a:gridCol w="2466291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8833E14C-7E28-0A1C-2C6A-6F69558CD109}"/>
              </a:ext>
            </a:extLst>
          </p:cNvPr>
          <p:cNvGraphicFramePr>
            <a:graphicFrameLocks noGrp="1"/>
          </p:cNvGraphicFramePr>
          <p:nvPr/>
        </p:nvGraphicFramePr>
        <p:xfrm>
          <a:off x="202230" y="2998247"/>
          <a:ext cx="11733603" cy="14827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5162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991844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70676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9 ро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70676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-24 ро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70676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-29 ро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70676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-35 ро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BE945076-6911-48B9-3720-7DC4F9865EFA}"/>
              </a:ext>
            </a:extLst>
          </p:cNvPr>
          <p:cNvGraphicFramePr/>
          <p:nvPr/>
        </p:nvGraphicFramePr>
        <p:xfrm>
          <a:off x="2047276" y="2935903"/>
          <a:ext cx="2357575" cy="1576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75045C49-687E-68B8-4F38-AD22EB877805}"/>
              </a:ext>
            </a:extLst>
          </p:cNvPr>
          <p:cNvGraphicFramePr>
            <a:graphicFrameLocks noGrp="1"/>
          </p:cNvGraphicFramePr>
          <p:nvPr/>
        </p:nvGraphicFramePr>
        <p:xfrm>
          <a:off x="2042292" y="2536281"/>
          <a:ext cx="9893540" cy="373380"/>
        </p:xfrm>
        <a:graphic>
          <a:graphicData uri="http://schemas.openxmlformats.org/drawingml/2006/table">
            <a:tbl>
              <a:tblPr firstRow="1" bandRow="1"/>
              <a:tblGrid>
                <a:gridCol w="247338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80B2ECD7-FF16-492E-15D2-5A0843395F84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віком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F066DB6E-C16D-EAC0-90EC-2EC5AC522E5D}"/>
              </a:ext>
            </a:extLst>
          </p:cNvPr>
          <p:cNvGraphicFramePr/>
          <p:nvPr/>
        </p:nvGraphicFramePr>
        <p:xfrm>
          <a:off x="4513817" y="2938755"/>
          <a:ext cx="2357575" cy="1576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F3A0D1E4-E5B8-9726-D84D-DC519D0740BC}"/>
              </a:ext>
            </a:extLst>
          </p:cNvPr>
          <p:cNvGraphicFramePr/>
          <p:nvPr/>
        </p:nvGraphicFramePr>
        <p:xfrm>
          <a:off x="6981042" y="2933051"/>
          <a:ext cx="2357575" cy="1576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74372263-A1F7-95E8-F742-47F8EE4ED1E7}"/>
              </a:ext>
            </a:extLst>
          </p:cNvPr>
          <p:cNvGraphicFramePr/>
          <p:nvPr/>
        </p:nvGraphicFramePr>
        <p:xfrm>
          <a:off x="9447583" y="2935903"/>
          <a:ext cx="2357575" cy="1576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630D861-46FD-8CAC-0451-D5427B357898}"/>
              </a:ext>
            </a:extLst>
          </p:cNvPr>
          <p:cNvSpPr txBox="1"/>
          <p:nvPr/>
        </p:nvSpPr>
        <p:spPr bwMode="gray">
          <a:xfrm>
            <a:off x="70090" y="2598297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A318177-0947-4AE3-F38E-763D559F625A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З віком схильність до переїзду до іншого міста зменшується. Наміри до переїзду до іншого міста найбільше притаманні наймолодшій групі 14-19 років, а наміри залишатися у Вінниці найбільш виражені у групі 30-35 років. </a:t>
            </a:r>
          </a:p>
          <a:p>
            <a:r>
              <a:rPr lang="uk-UA" sz="1600" noProof="0" dirty="0"/>
              <a:t>Стать не впливає на наміри переїхати в інше місто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148348-4621-24F5-E118-B1AB824491C1}"/>
              </a:ext>
            </a:extLst>
          </p:cNvPr>
          <p:cNvSpPr txBox="1"/>
          <p:nvPr/>
        </p:nvSpPr>
        <p:spPr>
          <a:xfrm>
            <a:off x="5340913" y="418517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C75BEDB-B43B-7DC3-B7FE-62135E1E4F63}"/>
              </a:ext>
            </a:extLst>
          </p:cNvPr>
          <p:cNvSpPr txBox="1"/>
          <p:nvPr/>
        </p:nvSpPr>
        <p:spPr>
          <a:xfrm>
            <a:off x="5488862" y="305105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874C1A-8169-4F6C-24AD-E71856425EEB}"/>
              </a:ext>
            </a:extLst>
          </p:cNvPr>
          <p:cNvSpPr txBox="1"/>
          <p:nvPr/>
        </p:nvSpPr>
        <p:spPr>
          <a:xfrm>
            <a:off x="10628672" y="4187507"/>
            <a:ext cx="46211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9" name="Table 9">
            <a:extLst>
              <a:ext uri="{FF2B5EF4-FFF2-40B4-BE49-F238E27FC236}">
                <a16:creationId xmlns:a16="http://schemas.microsoft.com/office/drawing/2014/main" id="{7119F066-01A9-AB9D-DEE5-E94F5FA0E329}"/>
              </a:ext>
            </a:extLst>
          </p:cNvPr>
          <p:cNvGraphicFramePr>
            <a:graphicFrameLocks noGrp="1"/>
          </p:cNvGraphicFramePr>
          <p:nvPr/>
        </p:nvGraphicFramePr>
        <p:xfrm>
          <a:off x="2009845" y="6240925"/>
          <a:ext cx="9865164" cy="218225"/>
        </p:xfrm>
        <a:graphic>
          <a:graphicData uri="http://schemas.openxmlformats.org/drawingml/2006/table">
            <a:tbl>
              <a:tblPr firstRow="1" bandRow="1"/>
              <a:tblGrid>
                <a:gridCol w="2466291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40" name="Table 7">
            <a:extLst>
              <a:ext uri="{FF2B5EF4-FFF2-40B4-BE49-F238E27FC236}">
                <a16:creationId xmlns:a16="http://schemas.microsoft.com/office/drawing/2014/main" id="{5C2D6664-FC11-4FA4-0598-B73ECC08AFAA}"/>
              </a:ext>
            </a:extLst>
          </p:cNvPr>
          <p:cNvGraphicFramePr>
            <a:graphicFrameLocks noGrp="1"/>
          </p:cNvGraphicFramePr>
          <p:nvPr/>
        </p:nvGraphicFramePr>
        <p:xfrm>
          <a:off x="202229" y="5599036"/>
          <a:ext cx="11733603" cy="618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5162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991844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0949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оловік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0949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ін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41" name="Диаграмма 16">
            <a:extLst>
              <a:ext uri="{FF2B5EF4-FFF2-40B4-BE49-F238E27FC236}">
                <a16:creationId xmlns:a16="http://schemas.microsoft.com/office/drawing/2014/main" id="{DBFB4425-FF41-7C1F-34C9-E88BFB3DAAE9}"/>
              </a:ext>
            </a:extLst>
          </p:cNvPr>
          <p:cNvGraphicFramePr/>
          <p:nvPr/>
        </p:nvGraphicFramePr>
        <p:xfrm>
          <a:off x="2047275" y="5536693"/>
          <a:ext cx="2357575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2" name="Table 2">
            <a:extLst>
              <a:ext uri="{FF2B5EF4-FFF2-40B4-BE49-F238E27FC236}">
                <a16:creationId xmlns:a16="http://schemas.microsoft.com/office/drawing/2014/main" id="{50CB8D52-1223-BCF7-A649-FB25488870C7}"/>
              </a:ext>
            </a:extLst>
          </p:cNvPr>
          <p:cNvGraphicFramePr>
            <a:graphicFrameLocks noGrp="1"/>
          </p:cNvGraphicFramePr>
          <p:nvPr/>
        </p:nvGraphicFramePr>
        <p:xfrm>
          <a:off x="2042291" y="5117407"/>
          <a:ext cx="9893540" cy="373380"/>
        </p:xfrm>
        <a:graphic>
          <a:graphicData uri="http://schemas.openxmlformats.org/drawingml/2006/table">
            <a:tbl>
              <a:tblPr firstRow="1" bandRow="1"/>
              <a:tblGrid>
                <a:gridCol w="247338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43" name="Title 1">
            <a:extLst>
              <a:ext uri="{FF2B5EF4-FFF2-40B4-BE49-F238E27FC236}">
                <a16:creationId xmlns:a16="http://schemas.microsoft.com/office/drawing/2014/main" id="{8BFAF687-32FC-F414-EC4B-5B4364F9C42A}"/>
              </a:ext>
            </a:extLst>
          </p:cNvPr>
          <p:cNvSpPr txBox="1">
            <a:spLocks/>
          </p:cNvSpPr>
          <p:nvPr/>
        </p:nvSpPr>
        <p:spPr>
          <a:xfrm>
            <a:off x="0" y="480257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статтю</a:t>
            </a:r>
          </a:p>
        </p:txBody>
      </p:sp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47F7C1DA-8C3A-54D4-E91D-29A820E45F1C}"/>
              </a:ext>
            </a:extLst>
          </p:cNvPr>
          <p:cNvGraphicFramePr/>
          <p:nvPr/>
        </p:nvGraphicFramePr>
        <p:xfrm>
          <a:off x="4513816" y="5539545"/>
          <a:ext cx="2357575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5" name="Диаграмма 16">
            <a:extLst>
              <a:ext uri="{FF2B5EF4-FFF2-40B4-BE49-F238E27FC236}">
                <a16:creationId xmlns:a16="http://schemas.microsoft.com/office/drawing/2014/main" id="{C0A3D65F-9316-2FCA-CBD0-3F396612EA16}"/>
              </a:ext>
            </a:extLst>
          </p:cNvPr>
          <p:cNvGraphicFramePr/>
          <p:nvPr/>
        </p:nvGraphicFramePr>
        <p:xfrm>
          <a:off x="6981041" y="5533841"/>
          <a:ext cx="2357575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6" name="Диаграмма 16">
            <a:extLst>
              <a:ext uri="{FF2B5EF4-FFF2-40B4-BE49-F238E27FC236}">
                <a16:creationId xmlns:a16="http://schemas.microsoft.com/office/drawing/2014/main" id="{E7E46D91-B129-5176-3ACB-9D1147961586}"/>
              </a:ext>
            </a:extLst>
          </p:cNvPr>
          <p:cNvGraphicFramePr/>
          <p:nvPr/>
        </p:nvGraphicFramePr>
        <p:xfrm>
          <a:off x="9447582" y="5536693"/>
          <a:ext cx="2357575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F3234AC5-2071-04AB-45AE-6ABBE42F1C0F}"/>
              </a:ext>
            </a:extLst>
          </p:cNvPr>
          <p:cNvSpPr txBox="1"/>
          <p:nvPr/>
        </p:nvSpPr>
        <p:spPr bwMode="gray">
          <a:xfrm>
            <a:off x="70089" y="5199087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CE3F-5F32-0186-4F8F-ED5308AD1F8B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65C9D7C-6EC3-AC2E-E6B6-876EA9522329}"/>
              </a:ext>
            </a:extLst>
          </p:cNvPr>
          <p:cNvSpPr txBox="1"/>
          <p:nvPr/>
        </p:nvSpPr>
        <p:spPr>
          <a:xfrm>
            <a:off x="8059998" y="305597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352AB8-B9E0-EFD9-9DC4-979AD33859E4}"/>
              </a:ext>
            </a:extLst>
          </p:cNvPr>
          <p:cNvSpPr txBox="1"/>
          <p:nvPr/>
        </p:nvSpPr>
        <p:spPr>
          <a:xfrm>
            <a:off x="7710953" y="342468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908778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CF59ECD-394B-D700-59CD-7CD91258A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1995C02-7515-BFC6-55C8-0C80FA51DF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995C02-7515-BFC6-55C8-0C80FA51D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785790B-0E44-5A5E-55D4-E50D780C3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: розподіл за віком і статтю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EC9BB7-C0EF-ECD8-514A-7ADA0E8F865A}"/>
              </a:ext>
            </a:extLst>
          </p:cNvPr>
          <p:cNvSpPr txBox="1"/>
          <p:nvPr/>
        </p:nvSpPr>
        <p:spPr>
          <a:xfrm>
            <a:off x="9930588" y="6493132"/>
            <a:ext cx="18166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1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Скільки Вам повних років?</a:t>
            </a:r>
          </a:p>
          <a:p>
            <a:pPr marL="180340" lvl="0"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3. </a:t>
            </a:r>
            <a:r>
              <a:rPr lang="uk-UA" sz="800" dirty="0">
                <a:solidFill>
                  <a:srgbClr val="585858"/>
                </a:solidFill>
                <a:ea typeface="Times New Roman" panose="02020603050405020304" pitchFamily="18" charset="0"/>
              </a:rPr>
              <a:t>Стать.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6A7736-3CA7-F35F-93DF-7524C308E332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43800627-95CA-624D-81CB-5A3A0E96E462}"/>
              </a:ext>
            </a:extLst>
          </p:cNvPr>
          <p:cNvGraphicFramePr>
            <a:graphicFrameLocks noGrp="1"/>
          </p:cNvGraphicFramePr>
          <p:nvPr/>
        </p:nvGraphicFramePr>
        <p:xfrm>
          <a:off x="2009846" y="4485708"/>
          <a:ext cx="9865164" cy="218225"/>
        </p:xfrm>
        <a:graphic>
          <a:graphicData uri="http://schemas.openxmlformats.org/drawingml/2006/table">
            <a:tbl>
              <a:tblPr firstRow="1" bandRow="1"/>
              <a:tblGrid>
                <a:gridCol w="2466291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2BC81FC5-781F-A05C-0465-3DB8B031DB1E}"/>
              </a:ext>
            </a:extLst>
          </p:cNvPr>
          <p:cNvGraphicFramePr>
            <a:graphicFrameLocks noGrp="1"/>
          </p:cNvGraphicFramePr>
          <p:nvPr/>
        </p:nvGraphicFramePr>
        <p:xfrm>
          <a:off x="202230" y="2998247"/>
          <a:ext cx="11733603" cy="14827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5162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991844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70676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9 ро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70676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-24 ро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70676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-29 ро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70676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-35 ро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7E745F4E-97F8-69E2-0399-E57E33AB5605}"/>
              </a:ext>
            </a:extLst>
          </p:cNvPr>
          <p:cNvGraphicFramePr/>
          <p:nvPr/>
        </p:nvGraphicFramePr>
        <p:xfrm>
          <a:off x="2047276" y="2935903"/>
          <a:ext cx="2357575" cy="1576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8127B2C3-C55B-7C0C-7008-FE4858D5D302}"/>
              </a:ext>
            </a:extLst>
          </p:cNvPr>
          <p:cNvGraphicFramePr>
            <a:graphicFrameLocks noGrp="1"/>
          </p:cNvGraphicFramePr>
          <p:nvPr/>
        </p:nvGraphicFramePr>
        <p:xfrm>
          <a:off x="2042292" y="2536281"/>
          <a:ext cx="9893540" cy="373380"/>
        </p:xfrm>
        <a:graphic>
          <a:graphicData uri="http://schemas.openxmlformats.org/drawingml/2006/table">
            <a:tbl>
              <a:tblPr firstRow="1" bandRow="1"/>
              <a:tblGrid>
                <a:gridCol w="247338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200" b="0" i="0" u="sng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b"/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 кордон в майбутньому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200" b="0" i="0" u="sng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b"/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 кордон в майбутньому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611CE3D1-9D38-9E16-7E55-C5901EA7EA64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віком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E6D78B74-B082-99CF-60CC-1D87A027A236}"/>
              </a:ext>
            </a:extLst>
          </p:cNvPr>
          <p:cNvGraphicFramePr/>
          <p:nvPr/>
        </p:nvGraphicFramePr>
        <p:xfrm>
          <a:off x="4513817" y="2938755"/>
          <a:ext cx="2357575" cy="1576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2838152F-E294-F8B0-4C5D-188039946CEC}"/>
              </a:ext>
            </a:extLst>
          </p:cNvPr>
          <p:cNvGraphicFramePr/>
          <p:nvPr/>
        </p:nvGraphicFramePr>
        <p:xfrm>
          <a:off x="6981042" y="2933051"/>
          <a:ext cx="2357575" cy="1576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3CF56E0A-E90A-073B-7F80-981EB844AD30}"/>
              </a:ext>
            </a:extLst>
          </p:cNvPr>
          <p:cNvGraphicFramePr/>
          <p:nvPr/>
        </p:nvGraphicFramePr>
        <p:xfrm>
          <a:off x="9447583" y="2935903"/>
          <a:ext cx="2357575" cy="1576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106514B-899F-EA91-2224-0B910B202687}"/>
              </a:ext>
            </a:extLst>
          </p:cNvPr>
          <p:cNvSpPr txBox="1"/>
          <p:nvPr/>
        </p:nvSpPr>
        <p:spPr bwMode="gray">
          <a:xfrm>
            <a:off x="70090" y="2598297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80A553C-98E1-C7A6-FC6A-8847DA92B510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Чоловіки мають більш виражену схильність виїхати за кордон ніж жінки.</a:t>
            </a:r>
          </a:p>
          <a:p>
            <a:r>
              <a:rPr lang="uk-UA" sz="1600" dirty="0"/>
              <a:t>Молодь до 24 років не виключає можливості виїхати за кордон. У групі 25 років і старше переважають настрої залишатись в Україні.</a:t>
            </a:r>
            <a:r>
              <a:rPr lang="uk-UA" sz="1600" noProof="0" dirty="0"/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E70BEA4-88E7-C1F1-EF9B-8AE9B3EA7BA6}"/>
              </a:ext>
            </a:extLst>
          </p:cNvPr>
          <p:cNvSpPr txBox="1"/>
          <p:nvPr/>
        </p:nvSpPr>
        <p:spPr>
          <a:xfrm>
            <a:off x="5319828" y="381836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A19412E-0072-4AA0-D0CC-E1CCB776A3EE}"/>
              </a:ext>
            </a:extLst>
          </p:cNvPr>
          <p:cNvSpPr txBox="1"/>
          <p:nvPr/>
        </p:nvSpPr>
        <p:spPr>
          <a:xfrm>
            <a:off x="5287412" y="304636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9D5E7E4-76E8-DA4E-DB71-D00B4ADABD70}"/>
              </a:ext>
            </a:extLst>
          </p:cNvPr>
          <p:cNvSpPr txBox="1"/>
          <p:nvPr/>
        </p:nvSpPr>
        <p:spPr>
          <a:xfrm>
            <a:off x="10580086" y="4184966"/>
            <a:ext cx="46211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9" name="Table 9">
            <a:extLst>
              <a:ext uri="{FF2B5EF4-FFF2-40B4-BE49-F238E27FC236}">
                <a16:creationId xmlns:a16="http://schemas.microsoft.com/office/drawing/2014/main" id="{054B24DD-3987-74FB-9EAB-6C077A8E46CF}"/>
              </a:ext>
            </a:extLst>
          </p:cNvPr>
          <p:cNvGraphicFramePr>
            <a:graphicFrameLocks noGrp="1"/>
          </p:cNvGraphicFramePr>
          <p:nvPr/>
        </p:nvGraphicFramePr>
        <p:xfrm>
          <a:off x="2009845" y="6240925"/>
          <a:ext cx="9865164" cy="218225"/>
        </p:xfrm>
        <a:graphic>
          <a:graphicData uri="http://schemas.openxmlformats.org/drawingml/2006/table">
            <a:tbl>
              <a:tblPr firstRow="1" bandRow="1"/>
              <a:tblGrid>
                <a:gridCol w="2466291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466291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40" name="Table 7">
            <a:extLst>
              <a:ext uri="{FF2B5EF4-FFF2-40B4-BE49-F238E27FC236}">
                <a16:creationId xmlns:a16="http://schemas.microsoft.com/office/drawing/2014/main" id="{1E85A9ED-6828-036A-2AA8-5E452CF7FE90}"/>
              </a:ext>
            </a:extLst>
          </p:cNvPr>
          <p:cNvGraphicFramePr>
            <a:graphicFrameLocks noGrp="1"/>
          </p:cNvGraphicFramePr>
          <p:nvPr/>
        </p:nvGraphicFramePr>
        <p:xfrm>
          <a:off x="202229" y="5599036"/>
          <a:ext cx="11733603" cy="618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5162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991844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0949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оловік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0949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ін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41" name="Диаграмма 16">
            <a:extLst>
              <a:ext uri="{FF2B5EF4-FFF2-40B4-BE49-F238E27FC236}">
                <a16:creationId xmlns:a16="http://schemas.microsoft.com/office/drawing/2014/main" id="{362952A1-E421-3C77-9A2B-2E384CCCAA57}"/>
              </a:ext>
            </a:extLst>
          </p:cNvPr>
          <p:cNvGraphicFramePr/>
          <p:nvPr/>
        </p:nvGraphicFramePr>
        <p:xfrm>
          <a:off x="2047275" y="5536693"/>
          <a:ext cx="2357575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2" name="Table 2">
            <a:extLst>
              <a:ext uri="{FF2B5EF4-FFF2-40B4-BE49-F238E27FC236}">
                <a16:creationId xmlns:a16="http://schemas.microsoft.com/office/drawing/2014/main" id="{84D0BAFD-1C2C-1463-F18E-FD6005BA695A}"/>
              </a:ext>
            </a:extLst>
          </p:cNvPr>
          <p:cNvGraphicFramePr>
            <a:graphicFrameLocks noGrp="1"/>
          </p:cNvGraphicFramePr>
          <p:nvPr/>
        </p:nvGraphicFramePr>
        <p:xfrm>
          <a:off x="2042291" y="5117407"/>
          <a:ext cx="9893540" cy="373380"/>
        </p:xfrm>
        <a:graphic>
          <a:graphicData uri="http://schemas.openxmlformats.org/drawingml/2006/table">
            <a:tbl>
              <a:tblPr firstRow="1" bandRow="1"/>
              <a:tblGrid>
                <a:gridCol w="247338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47338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 кордон в майбутньому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endParaRPr lang="en-US" sz="1200" b="0" i="0" u="sng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b"/>
                      <a:r>
                        <a:rPr lang="ru-RU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 кордон в майбутньому</a:t>
                      </a:r>
                      <a:r>
                        <a:rPr lang="en-US" sz="12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43" name="Title 1">
            <a:extLst>
              <a:ext uri="{FF2B5EF4-FFF2-40B4-BE49-F238E27FC236}">
                <a16:creationId xmlns:a16="http://schemas.microsoft.com/office/drawing/2014/main" id="{61C9675A-AE64-34AF-C7A8-ACF909B6081F}"/>
              </a:ext>
            </a:extLst>
          </p:cNvPr>
          <p:cNvSpPr txBox="1">
            <a:spLocks/>
          </p:cNvSpPr>
          <p:nvPr/>
        </p:nvSpPr>
        <p:spPr>
          <a:xfrm>
            <a:off x="0" y="480257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статтю</a:t>
            </a:r>
          </a:p>
        </p:txBody>
      </p:sp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1BA610DF-F11E-E65D-CFD9-FC32C3F7D793}"/>
              </a:ext>
            </a:extLst>
          </p:cNvPr>
          <p:cNvGraphicFramePr/>
          <p:nvPr/>
        </p:nvGraphicFramePr>
        <p:xfrm>
          <a:off x="4513816" y="5539545"/>
          <a:ext cx="2357575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5" name="Диаграмма 16">
            <a:extLst>
              <a:ext uri="{FF2B5EF4-FFF2-40B4-BE49-F238E27FC236}">
                <a16:creationId xmlns:a16="http://schemas.microsoft.com/office/drawing/2014/main" id="{E20B053C-573D-69B5-31DE-9FC63C991E8F}"/>
              </a:ext>
            </a:extLst>
          </p:cNvPr>
          <p:cNvGraphicFramePr/>
          <p:nvPr/>
        </p:nvGraphicFramePr>
        <p:xfrm>
          <a:off x="6981041" y="5533841"/>
          <a:ext cx="2357575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6" name="Диаграмма 16">
            <a:extLst>
              <a:ext uri="{FF2B5EF4-FFF2-40B4-BE49-F238E27FC236}">
                <a16:creationId xmlns:a16="http://schemas.microsoft.com/office/drawing/2014/main" id="{A249BC89-382B-50A5-5186-952940261833}"/>
              </a:ext>
            </a:extLst>
          </p:cNvPr>
          <p:cNvGraphicFramePr/>
          <p:nvPr/>
        </p:nvGraphicFramePr>
        <p:xfrm>
          <a:off x="9447582" y="5536693"/>
          <a:ext cx="2357575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4BBC502C-4C5F-27F4-69BA-1D25E74D7849}"/>
              </a:ext>
            </a:extLst>
          </p:cNvPr>
          <p:cNvSpPr txBox="1"/>
          <p:nvPr/>
        </p:nvSpPr>
        <p:spPr bwMode="gray">
          <a:xfrm>
            <a:off x="70089" y="5199087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CFDC221-E6C4-1E9A-55C0-9BE36E146C4A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5373E5-C2DA-D963-958C-0DEC4E1A7FD6}"/>
              </a:ext>
            </a:extLst>
          </p:cNvPr>
          <p:cNvSpPr txBox="1"/>
          <p:nvPr/>
        </p:nvSpPr>
        <p:spPr>
          <a:xfrm>
            <a:off x="7701231" y="342491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D5E058-0740-5997-AFDB-8FA7567BB984}"/>
              </a:ext>
            </a:extLst>
          </p:cNvPr>
          <p:cNvSpPr txBox="1"/>
          <p:nvPr/>
        </p:nvSpPr>
        <p:spPr>
          <a:xfrm>
            <a:off x="5413234" y="418707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CA63BD-D84A-9120-CC55-79AECEFD61EE}"/>
              </a:ext>
            </a:extLst>
          </p:cNvPr>
          <p:cNvSpPr txBox="1"/>
          <p:nvPr/>
        </p:nvSpPr>
        <p:spPr>
          <a:xfrm>
            <a:off x="10196627" y="381836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D6791D3-8ECB-634C-AC26-808B46590AC7}"/>
              </a:ext>
            </a:extLst>
          </p:cNvPr>
          <p:cNvSpPr txBox="1"/>
          <p:nvPr/>
        </p:nvSpPr>
        <p:spPr>
          <a:xfrm>
            <a:off x="8058111" y="3049341"/>
            <a:ext cx="46211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1D86FF9-C447-36C4-A405-18AD83083136}"/>
              </a:ext>
            </a:extLst>
          </p:cNvPr>
          <p:cNvSpPr txBox="1"/>
          <p:nvPr/>
        </p:nvSpPr>
        <p:spPr>
          <a:xfrm>
            <a:off x="5892096" y="561750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26D875E-97F6-30AF-BED9-78AB13A181F7}"/>
              </a:ext>
            </a:extLst>
          </p:cNvPr>
          <p:cNvSpPr txBox="1"/>
          <p:nvPr/>
        </p:nvSpPr>
        <p:spPr>
          <a:xfrm>
            <a:off x="8246922" y="562241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27FE9FF-0259-BACB-BC55-C68DAB41A37C}"/>
              </a:ext>
            </a:extLst>
          </p:cNvPr>
          <p:cNvSpPr txBox="1"/>
          <p:nvPr/>
        </p:nvSpPr>
        <p:spPr>
          <a:xfrm>
            <a:off x="10742319" y="5979353"/>
            <a:ext cx="46211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479498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7F35AC9-F9C6-DD45-19BD-F50FD0A4C1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C0C92A7-5379-AD79-62B7-2A7CA7970D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0C92A7-5379-AD79-62B7-2A7CA7970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9309AB-9DD3-6092-E6DC-7664D5CDE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: розподіл за тривалістю проживання у Вінниц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4054E6-508F-F9F1-8F43-E22052C564F7}"/>
              </a:ext>
            </a:extLst>
          </p:cNvPr>
          <p:cNvSpPr txBox="1"/>
          <p:nvPr/>
        </p:nvSpPr>
        <p:spPr>
          <a:xfrm>
            <a:off x="5456903" y="6620951"/>
            <a:ext cx="629035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 давно Ви проживаєте у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ькій міській громаді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?</a:t>
            </a:r>
            <a:r>
              <a:rPr lang="uk-UA" sz="800" dirty="0">
                <a:solidFill>
                  <a:srgbClr val="585858"/>
                </a:solidFill>
                <a:ea typeface="Times New Roman" panose="02020603050405020304" pitchFamily="18" charset="0"/>
              </a:rPr>
              <a:t> </a:t>
            </a: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6.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 якому населеному пункті Ви проживали до переїзду у Вінницю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B0C90A-CE26-2B8D-9555-822712C335BF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A71B7AB0-B58B-D929-C64D-94DC0F2066F3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4387383"/>
          <a:ext cx="8020304" cy="218225"/>
        </p:xfrm>
        <a:graphic>
          <a:graphicData uri="http://schemas.openxmlformats.org/drawingml/2006/table">
            <a:tbl>
              <a:tblPr firstRow="1" bandRow="1"/>
              <a:tblGrid>
                <a:gridCol w="2005076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65AC0226-E941-4D13-26F3-5A8D74D8534B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71244"/>
          <a:ext cx="12142312" cy="14147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родились у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їхали на навчання до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живаєте тут з дитинств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їхали на роботу до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хали до Вінниці внаслідок бойових ді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хали за сімейними обставинами / За власним бажання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49508FA0-D987-1E1F-0060-A5E366A7D06B}"/>
              </a:ext>
            </a:extLst>
          </p:cNvPr>
          <p:cNvGraphicFramePr/>
          <p:nvPr/>
        </p:nvGraphicFramePr>
        <p:xfrm>
          <a:off x="4043234" y="2931112"/>
          <a:ext cx="1548000" cy="1485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CCF15E37-A0E9-46C3-10E8-4986DF21AF1B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80852" cy="345948"/>
        </p:xfrm>
        <a:graphic>
          <a:graphicData uri="http://schemas.openxmlformats.org/drawingml/2006/table">
            <a:tbl>
              <a:tblPr firstRow="1" bandRow="1"/>
              <a:tblGrid>
                <a:gridCol w="202021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38A40C7D-8A83-3E3A-9DFF-CF4C45A65743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тривалістю проживання у Вінницькій МГ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BE248866-EE81-BF15-BCEF-0C33D9497330}"/>
              </a:ext>
            </a:extLst>
          </p:cNvPr>
          <p:cNvGraphicFramePr/>
          <p:nvPr/>
        </p:nvGraphicFramePr>
        <p:xfrm>
          <a:off x="6057492" y="2933964"/>
          <a:ext cx="1548000" cy="1485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36AD54FB-95B4-A429-0CD2-D12A012E9755}"/>
              </a:ext>
            </a:extLst>
          </p:cNvPr>
          <p:cNvGraphicFramePr/>
          <p:nvPr/>
        </p:nvGraphicFramePr>
        <p:xfrm>
          <a:off x="8101927" y="2928260"/>
          <a:ext cx="1548000" cy="1485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213A4ACD-BBE6-4624-BF8C-B6552AD17021}"/>
              </a:ext>
            </a:extLst>
          </p:cNvPr>
          <p:cNvGraphicFramePr/>
          <p:nvPr/>
        </p:nvGraphicFramePr>
        <p:xfrm>
          <a:off x="10126013" y="2931112"/>
          <a:ext cx="1548000" cy="1485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9F36B69-4D8D-FA8C-E3BE-5E5E4D820DF9}"/>
              </a:ext>
            </a:extLst>
          </p:cNvPr>
          <p:cNvSpPr txBox="1"/>
          <p:nvPr/>
        </p:nvSpPr>
        <p:spPr bwMode="gray">
          <a:xfrm>
            <a:off x="70090" y="2627793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2A194FF-F732-8E19-A575-4C7D12BF0BCB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Вимушено переміщені особи переважно схильні виїхати з Вінниці у інше місто: 42% ВПО планують виїхати в інше місто, 36% не впевнені і лише 21% мають намір залишитися у Вінниці.</a:t>
            </a:r>
          </a:p>
        </p:txBody>
      </p:sp>
      <p:graphicFrame>
        <p:nvGraphicFramePr>
          <p:cNvPr id="13" name="Table 9">
            <a:extLst>
              <a:ext uri="{FF2B5EF4-FFF2-40B4-BE49-F238E27FC236}">
                <a16:creationId xmlns:a16="http://schemas.microsoft.com/office/drawing/2014/main" id="{1EF6643C-108D-8060-6E4F-14F8DBC49923}"/>
              </a:ext>
            </a:extLst>
          </p:cNvPr>
          <p:cNvGraphicFramePr>
            <a:graphicFrameLocks noGrp="1"/>
          </p:cNvGraphicFramePr>
          <p:nvPr/>
        </p:nvGraphicFramePr>
        <p:xfrm>
          <a:off x="4049360" y="6344023"/>
          <a:ext cx="8020304" cy="218225"/>
        </p:xfrm>
        <a:graphic>
          <a:graphicData uri="http://schemas.openxmlformats.org/drawingml/2006/table">
            <a:tbl>
              <a:tblPr firstRow="1" bandRow="1"/>
              <a:tblGrid>
                <a:gridCol w="2005076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200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9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53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18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4" name="Table 7">
            <a:extLst>
              <a:ext uri="{FF2B5EF4-FFF2-40B4-BE49-F238E27FC236}">
                <a16:creationId xmlns:a16="http://schemas.microsoft.com/office/drawing/2014/main" id="{13896DF9-0B7C-074A-A1E4-AA3215E63E84}"/>
              </a:ext>
            </a:extLst>
          </p:cNvPr>
          <p:cNvGraphicFramePr>
            <a:graphicFrameLocks noGrp="1"/>
          </p:cNvGraphicFramePr>
          <p:nvPr/>
        </p:nvGraphicFramePr>
        <p:xfrm>
          <a:off x="47632" y="5551270"/>
          <a:ext cx="12142312" cy="8084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істо-обласний центр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 місто, не обласний центр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ищ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5" name="Диаграмма 16">
            <a:extLst>
              <a:ext uri="{FF2B5EF4-FFF2-40B4-BE49-F238E27FC236}">
                <a16:creationId xmlns:a16="http://schemas.microsoft.com/office/drawing/2014/main" id="{E38745EE-28D3-0938-2380-BBAD97EF2E12}"/>
              </a:ext>
            </a:extLst>
          </p:cNvPr>
          <p:cNvGraphicFramePr/>
          <p:nvPr/>
        </p:nvGraphicFramePr>
        <p:xfrm>
          <a:off x="4051537" y="5533102"/>
          <a:ext cx="1548000" cy="836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1" name="Table 2">
            <a:extLst>
              <a:ext uri="{FF2B5EF4-FFF2-40B4-BE49-F238E27FC236}">
                <a16:creationId xmlns:a16="http://schemas.microsoft.com/office/drawing/2014/main" id="{2632BCDC-04B8-4F98-166C-21B664AF40BF}"/>
              </a:ext>
            </a:extLst>
          </p:cNvPr>
          <p:cNvGraphicFramePr>
            <a:graphicFrameLocks noGrp="1"/>
          </p:cNvGraphicFramePr>
          <p:nvPr/>
        </p:nvGraphicFramePr>
        <p:xfrm>
          <a:off x="4049361" y="5144063"/>
          <a:ext cx="8080852" cy="345948"/>
        </p:xfrm>
        <a:graphic>
          <a:graphicData uri="http://schemas.openxmlformats.org/drawingml/2006/table">
            <a:tbl>
              <a:tblPr firstRow="1" bandRow="1"/>
              <a:tblGrid>
                <a:gridCol w="202021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DFCA5092-77D0-AAE5-FA08-A2F74E542A26}"/>
              </a:ext>
            </a:extLst>
          </p:cNvPr>
          <p:cNvSpPr txBox="1">
            <a:spLocks/>
          </p:cNvSpPr>
          <p:nvPr/>
        </p:nvSpPr>
        <p:spPr>
          <a:xfrm>
            <a:off x="8304" y="4809571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</a:t>
            </a:r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населеним пунктом проживання до переїзду у Вінницю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23" name="Диаграмма 16">
            <a:extLst>
              <a:ext uri="{FF2B5EF4-FFF2-40B4-BE49-F238E27FC236}">
                <a16:creationId xmlns:a16="http://schemas.microsoft.com/office/drawing/2014/main" id="{F3277E52-38E1-6B09-F2BC-DC76D0E5F58E}"/>
              </a:ext>
            </a:extLst>
          </p:cNvPr>
          <p:cNvGraphicFramePr/>
          <p:nvPr/>
        </p:nvGraphicFramePr>
        <p:xfrm>
          <a:off x="6065795" y="5535954"/>
          <a:ext cx="1548000" cy="836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4" name="Диаграмма 16">
            <a:extLst>
              <a:ext uri="{FF2B5EF4-FFF2-40B4-BE49-F238E27FC236}">
                <a16:creationId xmlns:a16="http://schemas.microsoft.com/office/drawing/2014/main" id="{D7A4923A-90A1-AD9B-CD71-861FA1D5E8DD}"/>
              </a:ext>
            </a:extLst>
          </p:cNvPr>
          <p:cNvGraphicFramePr/>
          <p:nvPr/>
        </p:nvGraphicFramePr>
        <p:xfrm>
          <a:off x="8110230" y="5530250"/>
          <a:ext cx="1548000" cy="836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5" name="Диаграмма 16">
            <a:extLst>
              <a:ext uri="{FF2B5EF4-FFF2-40B4-BE49-F238E27FC236}">
                <a16:creationId xmlns:a16="http://schemas.microsoft.com/office/drawing/2014/main" id="{DDF2DD9D-5197-7A22-E512-372DBED7109A}"/>
              </a:ext>
            </a:extLst>
          </p:cNvPr>
          <p:cNvGraphicFramePr/>
          <p:nvPr/>
        </p:nvGraphicFramePr>
        <p:xfrm>
          <a:off x="10134316" y="5533102"/>
          <a:ext cx="1548000" cy="836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7D8C768D-4FDF-4FCB-6A90-928ECFEFBF77}"/>
              </a:ext>
            </a:extLst>
          </p:cNvPr>
          <p:cNvSpPr txBox="1"/>
          <p:nvPr/>
        </p:nvSpPr>
        <p:spPr bwMode="gray">
          <a:xfrm>
            <a:off x="78393" y="5206079"/>
            <a:ext cx="20257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переїхали до Вінниці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947AD4-FD96-F538-E109-A5FBCC806BFF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4F11BF-941D-4C4C-C027-46695D216E8E}"/>
              </a:ext>
            </a:extLst>
          </p:cNvPr>
          <p:cNvSpPr txBox="1"/>
          <p:nvPr/>
        </p:nvSpPr>
        <p:spPr>
          <a:xfrm>
            <a:off x="6540472" y="3782276"/>
            <a:ext cx="47976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912D4F2-3EF1-F2EE-45E2-27415956AD1A}"/>
              </a:ext>
            </a:extLst>
          </p:cNvPr>
          <p:cNvSpPr txBox="1"/>
          <p:nvPr/>
        </p:nvSpPr>
        <p:spPr>
          <a:xfrm>
            <a:off x="8875866" y="614025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4CD7421-5E45-96D1-67BA-1904AAA41A56}"/>
              </a:ext>
            </a:extLst>
          </p:cNvPr>
          <p:cNvSpPr txBox="1"/>
          <p:nvPr/>
        </p:nvSpPr>
        <p:spPr>
          <a:xfrm>
            <a:off x="8404382" y="376990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с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E1A6E5D-D876-D0C2-96AB-2C870CE0DCF9}"/>
              </a:ext>
            </a:extLst>
          </p:cNvPr>
          <p:cNvSpPr txBox="1"/>
          <p:nvPr/>
        </p:nvSpPr>
        <p:spPr>
          <a:xfrm>
            <a:off x="10459324" y="356744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9CAEEE8-9C6A-A42F-667E-49F7B2FD920B}"/>
              </a:ext>
            </a:extLst>
          </p:cNvPr>
          <p:cNvSpPr txBox="1"/>
          <p:nvPr/>
        </p:nvSpPr>
        <p:spPr>
          <a:xfrm>
            <a:off x="7037001" y="5537334"/>
            <a:ext cx="47976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025315C-7968-FFD5-4A57-10B099059032}"/>
              </a:ext>
            </a:extLst>
          </p:cNvPr>
          <p:cNvSpPr txBox="1"/>
          <p:nvPr/>
        </p:nvSpPr>
        <p:spPr>
          <a:xfrm>
            <a:off x="10847234" y="613533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4F9F175-A4CC-2AB1-B3CE-EBE78A270AF5}"/>
              </a:ext>
            </a:extLst>
          </p:cNvPr>
          <p:cNvSpPr txBox="1"/>
          <p:nvPr/>
        </p:nvSpPr>
        <p:spPr>
          <a:xfrm>
            <a:off x="10896860" y="573545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EB45B50-3CCE-937E-997D-3962C637EBA1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6387711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887EE1A-231F-5AC6-6348-3D6EC5AA2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45EDEA5-6216-F95C-DC28-9BBABFE8CE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5EDEA5-6216-F95C-DC28-9BBABFE8C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BAE20-625E-B790-B7BE-60D9BC908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: розподіл за тривалістю проживання у Вінниц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2496D7-C0E9-062A-894E-FD1A84511C84}"/>
              </a:ext>
            </a:extLst>
          </p:cNvPr>
          <p:cNvSpPr txBox="1"/>
          <p:nvPr/>
        </p:nvSpPr>
        <p:spPr>
          <a:xfrm>
            <a:off x="5456903" y="6620951"/>
            <a:ext cx="629035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 давно Ви проживаєте у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ькій міській громаді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?</a:t>
            </a:r>
            <a:r>
              <a:rPr lang="uk-UA" sz="800" dirty="0">
                <a:solidFill>
                  <a:srgbClr val="585858"/>
                </a:solidFill>
                <a:ea typeface="Times New Roman" panose="02020603050405020304" pitchFamily="18" charset="0"/>
              </a:rPr>
              <a:t> </a:t>
            </a: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6.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 якому населеному пункті Ви проживали до переїзду у Вінницю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E6677F-67B0-47FE-2622-2E5861292E45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D20C9F2F-6759-DA79-0682-EC8890CDAA98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4387383"/>
          <a:ext cx="8020304" cy="218225"/>
        </p:xfrm>
        <a:graphic>
          <a:graphicData uri="http://schemas.openxmlformats.org/drawingml/2006/table">
            <a:tbl>
              <a:tblPr firstRow="1" bandRow="1"/>
              <a:tblGrid>
                <a:gridCol w="2005076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A345EB05-AB14-F72B-7473-DB66625141CF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71244"/>
          <a:ext cx="12142312" cy="14147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родились у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їхали на навчання до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живаєте тут з дитинств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їхали на роботу до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хали до Вінниці внаслідок бойових ді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хали за сімейними обставинами / За власним бажання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87672545-AA9D-7D56-C0CD-0ACA5732FD86}"/>
              </a:ext>
            </a:extLst>
          </p:cNvPr>
          <p:cNvGraphicFramePr/>
          <p:nvPr/>
        </p:nvGraphicFramePr>
        <p:xfrm>
          <a:off x="4043234" y="2931112"/>
          <a:ext cx="1548000" cy="1485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7ABFA0FA-10BB-BB84-28DC-CBBDC85B3515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80852" cy="361188"/>
        </p:xfrm>
        <a:graphic>
          <a:graphicData uri="http://schemas.openxmlformats.org/drawingml/2006/table">
            <a:tbl>
              <a:tblPr firstRow="1" bandRow="1"/>
              <a:tblGrid>
                <a:gridCol w="202021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6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BF085FA8-1082-AAB4-08BC-50E7F3A68DFA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тривалістю проживання у Вінницькій МГ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8CE83B4F-9B74-EFA8-4A83-5491BCED02DD}"/>
              </a:ext>
            </a:extLst>
          </p:cNvPr>
          <p:cNvGraphicFramePr/>
          <p:nvPr/>
        </p:nvGraphicFramePr>
        <p:xfrm>
          <a:off x="6057492" y="2933964"/>
          <a:ext cx="1548000" cy="1485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77BE320D-0B39-E31C-25C1-B747B09C9536}"/>
              </a:ext>
            </a:extLst>
          </p:cNvPr>
          <p:cNvGraphicFramePr/>
          <p:nvPr/>
        </p:nvGraphicFramePr>
        <p:xfrm>
          <a:off x="8101927" y="2928260"/>
          <a:ext cx="1548000" cy="1485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2C624FFD-2007-4883-2732-3485E53AC663}"/>
              </a:ext>
            </a:extLst>
          </p:cNvPr>
          <p:cNvGraphicFramePr/>
          <p:nvPr/>
        </p:nvGraphicFramePr>
        <p:xfrm>
          <a:off x="10126013" y="2931112"/>
          <a:ext cx="1548000" cy="1485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CD5F38B4-B580-BBE2-2124-226C507E731A}"/>
              </a:ext>
            </a:extLst>
          </p:cNvPr>
          <p:cNvSpPr txBox="1"/>
          <p:nvPr/>
        </p:nvSpPr>
        <p:spPr bwMode="gray">
          <a:xfrm>
            <a:off x="70090" y="2627793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49A8B56-DE3C-A2E9-05A4-CAF8028421E8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що народились у Вінниці, більш схильні виїхати за кордон, ніж у інше місто України.</a:t>
            </a:r>
          </a:p>
        </p:txBody>
      </p:sp>
      <p:graphicFrame>
        <p:nvGraphicFramePr>
          <p:cNvPr id="13" name="Table 9">
            <a:extLst>
              <a:ext uri="{FF2B5EF4-FFF2-40B4-BE49-F238E27FC236}">
                <a16:creationId xmlns:a16="http://schemas.microsoft.com/office/drawing/2014/main" id="{E7F8172D-E9F7-0D77-EA57-B314FA4B81FD}"/>
              </a:ext>
            </a:extLst>
          </p:cNvPr>
          <p:cNvGraphicFramePr>
            <a:graphicFrameLocks noGrp="1"/>
          </p:cNvGraphicFramePr>
          <p:nvPr/>
        </p:nvGraphicFramePr>
        <p:xfrm>
          <a:off x="4049360" y="6344023"/>
          <a:ext cx="8020304" cy="218225"/>
        </p:xfrm>
        <a:graphic>
          <a:graphicData uri="http://schemas.openxmlformats.org/drawingml/2006/table">
            <a:tbl>
              <a:tblPr firstRow="1" bandRow="1"/>
              <a:tblGrid>
                <a:gridCol w="2005076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200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8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0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2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4" name="Table 7">
            <a:extLst>
              <a:ext uri="{FF2B5EF4-FFF2-40B4-BE49-F238E27FC236}">
                <a16:creationId xmlns:a16="http://schemas.microsoft.com/office/drawing/2014/main" id="{1BF340D3-9616-ECEA-202A-665CF375301D}"/>
              </a:ext>
            </a:extLst>
          </p:cNvPr>
          <p:cNvGraphicFramePr>
            <a:graphicFrameLocks noGrp="1"/>
          </p:cNvGraphicFramePr>
          <p:nvPr/>
        </p:nvGraphicFramePr>
        <p:xfrm>
          <a:off x="47632" y="5551270"/>
          <a:ext cx="12142312" cy="8084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істо-обласний центр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 місто, не обласний центр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ищ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02112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5" name="Диаграмма 16">
            <a:extLst>
              <a:ext uri="{FF2B5EF4-FFF2-40B4-BE49-F238E27FC236}">
                <a16:creationId xmlns:a16="http://schemas.microsoft.com/office/drawing/2014/main" id="{E997EA61-4F51-AC73-43FF-844E713891C3}"/>
              </a:ext>
            </a:extLst>
          </p:cNvPr>
          <p:cNvGraphicFramePr/>
          <p:nvPr/>
        </p:nvGraphicFramePr>
        <p:xfrm>
          <a:off x="4051537" y="5533102"/>
          <a:ext cx="1548000" cy="836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1" name="Table 2">
            <a:extLst>
              <a:ext uri="{FF2B5EF4-FFF2-40B4-BE49-F238E27FC236}">
                <a16:creationId xmlns:a16="http://schemas.microsoft.com/office/drawing/2014/main" id="{A5EB4D6D-6EF6-8096-C6E1-7A41207BDF5A}"/>
              </a:ext>
            </a:extLst>
          </p:cNvPr>
          <p:cNvGraphicFramePr>
            <a:graphicFrameLocks noGrp="1"/>
          </p:cNvGraphicFramePr>
          <p:nvPr/>
        </p:nvGraphicFramePr>
        <p:xfrm>
          <a:off x="4049361" y="5144063"/>
          <a:ext cx="8080852" cy="361188"/>
        </p:xfrm>
        <a:graphic>
          <a:graphicData uri="http://schemas.openxmlformats.org/drawingml/2006/table">
            <a:tbl>
              <a:tblPr firstRow="1" bandRow="1"/>
              <a:tblGrid>
                <a:gridCol w="202021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6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222C366D-BA82-46E8-E3F4-96FD52805DFC}"/>
              </a:ext>
            </a:extLst>
          </p:cNvPr>
          <p:cNvSpPr txBox="1">
            <a:spLocks/>
          </p:cNvSpPr>
          <p:nvPr/>
        </p:nvSpPr>
        <p:spPr>
          <a:xfrm>
            <a:off x="8304" y="4809571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</a:t>
            </a:r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населеним пунктом проживання до переїзду у Вінницю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23" name="Диаграмма 16">
            <a:extLst>
              <a:ext uri="{FF2B5EF4-FFF2-40B4-BE49-F238E27FC236}">
                <a16:creationId xmlns:a16="http://schemas.microsoft.com/office/drawing/2014/main" id="{BFD16576-1802-19DF-CE8A-91E487F4A7A9}"/>
              </a:ext>
            </a:extLst>
          </p:cNvPr>
          <p:cNvGraphicFramePr/>
          <p:nvPr/>
        </p:nvGraphicFramePr>
        <p:xfrm>
          <a:off x="6065795" y="5535954"/>
          <a:ext cx="1548000" cy="836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4" name="Диаграмма 16">
            <a:extLst>
              <a:ext uri="{FF2B5EF4-FFF2-40B4-BE49-F238E27FC236}">
                <a16:creationId xmlns:a16="http://schemas.microsoft.com/office/drawing/2014/main" id="{AB64C574-6C8B-72E9-59D9-A4F6702E60DA}"/>
              </a:ext>
            </a:extLst>
          </p:cNvPr>
          <p:cNvGraphicFramePr/>
          <p:nvPr/>
        </p:nvGraphicFramePr>
        <p:xfrm>
          <a:off x="8110230" y="5530250"/>
          <a:ext cx="1548000" cy="836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5" name="Диаграмма 16">
            <a:extLst>
              <a:ext uri="{FF2B5EF4-FFF2-40B4-BE49-F238E27FC236}">
                <a16:creationId xmlns:a16="http://schemas.microsoft.com/office/drawing/2014/main" id="{195E22DD-E215-D035-4945-59F1FF68728D}"/>
              </a:ext>
            </a:extLst>
          </p:cNvPr>
          <p:cNvGraphicFramePr/>
          <p:nvPr/>
        </p:nvGraphicFramePr>
        <p:xfrm>
          <a:off x="10134316" y="5533102"/>
          <a:ext cx="1548000" cy="836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DE17DE0F-96BD-3512-8A07-0BFB9ADAF9C0}"/>
              </a:ext>
            </a:extLst>
          </p:cNvPr>
          <p:cNvSpPr txBox="1"/>
          <p:nvPr/>
        </p:nvSpPr>
        <p:spPr bwMode="gray">
          <a:xfrm>
            <a:off x="78393" y="5206079"/>
            <a:ext cx="20257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переїхали до Вінниці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21EDF3-4722-BB32-E690-FF23C8225DF4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8F889E-5932-88D4-E6C6-60FFEF8009C2}"/>
              </a:ext>
            </a:extLst>
          </p:cNvPr>
          <p:cNvSpPr txBox="1"/>
          <p:nvPr/>
        </p:nvSpPr>
        <p:spPr>
          <a:xfrm>
            <a:off x="7199233" y="5765139"/>
            <a:ext cx="47976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D62F502-B24D-F641-018E-6BD98264C2D4}"/>
              </a:ext>
            </a:extLst>
          </p:cNvPr>
          <p:cNvSpPr txBox="1"/>
          <p:nvPr/>
        </p:nvSpPr>
        <p:spPr>
          <a:xfrm>
            <a:off x="8813452" y="614799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46BC43-8623-4F1E-1271-CA12AF640AAF}"/>
              </a:ext>
            </a:extLst>
          </p:cNvPr>
          <p:cNvSpPr txBox="1"/>
          <p:nvPr/>
        </p:nvSpPr>
        <p:spPr>
          <a:xfrm>
            <a:off x="7096227" y="295888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226B73F-4A72-6646-E30F-A30671FCEB95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F8D147-4F55-50C4-1E40-5E80329BFC98}"/>
              </a:ext>
            </a:extLst>
          </p:cNvPr>
          <p:cNvSpPr txBox="1"/>
          <p:nvPr/>
        </p:nvSpPr>
        <p:spPr>
          <a:xfrm>
            <a:off x="8737981" y="5937203"/>
            <a:ext cx="47976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6077761-5DC1-0A72-00C4-C34AFE55DDE6}"/>
              </a:ext>
            </a:extLst>
          </p:cNvPr>
          <p:cNvSpPr txBox="1"/>
          <p:nvPr/>
        </p:nvSpPr>
        <p:spPr>
          <a:xfrm>
            <a:off x="10843813" y="614307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35669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D799DA0-558A-B80E-2038-22F068CAA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ED24F32-E097-B4B9-7D2D-7AAC49802E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D24F32-E097-B4B9-7D2D-7AAC49802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773960-6F4C-D176-30F8-05535BC28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 fontScale="90000"/>
          </a:bodyPr>
          <a:lstStyle/>
          <a:p>
            <a:r>
              <a:rPr lang="uk-UA" sz="2400" dirty="0"/>
              <a:t>Наміри переїзду в інше місто: розподіл за н</a:t>
            </a:r>
            <a:r>
              <a:rPr lang="uk-UA" sz="2400" noProof="0" dirty="0" err="1"/>
              <a:t>аявністю</a:t>
            </a:r>
            <a:r>
              <a:rPr lang="uk-UA" sz="2400" noProof="0" dirty="0"/>
              <a:t> дітей та сімейним статусом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71CE26-A90E-993A-BF4F-E81326654623}"/>
              </a:ext>
            </a:extLst>
          </p:cNvPr>
          <p:cNvSpPr txBox="1"/>
          <p:nvPr/>
        </p:nvSpPr>
        <p:spPr>
          <a:xfrm>
            <a:off x="8003458" y="6620951"/>
            <a:ext cx="37438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7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Чи маєте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дітей віком до 16 рокі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?</a:t>
            </a:r>
            <a:r>
              <a:rPr lang="uk-UA" sz="800" dirty="0">
                <a:solidFill>
                  <a:srgbClr val="585858"/>
                </a:solidFill>
                <a:ea typeface="Times New Roman" panose="02020603050405020304" pitchFamily="18" charset="0"/>
              </a:rPr>
              <a:t> </a:t>
            </a: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8.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Який Ваш сімейний статус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F07E55-31A4-0733-7A34-312F375A2C4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DE18D8AF-AB40-055F-C4BA-6378F1A75E36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3994090"/>
          <a:ext cx="7998656" cy="218225"/>
        </p:xfrm>
        <a:graphic>
          <a:graphicData uri="http://schemas.openxmlformats.org/drawingml/2006/table">
            <a:tbl>
              <a:tblPr firstRow="1" bandRow="1"/>
              <a:tblGrid>
                <a:gridCol w="199966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3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0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27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4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0A1BBD32-ED33-A2D0-B6E5-AF46179626C1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49081"/>
          <a:ext cx="12142312" cy="10664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дошкільного в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шкільного в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шкільного та дошкільного в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5F837D3F-7627-BBAF-2B58-631A67772FC3}"/>
              </a:ext>
            </a:extLst>
          </p:cNvPr>
          <p:cNvGraphicFramePr/>
          <p:nvPr/>
        </p:nvGraphicFramePr>
        <p:xfrm>
          <a:off x="4043234" y="2916233"/>
          <a:ext cx="1905282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CFF9F2D0-BB0F-F1E4-1A47-AF64DCEDE068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59040" cy="345948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D1DF7E0B-9A2E-F8D8-D4FD-CD3A6D43C9D9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наявністю дітей до 16-ти років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EAD82FA0-AF04-0940-1A03-7AB441E291F9}"/>
              </a:ext>
            </a:extLst>
          </p:cNvPr>
          <p:cNvGraphicFramePr/>
          <p:nvPr/>
        </p:nvGraphicFramePr>
        <p:xfrm>
          <a:off x="6047657" y="2919085"/>
          <a:ext cx="1905282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49B830E6-9E45-5ABA-A680-710BA9203BBD}"/>
              </a:ext>
            </a:extLst>
          </p:cNvPr>
          <p:cNvGraphicFramePr/>
          <p:nvPr/>
        </p:nvGraphicFramePr>
        <p:xfrm>
          <a:off x="8072427" y="2913381"/>
          <a:ext cx="1905282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1DF7332D-25EB-66A5-34DC-11B088413D27}"/>
              </a:ext>
            </a:extLst>
          </p:cNvPr>
          <p:cNvGraphicFramePr/>
          <p:nvPr/>
        </p:nvGraphicFramePr>
        <p:xfrm>
          <a:off x="10086680" y="2916233"/>
          <a:ext cx="1905282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092E2A6-6FC7-4E05-7155-03E1FB462F55}"/>
              </a:ext>
            </a:extLst>
          </p:cNvPr>
          <p:cNvSpPr txBox="1"/>
          <p:nvPr/>
        </p:nvSpPr>
        <p:spPr bwMode="gray">
          <a:xfrm>
            <a:off x="70089" y="2598297"/>
            <a:ext cx="18177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 віком від 18 років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AEA9DA6-4CD2-EB5F-766D-A24AB41BAE80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Наявність сім’ї (офіційного шлюбу) та дітей зменшує схильність до переїзду в інше місто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810028A-60FB-AE96-DF30-FC54E572A984}"/>
              </a:ext>
            </a:extLst>
          </p:cNvPr>
          <p:cNvSpPr txBox="1"/>
          <p:nvPr/>
        </p:nvSpPr>
        <p:spPr>
          <a:xfrm>
            <a:off x="10592180" y="350051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BB314E2-1DBF-7588-F4E6-D9A0D43C4DB2}"/>
              </a:ext>
            </a:extLst>
          </p:cNvPr>
          <p:cNvSpPr txBox="1"/>
          <p:nvPr/>
        </p:nvSpPr>
        <p:spPr>
          <a:xfrm>
            <a:off x="7425669" y="297301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15B015D-53A1-F0CC-3204-79E8EBDCE57A}"/>
              </a:ext>
            </a:extLst>
          </p:cNvPr>
          <p:cNvSpPr txBox="1"/>
          <p:nvPr/>
        </p:nvSpPr>
        <p:spPr>
          <a:xfrm>
            <a:off x="11081153" y="5375256"/>
            <a:ext cx="515627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41" name="Table 9">
            <a:extLst>
              <a:ext uri="{FF2B5EF4-FFF2-40B4-BE49-F238E27FC236}">
                <a16:creationId xmlns:a16="http://schemas.microsoft.com/office/drawing/2014/main" id="{8E8C3479-D34D-8492-6ED3-2AF5EE639211}"/>
              </a:ext>
            </a:extLst>
          </p:cNvPr>
          <p:cNvGraphicFramePr>
            <a:graphicFrameLocks noGrp="1"/>
          </p:cNvGraphicFramePr>
          <p:nvPr/>
        </p:nvGraphicFramePr>
        <p:xfrm>
          <a:off x="4032949" y="6403190"/>
          <a:ext cx="7998656" cy="218225"/>
        </p:xfrm>
        <a:graphic>
          <a:graphicData uri="http://schemas.openxmlformats.org/drawingml/2006/table">
            <a:tbl>
              <a:tblPr firstRow="1" bandRow="1"/>
              <a:tblGrid>
                <a:gridCol w="199966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3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0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27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4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42" name="Table 7">
            <a:extLst>
              <a:ext uri="{FF2B5EF4-FFF2-40B4-BE49-F238E27FC236}">
                <a16:creationId xmlns:a16="http://schemas.microsoft.com/office/drawing/2014/main" id="{3FA24C9D-590E-0B3E-2244-F047D1290F4D}"/>
              </a:ext>
            </a:extLst>
          </p:cNvPr>
          <p:cNvGraphicFramePr>
            <a:graphicFrameLocks noGrp="1"/>
          </p:cNvGraphicFramePr>
          <p:nvPr/>
        </p:nvGraphicFramePr>
        <p:xfrm>
          <a:off x="31221" y="5082880"/>
          <a:ext cx="12142312" cy="1333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дружений / незаміж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офіційно зареєстрованому шлюб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4940905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вемо разом, але без реєстра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лучений /на, не живемо разо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43" name="Диаграмма 16">
            <a:extLst>
              <a:ext uri="{FF2B5EF4-FFF2-40B4-BE49-F238E27FC236}">
                <a16:creationId xmlns:a16="http://schemas.microsoft.com/office/drawing/2014/main" id="{CC62D6EE-CA1D-92E7-47CB-ADE1AE9B617B}"/>
              </a:ext>
            </a:extLst>
          </p:cNvPr>
          <p:cNvGraphicFramePr/>
          <p:nvPr/>
        </p:nvGraphicFramePr>
        <p:xfrm>
          <a:off x="4035126" y="5040199"/>
          <a:ext cx="1905282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4" name="Table 2">
            <a:extLst>
              <a:ext uri="{FF2B5EF4-FFF2-40B4-BE49-F238E27FC236}">
                <a16:creationId xmlns:a16="http://schemas.microsoft.com/office/drawing/2014/main" id="{7921983F-ECFC-532A-DA26-709B9783A8BE}"/>
              </a:ext>
            </a:extLst>
          </p:cNvPr>
          <p:cNvGraphicFramePr>
            <a:graphicFrameLocks noGrp="1"/>
          </p:cNvGraphicFramePr>
          <p:nvPr/>
        </p:nvGraphicFramePr>
        <p:xfrm>
          <a:off x="4032950" y="4670080"/>
          <a:ext cx="8059040" cy="345948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45" name="Title 1">
            <a:extLst>
              <a:ext uri="{FF2B5EF4-FFF2-40B4-BE49-F238E27FC236}">
                <a16:creationId xmlns:a16="http://schemas.microsoft.com/office/drawing/2014/main" id="{9070F66B-54CF-A5A8-8EF7-AC74E29ED761}"/>
              </a:ext>
            </a:extLst>
          </p:cNvPr>
          <p:cNvSpPr txBox="1">
            <a:spLocks/>
          </p:cNvSpPr>
          <p:nvPr/>
        </p:nvSpPr>
        <p:spPr>
          <a:xfrm>
            <a:off x="-8107" y="433558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</a:t>
            </a:r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сімейним статусом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46" name="Диаграмма 16">
            <a:extLst>
              <a:ext uri="{FF2B5EF4-FFF2-40B4-BE49-F238E27FC236}">
                <a16:creationId xmlns:a16="http://schemas.microsoft.com/office/drawing/2014/main" id="{4949C799-B64F-FDAF-53AD-E268FF088F14}"/>
              </a:ext>
            </a:extLst>
          </p:cNvPr>
          <p:cNvGraphicFramePr/>
          <p:nvPr/>
        </p:nvGraphicFramePr>
        <p:xfrm>
          <a:off x="6039549" y="5043051"/>
          <a:ext cx="1905282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7" name="Диаграмма 16">
            <a:extLst>
              <a:ext uri="{FF2B5EF4-FFF2-40B4-BE49-F238E27FC236}">
                <a16:creationId xmlns:a16="http://schemas.microsoft.com/office/drawing/2014/main" id="{1DFFE18A-171F-65DE-AB6B-E722F25EFBE7}"/>
              </a:ext>
            </a:extLst>
          </p:cNvPr>
          <p:cNvGraphicFramePr/>
          <p:nvPr/>
        </p:nvGraphicFramePr>
        <p:xfrm>
          <a:off x="8064319" y="5037347"/>
          <a:ext cx="1905282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8" name="Диаграмма 16">
            <a:extLst>
              <a:ext uri="{FF2B5EF4-FFF2-40B4-BE49-F238E27FC236}">
                <a16:creationId xmlns:a16="http://schemas.microsoft.com/office/drawing/2014/main" id="{9E382BBC-B5E7-E815-D111-10131314CFFC}"/>
              </a:ext>
            </a:extLst>
          </p:cNvPr>
          <p:cNvGraphicFramePr/>
          <p:nvPr/>
        </p:nvGraphicFramePr>
        <p:xfrm>
          <a:off x="10078572" y="5040199"/>
          <a:ext cx="1905282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4692D7F3-D53E-446B-059A-A78496A09B0A}"/>
              </a:ext>
            </a:extLst>
          </p:cNvPr>
          <p:cNvSpPr txBox="1"/>
          <p:nvPr/>
        </p:nvSpPr>
        <p:spPr bwMode="gray">
          <a:xfrm>
            <a:off x="61981" y="4732096"/>
            <a:ext cx="18177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 віком від 18 років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A2C7F4-C9B7-2474-424B-27D4404F6C1F}"/>
              </a:ext>
            </a:extLst>
          </p:cNvPr>
          <p:cNvSpPr txBox="1"/>
          <p:nvPr/>
        </p:nvSpPr>
        <p:spPr>
          <a:xfrm>
            <a:off x="9456031" y="296810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F78885-B864-B09B-AA32-0B195388146F}"/>
              </a:ext>
            </a:extLst>
          </p:cNvPr>
          <p:cNvSpPr txBox="1"/>
          <p:nvPr/>
        </p:nvSpPr>
        <p:spPr>
          <a:xfrm>
            <a:off x="10469277" y="377089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D69A7D-C117-E46F-4A7C-917F48CE2A55}"/>
              </a:ext>
            </a:extLst>
          </p:cNvPr>
          <p:cNvSpPr txBox="1"/>
          <p:nvPr/>
        </p:nvSpPr>
        <p:spPr>
          <a:xfrm>
            <a:off x="7194611" y="510170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85AEFD-E11C-2A47-246A-DC43E6AA4ED7}"/>
              </a:ext>
            </a:extLst>
          </p:cNvPr>
          <p:cNvSpPr txBox="1"/>
          <p:nvPr/>
        </p:nvSpPr>
        <p:spPr>
          <a:xfrm>
            <a:off x="9224973" y="510662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FB862FD-E5FB-9A33-12BA-D1BE13B27A48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2205158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6A6CE67-D3C0-E88F-292E-6783BCBB40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CD98EB-321B-3325-598C-F600F353F5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CD98EB-321B-3325-598C-F600F353F5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9E75D9-6A47-8285-7D47-7869A64F0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: розподіл за наявністю дітей та сімейним статусом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45E9B7-D32E-E48E-27F2-7BD91FDBE082}"/>
              </a:ext>
            </a:extLst>
          </p:cNvPr>
          <p:cNvSpPr txBox="1"/>
          <p:nvPr/>
        </p:nvSpPr>
        <p:spPr>
          <a:xfrm>
            <a:off x="8003458" y="6620951"/>
            <a:ext cx="37438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7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Чи маєте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дітей віком до 16 рокі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?</a:t>
            </a:r>
            <a:r>
              <a:rPr lang="uk-UA" sz="800" dirty="0">
                <a:solidFill>
                  <a:srgbClr val="585858"/>
                </a:solidFill>
                <a:ea typeface="Times New Roman" panose="02020603050405020304" pitchFamily="18" charset="0"/>
              </a:rPr>
              <a:t> </a:t>
            </a: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8.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Який Ваш сімейний статус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2BC75C-7A58-2921-B95F-CEA610B43C99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7BE6EC4C-94EA-FB5A-80F4-62F67F87525A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3994090"/>
          <a:ext cx="7998656" cy="218225"/>
        </p:xfrm>
        <a:graphic>
          <a:graphicData uri="http://schemas.openxmlformats.org/drawingml/2006/table">
            <a:tbl>
              <a:tblPr firstRow="1" bandRow="1"/>
              <a:tblGrid>
                <a:gridCol w="199966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3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1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2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4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70DFD636-1063-FF05-B278-2FD27A5CC758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49081"/>
          <a:ext cx="12142312" cy="10664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дошкільного в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шкільного в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шкільного та дошкільного в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E01E49D0-A30C-29E3-CEBA-0A0D9B4A22A5}"/>
              </a:ext>
            </a:extLst>
          </p:cNvPr>
          <p:cNvGraphicFramePr/>
          <p:nvPr/>
        </p:nvGraphicFramePr>
        <p:xfrm>
          <a:off x="4043234" y="2916233"/>
          <a:ext cx="1905282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75B7A5B5-61E7-CFFF-C616-08C675666227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59040" cy="361188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6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2CF4A662-135B-ED0A-C884-3DA29D7B8D50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наявністю дітей до 16-ти років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C8F5B108-ACE9-E7D5-4FA8-AFCD5E4E926E}"/>
              </a:ext>
            </a:extLst>
          </p:cNvPr>
          <p:cNvGraphicFramePr/>
          <p:nvPr/>
        </p:nvGraphicFramePr>
        <p:xfrm>
          <a:off x="6047657" y="2919085"/>
          <a:ext cx="1905282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1C76CC96-27F3-295F-0B97-2FDE1C8ED3D6}"/>
              </a:ext>
            </a:extLst>
          </p:cNvPr>
          <p:cNvGraphicFramePr/>
          <p:nvPr/>
        </p:nvGraphicFramePr>
        <p:xfrm>
          <a:off x="8072427" y="2913381"/>
          <a:ext cx="1905282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47048827-DB8F-3850-2FA2-6027A515DE2B}"/>
              </a:ext>
            </a:extLst>
          </p:cNvPr>
          <p:cNvGraphicFramePr/>
          <p:nvPr/>
        </p:nvGraphicFramePr>
        <p:xfrm>
          <a:off x="10086680" y="2916233"/>
          <a:ext cx="1905282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FE725671-2410-9C88-1845-878319D05D1D}"/>
              </a:ext>
            </a:extLst>
          </p:cNvPr>
          <p:cNvSpPr txBox="1"/>
          <p:nvPr/>
        </p:nvSpPr>
        <p:spPr bwMode="gray">
          <a:xfrm>
            <a:off x="70089" y="2598297"/>
            <a:ext cx="18177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 віком від 18 років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A4980EB-B6AE-5C7A-D803-2B24409F2A74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Аналогічно офіційний шлюб та наявність дітей зменшує схильність до переїзду за кордон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3349572-EA00-9952-57C8-F52DC7083FD4}"/>
              </a:ext>
            </a:extLst>
          </p:cNvPr>
          <p:cNvSpPr txBox="1"/>
          <p:nvPr/>
        </p:nvSpPr>
        <p:spPr>
          <a:xfrm>
            <a:off x="7406005" y="298175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41" name="Table 9">
            <a:extLst>
              <a:ext uri="{FF2B5EF4-FFF2-40B4-BE49-F238E27FC236}">
                <a16:creationId xmlns:a16="http://schemas.microsoft.com/office/drawing/2014/main" id="{DC4666F2-0018-3C6E-C841-52883CA3BD8A}"/>
              </a:ext>
            </a:extLst>
          </p:cNvPr>
          <p:cNvGraphicFramePr>
            <a:graphicFrameLocks noGrp="1"/>
          </p:cNvGraphicFramePr>
          <p:nvPr/>
        </p:nvGraphicFramePr>
        <p:xfrm>
          <a:off x="4032949" y="6403190"/>
          <a:ext cx="7998656" cy="218225"/>
        </p:xfrm>
        <a:graphic>
          <a:graphicData uri="http://schemas.openxmlformats.org/drawingml/2006/table">
            <a:tbl>
              <a:tblPr firstRow="1" bandRow="1"/>
              <a:tblGrid>
                <a:gridCol w="199966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3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1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2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4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42" name="Table 7">
            <a:extLst>
              <a:ext uri="{FF2B5EF4-FFF2-40B4-BE49-F238E27FC236}">
                <a16:creationId xmlns:a16="http://schemas.microsoft.com/office/drawing/2014/main" id="{F04656D8-A845-AF80-A01E-84BF61F71E9A}"/>
              </a:ext>
            </a:extLst>
          </p:cNvPr>
          <p:cNvGraphicFramePr>
            <a:graphicFrameLocks noGrp="1"/>
          </p:cNvGraphicFramePr>
          <p:nvPr/>
        </p:nvGraphicFramePr>
        <p:xfrm>
          <a:off x="31221" y="5082880"/>
          <a:ext cx="12142312" cy="1333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дружений / незаміж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офіційно зареєстрованому шлюб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4940905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вемо разом, але без реєстра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лучений /на, не живемо разо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43" name="Диаграмма 16">
            <a:extLst>
              <a:ext uri="{FF2B5EF4-FFF2-40B4-BE49-F238E27FC236}">
                <a16:creationId xmlns:a16="http://schemas.microsoft.com/office/drawing/2014/main" id="{9A92A0AC-D2F8-8C56-F78E-6089CDC48A3B}"/>
              </a:ext>
            </a:extLst>
          </p:cNvPr>
          <p:cNvGraphicFramePr/>
          <p:nvPr/>
        </p:nvGraphicFramePr>
        <p:xfrm>
          <a:off x="4035126" y="5040199"/>
          <a:ext cx="1905282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4" name="Table 2">
            <a:extLst>
              <a:ext uri="{FF2B5EF4-FFF2-40B4-BE49-F238E27FC236}">
                <a16:creationId xmlns:a16="http://schemas.microsoft.com/office/drawing/2014/main" id="{7FE64D76-CE48-79EB-BE6B-C34B80492FF7}"/>
              </a:ext>
            </a:extLst>
          </p:cNvPr>
          <p:cNvGraphicFramePr>
            <a:graphicFrameLocks noGrp="1"/>
          </p:cNvGraphicFramePr>
          <p:nvPr/>
        </p:nvGraphicFramePr>
        <p:xfrm>
          <a:off x="4032950" y="4670080"/>
          <a:ext cx="8059040" cy="361188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6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45" name="Title 1">
            <a:extLst>
              <a:ext uri="{FF2B5EF4-FFF2-40B4-BE49-F238E27FC236}">
                <a16:creationId xmlns:a16="http://schemas.microsoft.com/office/drawing/2014/main" id="{0EFBC337-DBE4-FE7C-58B5-D91BB2CEDE43}"/>
              </a:ext>
            </a:extLst>
          </p:cNvPr>
          <p:cNvSpPr txBox="1">
            <a:spLocks/>
          </p:cNvSpPr>
          <p:nvPr/>
        </p:nvSpPr>
        <p:spPr>
          <a:xfrm>
            <a:off x="-8107" y="433558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</a:t>
            </a:r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сімейним статусом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46" name="Диаграмма 16">
            <a:extLst>
              <a:ext uri="{FF2B5EF4-FFF2-40B4-BE49-F238E27FC236}">
                <a16:creationId xmlns:a16="http://schemas.microsoft.com/office/drawing/2014/main" id="{C7FA5B71-FAAA-A0C9-9FB7-81C4DA26EEE2}"/>
              </a:ext>
            </a:extLst>
          </p:cNvPr>
          <p:cNvGraphicFramePr/>
          <p:nvPr/>
        </p:nvGraphicFramePr>
        <p:xfrm>
          <a:off x="6039549" y="5043051"/>
          <a:ext cx="1905282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7" name="Диаграмма 16">
            <a:extLst>
              <a:ext uri="{FF2B5EF4-FFF2-40B4-BE49-F238E27FC236}">
                <a16:creationId xmlns:a16="http://schemas.microsoft.com/office/drawing/2014/main" id="{1200437A-B176-962C-07D0-05E52B1F4E3C}"/>
              </a:ext>
            </a:extLst>
          </p:cNvPr>
          <p:cNvGraphicFramePr/>
          <p:nvPr/>
        </p:nvGraphicFramePr>
        <p:xfrm>
          <a:off x="8064319" y="5037347"/>
          <a:ext cx="1905282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8" name="Диаграмма 16">
            <a:extLst>
              <a:ext uri="{FF2B5EF4-FFF2-40B4-BE49-F238E27FC236}">
                <a16:creationId xmlns:a16="http://schemas.microsoft.com/office/drawing/2014/main" id="{0E914474-5290-EE9D-BDCF-530CF1C51B35}"/>
              </a:ext>
            </a:extLst>
          </p:cNvPr>
          <p:cNvGraphicFramePr/>
          <p:nvPr/>
        </p:nvGraphicFramePr>
        <p:xfrm>
          <a:off x="10078572" y="5040199"/>
          <a:ext cx="1905282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14261747-E041-26D2-32BE-6E296E2A488A}"/>
              </a:ext>
            </a:extLst>
          </p:cNvPr>
          <p:cNvSpPr txBox="1"/>
          <p:nvPr/>
        </p:nvSpPr>
        <p:spPr bwMode="gray">
          <a:xfrm>
            <a:off x="61981" y="4732096"/>
            <a:ext cx="18177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 віком від 18 років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7AA279-6AE8-0281-47D3-91ABACD7B2BF}"/>
              </a:ext>
            </a:extLst>
          </p:cNvPr>
          <p:cNvSpPr txBox="1"/>
          <p:nvPr/>
        </p:nvSpPr>
        <p:spPr>
          <a:xfrm>
            <a:off x="9416703" y="296810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F1EFB22-6D66-AFCC-1286-6F921A05BF5D}"/>
              </a:ext>
            </a:extLst>
          </p:cNvPr>
          <p:cNvSpPr txBox="1"/>
          <p:nvPr/>
        </p:nvSpPr>
        <p:spPr>
          <a:xfrm>
            <a:off x="10577140" y="35007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BEF24D-7635-3537-9AEF-F75D8724DA35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2A75A2B-5218-167D-C90D-A05270260F97}"/>
              </a:ext>
            </a:extLst>
          </p:cNvPr>
          <p:cNvSpPr txBox="1"/>
          <p:nvPr/>
        </p:nvSpPr>
        <p:spPr>
          <a:xfrm>
            <a:off x="11087953" y="5370814"/>
            <a:ext cx="515627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F320A8-148D-2C4F-0C07-79537E91B63D}"/>
              </a:ext>
            </a:extLst>
          </p:cNvPr>
          <p:cNvSpPr txBox="1"/>
          <p:nvPr/>
        </p:nvSpPr>
        <p:spPr>
          <a:xfrm>
            <a:off x="10434572" y="377109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EE811E2-6AD6-E3AD-04CE-4BC6CE08C069}"/>
              </a:ext>
            </a:extLst>
          </p:cNvPr>
          <p:cNvSpPr txBox="1"/>
          <p:nvPr/>
        </p:nvSpPr>
        <p:spPr>
          <a:xfrm>
            <a:off x="7047128" y="509077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0D2663C-F26B-B876-403D-687ABDD7EA6A}"/>
              </a:ext>
            </a:extLst>
          </p:cNvPr>
          <p:cNvSpPr txBox="1"/>
          <p:nvPr/>
        </p:nvSpPr>
        <p:spPr>
          <a:xfrm>
            <a:off x="9224973" y="509569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474360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E03DD38-9D80-4DB2-6F67-61DE7F7472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DC3AC43-DB7D-5302-A286-4EFE32CB22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C3AC43-DB7D-5302-A286-4EFE32CB22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88445A-5D7D-A8D5-5D29-C8EC5D570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: розподіл за статусом зайнятост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99CDEB-BE54-FAC4-879B-E6BA4507DBBD}"/>
              </a:ext>
            </a:extLst>
          </p:cNvPr>
          <p:cNvSpPr txBox="1"/>
          <p:nvPr/>
        </p:nvSpPr>
        <p:spPr>
          <a:xfrm>
            <a:off x="9851923" y="6620950"/>
            <a:ext cx="1895335" cy="218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1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е Ваше основне заняття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119FD5-5CF4-ED7E-02A9-BE8171AE8A1E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0A4F4701-2A57-3440-D177-117C154AB431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88417"/>
          <a:ext cx="12142312" cy="3086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ацюєте за наймом на повний або неповний робочий ден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дете бізнес, самозайняти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єтесь у закладі вищої освіти </a:t>
                      </a:r>
                      <a:r>
                        <a:rPr lang="ru-RU" sz="8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університет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єтесь у коледжі, училищі, іншому професійно-технічному заклад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працюєте і не шукаєте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єтесь у середній школ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раз не працюєте, але активно шукаєте роботу </a:t>
                      </a:r>
                      <a:r>
                        <a:rPr lang="ru-RU" sz="8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переглядаєте оголошення, запитуєте про роботу у знайомих, надсилаєте інформацію про себе)</a:t>
                      </a:r>
                      <a:endParaRPr lang="ru-RU" sz="85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військовій служб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131673D5-C856-174A-4734-AE4294110055}"/>
              </a:ext>
            </a:extLst>
          </p:cNvPr>
          <p:cNvGraphicFramePr/>
          <p:nvPr/>
        </p:nvGraphicFramePr>
        <p:xfrm>
          <a:off x="4043233" y="2896575"/>
          <a:ext cx="1934779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0B0B1C72-2F81-50F1-E8F8-9A02FE9AB2BC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80852" cy="345948"/>
        </p:xfrm>
        <a:graphic>
          <a:graphicData uri="http://schemas.openxmlformats.org/drawingml/2006/table">
            <a:tbl>
              <a:tblPr firstRow="1" bandRow="1"/>
              <a:tblGrid>
                <a:gridCol w="202021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C8515191-7A5B-E73F-5A7D-1C22A9DD05E1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Статус зайнятості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976801DA-06DB-A5E1-3AA1-8A8524B20D58}"/>
              </a:ext>
            </a:extLst>
          </p:cNvPr>
          <p:cNvGraphicFramePr/>
          <p:nvPr/>
        </p:nvGraphicFramePr>
        <p:xfrm>
          <a:off x="6067322" y="2899427"/>
          <a:ext cx="1934779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57FE4494-3BD1-4EEA-3F49-E94B3CBD9023}"/>
              </a:ext>
            </a:extLst>
          </p:cNvPr>
          <p:cNvGraphicFramePr/>
          <p:nvPr/>
        </p:nvGraphicFramePr>
        <p:xfrm>
          <a:off x="8072426" y="2893723"/>
          <a:ext cx="1934779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A14DD1B3-230C-9A46-8634-F3B0B3D6C84E}"/>
              </a:ext>
            </a:extLst>
          </p:cNvPr>
          <p:cNvGraphicFramePr/>
          <p:nvPr/>
        </p:nvGraphicFramePr>
        <p:xfrm>
          <a:off x="10116178" y="2896575"/>
          <a:ext cx="1934779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8220FFB5-C614-2065-291D-310200B88710}"/>
              </a:ext>
            </a:extLst>
          </p:cNvPr>
          <p:cNvSpPr txBox="1"/>
          <p:nvPr/>
        </p:nvSpPr>
        <p:spPr bwMode="gray">
          <a:xfrm>
            <a:off x="70090" y="2598297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202B7C5-F1F7-A5E2-E0F5-CA039519C591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Наявність роботи за </a:t>
            </a:r>
            <a:r>
              <a:rPr lang="uk-UA" sz="1600" noProof="0" dirty="0" err="1"/>
              <a:t>наймом</a:t>
            </a:r>
            <a:r>
              <a:rPr lang="uk-UA" sz="1600" noProof="0" dirty="0"/>
              <a:t> зменшує схильність до переїзду в інше місто.</a:t>
            </a:r>
          </a:p>
          <a:p>
            <a:r>
              <a:rPr lang="uk-UA" sz="1600" dirty="0"/>
              <a:t>Більше схильні розглядати переїзд в інше місто студенти навчальних закладів.</a:t>
            </a:r>
          </a:p>
          <a:p>
            <a:r>
              <a:rPr lang="uk-UA" sz="1600" dirty="0"/>
              <a:t> </a:t>
            </a:r>
            <a:r>
              <a:rPr lang="uk-UA" sz="1600" noProof="0" dirty="0"/>
              <a:t>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CC6CACE-2DBE-3E7A-F4E3-3186BE626A9F}"/>
              </a:ext>
            </a:extLst>
          </p:cNvPr>
          <p:cNvSpPr txBox="1"/>
          <p:nvPr/>
        </p:nvSpPr>
        <p:spPr>
          <a:xfrm>
            <a:off x="10673959" y="339560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EF3EC8C6-9113-1D7F-117F-E9BA963EB2DA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6068705"/>
          <a:ext cx="8020304" cy="218225"/>
        </p:xfrm>
        <a:graphic>
          <a:graphicData uri="http://schemas.openxmlformats.org/drawingml/2006/table">
            <a:tbl>
              <a:tblPr firstRow="1" bandRow="1"/>
              <a:tblGrid>
                <a:gridCol w="2005076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F88F94FE-8A8C-70F8-4835-56CE3CA47084}"/>
              </a:ext>
            </a:extLst>
          </p:cNvPr>
          <p:cNvSpPr txBox="1"/>
          <p:nvPr/>
        </p:nvSpPr>
        <p:spPr>
          <a:xfrm>
            <a:off x="8679683" y="372641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9BCEB3C-572F-44B0-1AB4-758C269F4ADF}"/>
              </a:ext>
            </a:extLst>
          </p:cNvPr>
          <p:cNvSpPr txBox="1"/>
          <p:nvPr/>
        </p:nvSpPr>
        <p:spPr>
          <a:xfrm>
            <a:off x="11205240" y="3037964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FBE9DD-6BE8-D4B8-272A-51DD88B87A0A}"/>
              </a:ext>
            </a:extLst>
          </p:cNvPr>
          <p:cNvSpPr txBox="1"/>
          <p:nvPr/>
        </p:nvSpPr>
        <p:spPr>
          <a:xfrm>
            <a:off x="8674767" y="407546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916E534-3B6E-DA26-76BB-8308728FE876}"/>
              </a:ext>
            </a:extLst>
          </p:cNvPr>
          <p:cNvSpPr txBox="1"/>
          <p:nvPr/>
        </p:nvSpPr>
        <p:spPr>
          <a:xfrm>
            <a:off x="8571529" y="475880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6934EC-0D3D-4DA6-6E8C-2332E4BB6F0F}"/>
              </a:ext>
            </a:extLst>
          </p:cNvPr>
          <p:cNvSpPr txBox="1"/>
          <p:nvPr/>
        </p:nvSpPr>
        <p:spPr>
          <a:xfrm>
            <a:off x="6541168" y="475388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1A1EE-1AB4-9259-55C4-0EFD616D6BC9}"/>
              </a:ext>
            </a:extLst>
          </p:cNvPr>
          <p:cNvSpPr txBox="1"/>
          <p:nvPr/>
        </p:nvSpPr>
        <p:spPr>
          <a:xfrm>
            <a:off x="6683735" y="337245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C2A44A-584D-2F4B-510F-9894E647EB31}"/>
              </a:ext>
            </a:extLst>
          </p:cNvPr>
          <p:cNvSpPr txBox="1"/>
          <p:nvPr/>
        </p:nvSpPr>
        <p:spPr>
          <a:xfrm>
            <a:off x="6585414" y="407054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A1DA55-B2AD-58BB-3C3E-1419CC52F353}"/>
              </a:ext>
            </a:extLst>
          </p:cNvPr>
          <p:cNvSpPr txBox="1"/>
          <p:nvPr/>
        </p:nvSpPr>
        <p:spPr>
          <a:xfrm>
            <a:off x="6629659" y="373133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EEB75A1-0EC3-B1E1-A85B-BFEDC17EB81C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844517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4B2D257-12AC-EDF3-1105-0575F1C620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47F649-FC5E-064B-284C-F265FA263A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47F649-FC5E-064B-284C-F265FA263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D6B81D-88E6-E273-7CCD-CBF8E5391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Розподіл опитаних за місцем проживання та статтю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A79F3A-0AED-3252-BA96-523F10CD215C}"/>
              </a:ext>
            </a:extLst>
          </p:cNvPr>
          <p:cNvSpPr txBox="1"/>
          <p:nvPr/>
        </p:nvSpPr>
        <p:spPr>
          <a:xfrm>
            <a:off x="7433187" y="6493132"/>
            <a:ext cx="43140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S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1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У якому населеному пункті Ви постійно проживаєте протягом останніх 12 місяців?</a:t>
            </a:r>
          </a:p>
          <a:p>
            <a:pPr marL="180340" lvl="0"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S3.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Стать.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CB547-89F5-9530-397B-E684D667AFAC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28394FCF-CD22-F079-540B-1714A1BE25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890950"/>
              </p:ext>
            </p:extLst>
          </p:nvPr>
        </p:nvGraphicFramePr>
        <p:xfrm>
          <a:off x="2009846" y="4643024"/>
          <a:ext cx="9828000" cy="218225"/>
        </p:xfrm>
        <a:graphic>
          <a:graphicData uri="http://schemas.openxmlformats.org/drawingml/2006/table">
            <a:tbl>
              <a:tblPr firstRow="1" bandRow="1"/>
              <a:tblGrid>
                <a:gridCol w="1965600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65600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65600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65600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965600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D3805419-8E71-5BD6-3203-7E25D15E8C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1390584"/>
              </p:ext>
            </p:extLst>
          </p:nvPr>
        </p:nvGraphicFramePr>
        <p:xfrm>
          <a:off x="202230" y="2821266"/>
          <a:ext cx="11733603" cy="1809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5162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991844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2614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істо Вінниц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2614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о Вінницькі Хутор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2614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о Щіт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2614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ище Десн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2614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о Писарів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572456"/>
                  </a:ext>
                </a:extLst>
              </a:tr>
              <a:tr h="22614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о Малі </a:t>
                      </a:r>
                      <a:r>
                        <a:rPr lang="uk-UA" sz="1200" b="0" i="0" u="none" strike="noStrike" kern="1200" cap="non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рушлинці</a:t>
                      </a:r>
                      <a:endParaRPr lang="uk-UA" sz="1200" b="0" i="0" u="none" strike="noStrike" kern="1200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22614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о Гавришів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2614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о Великі </a:t>
                      </a:r>
                      <a:r>
                        <a:rPr lang="uk-UA" sz="1200" b="0" i="0" u="none" strike="noStrike" kern="1200" cap="non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рушлинці</a:t>
                      </a:r>
                      <a:endParaRPr lang="uk-UA" sz="1200" b="0" i="0" u="none" strike="noStrike" kern="1200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FF0DE48B-3DF4-2C8D-62BE-A68DA26D5A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7714288"/>
              </p:ext>
            </p:extLst>
          </p:nvPr>
        </p:nvGraphicFramePr>
        <p:xfrm>
          <a:off x="2047277" y="2758922"/>
          <a:ext cx="1908000" cy="19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A71640FE-2F40-CF24-7D19-A29D635401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526134"/>
              </p:ext>
            </p:extLst>
          </p:nvPr>
        </p:nvGraphicFramePr>
        <p:xfrm>
          <a:off x="2042293" y="2536281"/>
          <a:ext cx="9856270" cy="281811"/>
        </p:xfrm>
        <a:graphic>
          <a:graphicData uri="http://schemas.openxmlformats.org/drawingml/2006/table">
            <a:tbl>
              <a:tblPr firstRow="1" bandRow="1"/>
              <a:tblGrid>
                <a:gridCol w="197125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97125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97125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97125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971254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BA87D475-4D8A-9762-E61A-AF40CE3274D8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населеним пунктом проживання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27DB1D74-578E-F7D3-0036-C38C343FBC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089074"/>
              </p:ext>
            </p:extLst>
          </p:nvPr>
        </p:nvGraphicFramePr>
        <p:xfrm>
          <a:off x="4002540" y="2761774"/>
          <a:ext cx="1908000" cy="19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A6B5C853-DECB-B398-29E8-3BA3091070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5634058"/>
              </p:ext>
            </p:extLst>
          </p:nvPr>
        </p:nvGraphicFramePr>
        <p:xfrm>
          <a:off x="5978152" y="2756070"/>
          <a:ext cx="1908000" cy="19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7815E5BA-1526-B31C-2F6F-55217E4DA4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6246479"/>
              </p:ext>
            </p:extLst>
          </p:nvPr>
        </p:nvGraphicFramePr>
        <p:xfrm>
          <a:off x="7933415" y="2758922"/>
          <a:ext cx="1908000" cy="19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8A8B4D7A-F37C-DD3C-01EE-8F4D875661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273080"/>
              </p:ext>
            </p:extLst>
          </p:nvPr>
        </p:nvGraphicFramePr>
        <p:xfrm>
          <a:off x="9930589" y="2756070"/>
          <a:ext cx="1908000" cy="19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F82C0646-EA3D-3DA7-162A-8D4E46592199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8950AF-1F63-231F-A302-70DF93B7171E}"/>
              </a:ext>
            </a:extLst>
          </p:cNvPr>
          <p:cNvSpPr txBox="1"/>
          <p:nvPr/>
        </p:nvSpPr>
        <p:spPr bwMode="gray">
          <a:xfrm>
            <a:off x="70090" y="2598297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EC9AE3E-C00C-A652-365D-83BAE7DFB9EE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Переважна більшість (93%) опитаних проживають у місті Вінниця. Решта 7% живуть в інших населених пунктах Вінницької МТГ.</a:t>
            </a:r>
          </a:p>
          <a:p>
            <a:r>
              <a:rPr lang="uk-UA" sz="1600" noProof="0" dirty="0"/>
              <a:t>Частка чоловіків складає 49%, частка жінок — 51%, що відповідає демографічному розподілу мешканців Вінницької МТГ у віці 18-35 років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B6E2A6-4D21-8A1D-6049-355E1CD38427}"/>
              </a:ext>
            </a:extLst>
          </p:cNvPr>
          <p:cNvSpPr txBox="1"/>
          <p:nvPr/>
        </p:nvSpPr>
        <p:spPr>
          <a:xfrm>
            <a:off x="4285299" y="327227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FEDEA94-1098-D0FD-C8AE-1A63BA6FB444}"/>
              </a:ext>
            </a:extLst>
          </p:cNvPr>
          <p:cNvSpPr txBox="1"/>
          <p:nvPr/>
        </p:nvSpPr>
        <p:spPr>
          <a:xfrm>
            <a:off x="11625079" y="283474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971FB9-4977-518D-02CB-913D5FB10D9D}"/>
              </a:ext>
            </a:extLst>
          </p:cNvPr>
          <p:cNvSpPr txBox="1"/>
          <p:nvPr/>
        </p:nvSpPr>
        <p:spPr>
          <a:xfrm>
            <a:off x="9614382" y="281016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247671-74E2-9EC3-6688-A65FB3040CCC}"/>
              </a:ext>
            </a:extLst>
          </p:cNvPr>
          <p:cNvSpPr txBox="1"/>
          <p:nvPr/>
        </p:nvSpPr>
        <p:spPr>
          <a:xfrm>
            <a:off x="7652847" y="281508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EEEBA7-D07D-7BF3-1EA1-9F4376B46485}"/>
              </a:ext>
            </a:extLst>
          </p:cNvPr>
          <p:cNvSpPr txBox="1"/>
          <p:nvPr/>
        </p:nvSpPr>
        <p:spPr>
          <a:xfrm>
            <a:off x="4488258" y="3050106"/>
            <a:ext cx="58518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9" name="Table 9">
            <a:extLst>
              <a:ext uri="{FF2B5EF4-FFF2-40B4-BE49-F238E27FC236}">
                <a16:creationId xmlns:a16="http://schemas.microsoft.com/office/drawing/2014/main" id="{830E59F3-300A-89F7-67F3-A50D9A104B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3585348"/>
              </p:ext>
            </p:extLst>
          </p:nvPr>
        </p:nvGraphicFramePr>
        <p:xfrm>
          <a:off x="2009845" y="6211428"/>
          <a:ext cx="9828000" cy="218225"/>
        </p:xfrm>
        <a:graphic>
          <a:graphicData uri="http://schemas.openxmlformats.org/drawingml/2006/table">
            <a:tbl>
              <a:tblPr firstRow="1" bandRow="1"/>
              <a:tblGrid>
                <a:gridCol w="1965600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65600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65600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65600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965600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40" name="Table 7">
            <a:extLst>
              <a:ext uri="{FF2B5EF4-FFF2-40B4-BE49-F238E27FC236}">
                <a16:creationId xmlns:a16="http://schemas.microsoft.com/office/drawing/2014/main" id="{209BD55A-E315-8BBF-F429-326E39EE36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4835254"/>
              </p:ext>
            </p:extLst>
          </p:nvPr>
        </p:nvGraphicFramePr>
        <p:xfrm>
          <a:off x="202229" y="5569539"/>
          <a:ext cx="11733603" cy="618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5162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991844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0949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оловік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0949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ін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41" name="Диаграмма 16">
            <a:extLst>
              <a:ext uri="{FF2B5EF4-FFF2-40B4-BE49-F238E27FC236}">
                <a16:creationId xmlns:a16="http://schemas.microsoft.com/office/drawing/2014/main" id="{1C31AD95-840A-5A0D-FCDE-8A8246E32C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5586186"/>
              </p:ext>
            </p:extLst>
          </p:nvPr>
        </p:nvGraphicFramePr>
        <p:xfrm>
          <a:off x="2047276" y="5507196"/>
          <a:ext cx="1908000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2" name="Table 2">
            <a:extLst>
              <a:ext uri="{FF2B5EF4-FFF2-40B4-BE49-F238E27FC236}">
                <a16:creationId xmlns:a16="http://schemas.microsoft.com/office/drawing/2014/main" id="{F2DF39EC-64D7-0F91-A655-45906496E7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237606"/>
              </p:ext>
            </p:extLst>
          </p:nvPr>
        </p:nvGraphicFramePr>
        <p:xfrm>
          <a:off x="2042292" y="5264891"/>
          <a:ext cx="9856270" cy="281811"/>
        </p:xfrm>
        <a:graphic>
          <a:graphicData uri="http://schemas.openxmlformats.org/drawingml/2006/table">
            <a:tbl>
              <a:tblPr firstRow="1" bandRow="1"/>
              <a:tblGrid>
                <a:gridCol w="197125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97125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97125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97125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971254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43" name="Title 1">
            <a:extLst>
              <a:ext uri="{FF2B5EF4-FFF2-40B4-BE49-F238E27FC236}">
                <a16:creationId xmlns:a16="http://schemas.microsoft.com/office/drawing/2014/main" id="{1BCF172B-4749-9B0C-29B1-22EBC19B0885}"/>
              </a:ext>
            </a:extLst>
          </p:cNvPr>
          <p:cNvSpPr txBox="1">
            <a:spLocks/>
          </p:cNvSpPr>
          <p:nvPr/>
        </p:nvSpPr>
        <p:spPr>
          <a:xfrm>
            <a:off x="0" y="4950063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статтю</a:t>
            </a:r>
          </a:p>
        </p:txBody>
      </p:sp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6E37E757-CD00-C175-A643-5655DF3531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7718516"/>
              </p:ext>
            </p:extLst>
          </p:nvPr>
        </p:nvGraphicFramePr>
        <p:xfrm>
          <a:off x="4002539" y="5510048"/>
          <a:ext cx="1908000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5" name="Диаграмма 16">
            <a:extLst>
              <a:ext uri="{FF2B5EF4-FFF2-40B4-BE49-F238E27FC236}">
                <a16:creationId xmlns:a16="http://schemas.microsoft.com/office/drawing/2014/main" id="{27DCAE11-6F47-2E84-A1A6-05A5E4556D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262234"/>
              </p:ext>
            </p:extLst>
          </p:nvPr>
        </p:nvGraphicFramePr>
        <p:xfrm>
          <a:off x="5978151" y="5504344"/>
          <a:ext cx="1908000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6" name="Диаграмма 16">
            <a:extLst>
              <a:ext uri="{FF2B5EF4-FFF2-40B4-BE49-F238E27FC236}">
                <a16:creationId xmlns:a16="http://schemas.microsoft.com/office/drawing/2014/main" id="{75DC693A-F342-46A9-5EB9-0714031F14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6998589"/>
              </p:ext>
            </p:extLst>
          </p:nvPr>
        </p:nvGraphicFramePr>
        <p:xfrm>
          <a:off x="7933414" y="5507196"/>
          <a:ext cx="1908000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47" name="Диаграмма 16">
            <a:extLst>
              <a:ext uri="{FF2B5EF4-FFF2-40B4-BE49-F238E27FC236}">
                <a16:creationId xmlns:a16="http://schemas.microsoft.com/office/drawing/2014/main" id="{CA4F934C-CDF5-5619-F2B8-1014D3FF62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1815991"/>
              </p:ext>
            </p:extLst>
          </p:nvPr>
        </p:nvGraphicFramePr>
        <p:xfrm>
          <a:off x="9930588" y="5504344"/>
          <a:ext cx="1908000" cy="73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314B7F09-6113-6EF0-8708-CFE63DEEF68E}"/>
              </a:ext>
            </a:extLst>
          </p:cNvPr>
          <p:cNvSpPr txBox="1"/>
          <p:nvPr/>
        </p:nvSpPr>
        <p:spPr bwMode="gray">
          <a:xfrm>
            <a:off x="70089" y="5346571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</p:spTree>
    <p:extLst>
      <p:ext uri="{BB962C8B-B14F-4D97-AF65-F5344CB8AC3E}">
        <p14:creationId xmlns:p14="http://schemas.microsoft.com/office/powerpoint/2010/main" val="208312165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F795839-3486-748E-90D8-39710F1CE9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E1B3B11-E3D8-9E1B-738E-5DE9FE07A7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1B3B11-E3D8-9E1B-738E-5DE9FE07A7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86A1E7D-659A-7B28-DDE7-3CA9D2736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: розподіл за статусом зайнятост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8B1D99-614A-AD02-1F67-0998D0836FE4}"/>
              </a:ext>
            </a:extLst>
          </p:cNvPr>
          <p:cNvSpPr txBox="1"/>
          <p:nvPr/>
        </p:nvSpPr>
        <p:spPr>
          <a:xfrm>
            <a:off x="9851923" y="6620950"/>
            <a:ext cx="1895335" cy="218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1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е Ваше основне заняття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B364DF-B57C-4C5D-7AA7-C1B2A96497A7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B55CD55D-8BAE-9D20-3B7D-3A1CB948F0AB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88417"/>
          <a:ext cx="12142312" cy="3086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ацюєте за наймом на повний або неповний робочий ден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дете бізнес, самозайняти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єтесь у закладі вищої освіти </a:t>
                      </a:r>
                      <a:r>
                        <a:rPr lang="ru-RU" sz="8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університет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єтесь у коледжі, училищі, іншому професійно-технічному заклад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працюєте і не шукаєте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єтесь у середній школ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раз не працюєте, але активно шукаєте роботу </a:t>
                      </a:r>
                      <a:r>
                        <a:rPr lang="ru-RU" sz="8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переглядаєте оголошення, запитуєте про роботу у знайомих, надсилаєте інформацію про себе)</a:t>
                      </a:r>
                      <a:endParaRPr lang="ru-RU" sz="85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військовій служб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7D5E9DAF-C287-5413-B6AE-D19F19E5B332}"/>
              </a:ext>
            </a:extLst>
          </p:cNvPr>
          <p:cNvGraphicFramePr/>
          <p:nvPr/>
        </p:nvGraphicFramePr>
        <p:xfrm>
          <a:off x="4043233" y="2896575"/>
          <a:ext cx="1934779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8F44E369-EA3D-10F1-7332-339166631C0F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80852" cy="361188"/>
        </p:xfrm>
        <a:graphic>
          <a:graphicData uri="http://schemas.openxmlformats.org/drawingml/2006/table">
            <a:tbl>
              <a:tblPr firstRow="1" bandRow="1"/>
              <a:tblGrid>
                <a:gridCol w="202021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6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60D67C74-E578-15A1-0CCB-364FDAEDC977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Статус зайнятості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4CBB65DE-6185-E3BE-33B8-88F4662B2E44}"/>
              </a:ext>
            </a:extLst>
          </p:cNvPr>
          <p:cNvGraphicFramePr/>
          <p:nvPr/>
        </p:nvGraphicFramePr>
        <p:xfrm>
          <a:off x="6067322" y="2899427"/>
          <a:ext cx="1934779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D372CEC2-8ADD-732B-7ACC-A8581C9D1054}"/>
              </a:ext>
            </a:extLst>
          </p:cNvPr>
          <p:cNvGraphicFramePr/>
          <p:nvPr/>
        </p:nvGraphicFramePr>
        <p:xfrm>
          <a:off x="8072426" y="2893723"/>
          <a:ext cx="1934779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C17177CB-0D41-5A59-0A83-919B25441018}"/>
              </a:ext>
            </a:extLst>
          </p:cNvPr>
          <p:cNvGraphicFramePr/>
          <p:nvPr/>
        </p:nvGraphicFramePr>
        <p:xfrm>
          <a:off x="10116178" y="2896575"/>
          <a:ext cx="1934779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64390464-8E17-985D-A249-8B068456B79F}"/>
              </a:ext>
            </a:extLst>
          </p:cNvPr>
          <p:cNvSpPr txBox="1"/>
          <p:nvPr/>
        </p:nvSpPr>
        <p:spPr bwMode="gray">
          <a:xfrm>
            <a:off x="70090" y="2598297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F69E8E6-A0F1-7FFA-5A09-0FEA4C50C64E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Підприємці більше схильні до виїзду за кордон ніж до переїзду в інше місто. </a:t>
            </a:r>
          </a:p>
          <a:p>
            <a:r>
              <a:rPr lang="uk-UA" sz="1600" noProof="0" dirty="0"/>
              <a:t>Серед студентів навчальних закладів переважає невизначеність щодо того, залишатись в Україні </a:t>
            </a:r>
            <a:r>
              <a:rPr lang="uk-UA" sz="1600" dirty="0"/>
              <a:t>чи виїхати.</a:t>
            </a:r>
          </a:p>
          <a:p>
            <a:r>
              <a:rPr lang="uk-UA" sz="1600" noProof="0" dirty="0"/>
              <a:t>Наявність роботи за </a:t>
            </a:r>
            <a:r>
              <a:rPr lang="uk-UA" sz="1600" noProof="0" dirty="0" err="1"/>
              <a:t>наймом</a:t>
            </a:r>
            <a:r>
              <a:rPr lang="uk-UA" sz="1600" noProof="0" dirty="0"/>
              <a:t> зменшує наміри виїзду за кордон.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1507700C-A670-BBD2-FECC-9510E90134AA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6068705"/>
          <a:ext cx="8020304" cy="218225"/>
        </p:xfrm>
        <a:graphic>
          <a:graphicData uri="http://schemas.openxmlformats.org/drawingml/2006/table">
            <a:tbl>
              <a:tblPr firstRow="1" bandRow="1"/>
              <a:tblGrid>
                <a:gridCol w="2005076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9BA0DA20-990D-538E-BE20-833E99633D2B}"/>
              </a:ext>
            </a:extLst>
          </p:cNvPr>
          <p:cNvSpPr txBox="1"/>
          <p:nvPr/>
        </p:nvSpPr>
        <p:spPr>
          <a:xfrm>
            <a:off x="8648389" y="3715327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D96986-2C4A-DFF3-C807-7B87FBC4B635}"/>
              </a:ext>
            </a:extLst>
          </p:cNvPr>
          <p:cNvSpPr txBox="1"/>
          <p:nvPr/>
        </p:nvSpPr>
        <p:spPr>
          <a:xfrm>
            <a:off x="8604376" y="476506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A49C52-E85D-51BC-796D-4B11B55A4A77}"/>
              </a:ext>
            </a:extLst>
          </p:cNvPr>
          <p:cNvSpPr txBox="1"/>
          <p:nvPr/>
        </p:nvSpPr>
        <p:spPr>
          <a:xfrm>
            <a:off x="10449491" y="509290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978BC92-7096-78DC-982C-9B493BA7CA72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AFC42DD-5BE3-2ED7-1965-1D5A9F0FC962}"/>
              </a:ext>
            </a:extLst>
          </p:cNvPr>
          <p:cNvSpPr txBox="1"/>
          <p:nvPr/>
        </p:nvSpPr>
        <p:spPr>
          <a:xfrm>
            <a:off x="11199860" y="3051650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344A6E-8132-E53C-D1F8-8EC81DB60F9F}"/>
              </a:ext>
            </a:extLst>
          </p:cNvPr>
          <p:cNvSpPr txBox="1"/>
          <p:nvPr/>
        </p:nvSpPr>
        <p:spPr>
          <a:xfrm>
            <a:off x="8692634" y="4064372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70B172-C434-5F77-9BE6-E80354CB361F}"/>
              </a:ext>
            </a:extLst>
          </p:cNvPr>
          <p:cNvSpPr txBox="1"/>
          <p:nvPr/>
        </p:nvSpPr>
        <p:spPr>
          <a:xfrm>
            <a:off x="6780259" y="3390863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913905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8D6BA66-D3CC-93EB-1151-17C96E399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3AF57EC-6C8D-C6E0-C353-B7B8E5ADCA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AF57EC-6C8D-C6E0-C353-B7B8E5ADC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3F0E9F-C632-7405-ADD0-A2B5E3309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: розподіл за освітнім ступенем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88DED1-59DC-D6A8-E1CA-C6E52CD2750D}"/>
              </a:ext>
            </a:extLst>
          </p:cNvPr>
          <p:cNvSpPr txBox="1"/>
          <p:nvPr/>
        </p:nvSpPr>
        <p:spPr>
          <a:xfrm>
            <a:off x="9174481" y="6620950"/>
            <a:ext cx="25727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ий найвищий ступінь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шої освіти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2F162A-B6D0-2CE9-B5F0-500024089E6C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BE060812-9563-BB1C-CEEF-8B429A44199B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39252"/>
          <a:ext cx="12142312" cy="3071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на загальна середня освіта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вершено загальноосвітню середню школ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есійно-технічна освіта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отримано кваліфікацію «кваліфікований робітник»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094962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лодший спеціаліст, молодший бакалавр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вершено технікум, училище, коледж 1-2 рівня акредитації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8117726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калавр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кінчено навчання у закладах вищої освіти 3-4 рівня акредитації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еціаліст, магістр </a:t>
                      </a:r>
                      <a:r>
                        <a:rPr lang="uk-UA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кінчено заклад вищої освіти 3-4 рівня акредитації – інститут, університет)</a:t>
                      </a:r>
                      <a:endParaRPr lang="uk-UA" sz="9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уковий ступінь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кандидат, доктор наук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D61737A8-8E6A-DE87-8FE4-A58FE12017BE}"/>
              </a:ext>
            </a:extLst>
          </p:cNvPr>
          <p:cNvGraphicFramePr/>
          <p:nvPr/>
        </p:nvGraphicFramePr>
        <p:xfrm>
          <a:off x="4043234" y="2847410"/>
          <a:ext cx="189545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2EBDAB86-F5E6-41A8-85F0-F3E1536B664B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59040" cy="345948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7C1CAD98-4B1B-7F09-235F-7A0B02293A7B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Освіта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589EBB16-9AC6-F156-F606-2085FB28D178}"/>
              </a:ext>
            </a:extLst>
          </p:cNvPr>
          <p:cNvGraphicFramePr/>
          <p:nvPr/>
        </p:nvGraphicFramePr>
        <p:xfrm>
          <a:off x="6047659" y="2850262"/>
          <a:ext cx="189545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B7CEDBE3-A5E8-4E7B-9997-5104A134028E}"/>
              </a:ext>
            </a:extLst>
          </p:cNvPr>
          <p:cNvGraphicFramePr/>
          <p:nvPr/>
        </p:nvGraphicFramePr>
        <p:xfrm>
          <a:off x="8072428" y="2844558"/>
          <a:ext cx="189545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96B34B7D-9109-D777-D853-91A6A0069990}"/>
              </a:ext>
            </a:extLst>
          </p:cNvPr>
          <p:cNvGraphicFramePr/>
          <p:nvPr/>
        </p:nvGraphicFramePr>
        <p:xfrm>
          <a:off x="10096515" y="2847410"/>
          <a:ext cx="189545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C0C9DAA-0B9A-CC9A-CCC8-39AE36AAEA26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Рівень освіти не впливає на наміри переїхати у інше місто.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E63BFE7A-2069-678C-3189-B4D7247690C7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6019541"/>
          <a:ext cx="7998656" cy="218225"/>
        </p:xfrm>
        <a:graphic>
          <a:graphicData uri="http://schemas.openxmlformats.org/drawingml/2006/table">
            <a:tbl>
              <a:tblPr firstRow="1" bandRow="1"/>
              <a:tblGrid>
                <a:gridCol w="199966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470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9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9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29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909E74F-6CE5-55DF-8CDA-1F7A73945C16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986977-0543-2929-F23E-BE2D2C699C7C}"/>
              </a:ext>
            </a:extLst>
          </p:cNvPr>
          <p:cNvSpPr txBox="1"/>
          <p:nvPr/>
        </p:nvSpPr>
        <p:spPr bwMode="gray">
          <a:xfrm>
            <a:off x="70090" y="2466217"/>
            <a:ext cx="240764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dirty="0">
                <a:solidFill>
                  <a:srgbClr val="8E8581"/>
                </a:solidFill>
                <a:cs typeface="Arial" pitchFamily="34" charset="0"/>
              </a:rPr>
              <a:t>% респондентів, окрім тих, хто навчається (в школі, коледжі/училищі або університеті</a:t>
            </a:r>
          </a:p>
        </p:txBody>
      </p:sp>
    </p:spTree>
    <p:extLst>
      <p:ext uri="{BB962C8B-B14F-4D97-AF65-F5344CB8AC3E}">
        <p14:creationId xmlns:p14="http://schemas.microsoft.com/office/powerpoint/2010/main" val="12726418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6FB3263-67C9-C3ED-D8B8-5F8B91A296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7F517A-DB3B-A90B-00C2-5843BCCAE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7F517A-DB3B-A90B-00C2-5843BCCAE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5FE636-1F3B-BE1C-BBA0-881941689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: розподіл за освітнім ступенем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A0D1F0-A00F-14B1-6C1E-AB160031F95A}"/>
              </a:ext>
            </a:extLst>
          </p:cNvPr>
          <p:cNvSpPr txBox="1"/>
          <p:nvPr/>
        </p:nvSpPr>
        <p:spPr>
          <a:xfrm>
            <a:off x="9174481" y="6620950"/>
            <a:ext cx="25727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ий найвищий ступінь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шої освіти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C0F7FD-4417-1249-3591-17F63590142E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2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678A53F3-82A2-29ED-73AE-6B9F418B5DC3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39252"/>
          <a:ext cx="12142312" cy="3071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на загальна середня освіта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вершено загальноосвітню середню школ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есійно-технічна освіта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отримано кваліфікацію «кваліфікований робітник»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094962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лодший спеціаліст, молодший бакалавр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вершено технікум, училище, коледж 1-2 рівня акредитації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8117726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калавр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закінчено навчання у закладах вищої освіти 3-4 рівня акредитації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еціаліст, магістр </a:t>
                      </a:r>
                      <a:r>
                        <a:rPr lang="uk-UA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кінчено заклад вищої освіти 3-4 рівня акредитації – інститут, університет)</a:t>
                      </a:r>
                      <a:endParaRPr lang="uk-UA" sz="900" b="0" i="0" u="none" strike="noStrike" kern="1200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уковий ступінь </a:t>
                      </a:r>
                      <a:r>
                        <a:rPr lang="ru-RU" sz="9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кандидат, доктор наук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438791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F83D593A-4B09-A11D-CA3E-C7E27AF81485}"/>
              </a:ext>
            </a:extLst>
          </p:cNvPr>
          <p:cNvGraphicFramePr/>
          <p:nvPr/>
        </p:nvGraphicFramePr>
        <p:xfrm>
          <a:off x="4043234" y="2847410"/>
          <a:ext cx="189545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1AD83405-02CB-2179-DA01-5115D4E2D80D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59040" cy="361188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6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F98F9578-37C6-7A37-9649-F1648AFC39E4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Освіта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F6ADE8CA-DFC9-2F63-29E8-CD9CD0134626}"/>
              </a:ext>
            </a:extLst>
          </p:cNvPr>
          <p:cNvGraphicFramePr/>
          <p:nvPr/>
        </p:nvGraphicFramePr>
        <p:xfrm>
          <a:off x="6047659" y="2850262"/>
          <a:ext cx="189545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62154827-B5FC-79D8-0649-03CC9630790D}"/>
              </a:ext>
            </a:extLst>
          </p:cNvPr>
          <p:cNvGraphicFramePr/>
          <p:nvPr/>
        </p:nvGraphicFramePr>
        <p:xfrm>
          <a:off x="8072428" y="2844558"/>
          <a:ext cx="189545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AC183B10-D818-D84A-DFE1-0E4A01A467F5}"/>
              </a:ext>
            </a:extLst>
          </p:cNvPr>
          <p:cNvGraphicFramePr/>
          <p:nvPr/>
        </p:nvGraphicFramePr>
        <p:xfrm>
          <a:off x="10096515" y="2847410"/>
          <a:ext cx="189545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5BF71CF3-FF52-6546-27F7-F7482805A9BD}"/>
              </a:ext>
            </a:extLst>
          </p:cNvPr>
          <p:cNvSpPr txBox="1"/>
          <p:nvPr/>
        </p:nvSpPr>
        <p:spPr bwMode="gray">
          <a:xfrm>
            <a:off x="70090" y="2466217"/>
            <a:ext cx="240764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dirty="0">
                <a:solidFill>
                  <a:srgbClr val="8E8581"/>
                </a:solidFill>
                <a:cs typeface="Arial" pitchFamily="34" charset="0"/>
              </a:rPr>
              <a:t>% респондентів, окрім тих, хто навчається (в школі, коледжі/училищі або університеті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E19709B-4EF7-6383-6033-F2BEB42B4518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До виїзду за кордон більше схильні молоді люди із ступенем молодшого бакалавра або молодшого спеціаліста.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4123758C-DAFF-9B04-465A-6372164E6EDC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6019541"/>
          <a:ext cx="7998656" cy="218225"/>
        </p:xfrm>
        <a:graphic>
          <a:graphicData uri="http://schemas.openxmlformats.org/drawingml/2006/table">
            <a:tbl>
              <a:tblPr firstRow="1" bandRow="1"/>
              <a:tblGrid>
                <a:gridCol w="199966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470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59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90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21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AA25B388-2927-8A8F-466C-49A7D54E326B}"/>
              </a:ext>
            </a:extLst>
          </p:cNvPr>
          <p:cNvSpPr txBox="1"/>
          <p:nvPr/>
        </p:nvSpPr>
        <p:spPr>
          <a:xfrm>
            <a:off x="6613500" y="3916351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FB3BDB-F06B-B235-6028-50102B7CD4EF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119620148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9B9579-7EB8-FFA9-036C-06ED8B996F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106677E-1C86-B3F0-64CE-5E2DDAD1A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06677E-1C86-B3F0-64CE-5E2DDAD1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88B8C6-08EB-4FF5-4723-EC0A07BC9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Життєві цінності і пріоритети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D3AE9C46-E474-C113-2875-DDCC061AA72A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513330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BD1943E-5296-F66D-4A88-DB6E040112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FFC4C619-EF64-E67D-60F3-46AD648126E7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457471"/>
          <a:ext cx="12160800" cy="39038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7840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682400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вірним своїм близьким людям та друзя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сильній державі, яка може захистити громадян і гарантувати безпеку від усіх загроз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мостійно приймати рішення про те, що робити, бути вільним та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бити те, що приносить задовол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регти природу, дбати про довк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ідстоювати справедливість та рівні можливост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в безпечному оточенні, уникати всього, що може загрожувати безпе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людям довкол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бре проводити час, балувати себе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бувати нове, шукати пригоди і ризикувати, мати життя сповнене враженням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думувати нові ідеї, бути творчою людино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шанованою людиною, до думки якої дослухаються інш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слуховувати думки людей, які відрізняються від Вашої, зрозуміти їх точку зор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заможним, мати багато грошей і дорогі реч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тримуватися традицій, релігійних чи сімейних звичаї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вжди поводитися правильно, уникати вчинків, які можуть викликати засудж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кликати захоплення інших людей від того, що ви робите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скромним, не привертати до себе увагу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A2D6D56-6083-DC73-BE77-7AACD751E7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2D6D56-6083-DC73-BE77-7AACD751E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A19BA5-3F4D-E947-ABB4-E385AB3C4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: розподіл за ж</a:t>
            </a:r>
            <a:r>
              <a:rPr lang="uk-UA" sz="2400" noProof="0" dirty="0" err="1"/>
              <a:t>иттєв</a:t>
            </a:r>
            <a:r>
              <a:rPr lang="uk-UA" sz="2400" dirty="0" err="1"/>
              <a:t>ими</a:t>
            </a:r>
            <a:r>
              <a:rPr lang="uk-UA" sz="2400" noProof="0" dirty="0"/>
              <a:t> цінностям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2FCA13-8EF8-A2DE-99FF-E5C4B2375AD1}"/>
              </a:ext>
            </a:extLst>
          </p:cNvPr>
          <p:cNvSpPr txBox="1"/>
          <p:nvPr/>
        </p:nvSpPr>
        <p:spPr>
          <a:xfrm>
            <a:off x="4958081" y="6473465"/>
            <a:ext cx="67891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5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Різні люди мають різні цінності – принципи, якими вони керуються у житті. Я зачитаю перелік таких принципів, оцініть, наскільки ці принципи є важливими для Вас особисто за шкалою від 1 до 7, де 1 – абсолютно не важливо, 4 – середня оцінка, 7 – надзвичайно важливо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195B2E-295C-DA64-484D-ED41549366D8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3C387EF7-12DB-35D0-89F6-626764A33134}"/>
              </a:ext>
            </a:extLst>
          </p:cNvPr>
          <p:cNvGraphicFramePr>
            <a:graphicFrameLocks noGrp="1"/>
          </p:cNvGraphicFramePr>
          <p:nvPr/>
        </p:nvGraphicFramePr>
        <p:xfrm>
          <a:off x="4468022" y="6343702"/>
          <a:ext cx="7674676" cy="218225"/>
        </p:xfrm>
        <a:graphic>
          <a:graphicData uri="http://schemas.openxmlformats.org/drawingml/2006/table">
            <a:tbl>
              <a:tblPr firstRow="1" bandRow="1"/>
              <a:tblGrid>
                <a:gridCol w="191866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1866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1866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1866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31D08B2E-7FD2-93AF-15C8-878B7FB160B3}"/>
              </a:ext>
            </a:extLst>
          </p:cNvPr>
          <p:cNvGraphicFramePr/>
          <p:nvPr/>
        </p:nvGraphicFramePr>
        <p:xfrm>
          <a:off x="4483514" y="2354264"/>
          <a:ext cx="1815804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F262BC37-63C4-6771-1D70-7C5DE70B5865}"/>
              </a:ext>
            </a:extLst>
          </p:cNvPr>
          <p:cNvGraphicFramePr>
            <a:graphicFrameLocks noGrp="1"/>
          </p:cNvGraphicFramePr>
          <p:nvPr/>
        </p:nvGraphicFramePr>
        <p:xfrm>
          <a:off x="4493339" y="2113495"/>
          <a:ext cx="7649500" cy="327660"/>
        </p:xfrm>
        <a:graphic>
          <a:graphicData uri="http://schemas.openxmlformats.org/drawingml/2006/table">
            <a:tbl>
              <a:tblPr firstRow="1" bandRow="1"/>
              <a:tblGrid>
                <a:gridCol w="191237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91237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91237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91237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9FBCACD7-7B28-ABEB-6056-853217437373}"/>
              </a:ext>
            </a:extLst>
          </p:cNvPr>
          <p:cNvSpPr txBox="1">
            <a:spLocks/>
          </p:cNvSpPr>
          <p:nvPr/>
        </p:nvSpPr>
        <p:spPr>
          <a:xfrm>
            <a:off x="1" y="1769171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Важливість принципів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B13E583-3DB0-222B-9BA3-58ED598FE75F}"/>
              </a:ext>
            </a:extLst>
          </p:cNvPr>
          <p:cNvSpPr txBox="1"/>
          <p:nvPr/>
        </p:nvSpPr>
        <p:spPr bwMode="gray">
          <a:xfrm>
            <a:off x="180218" y="2153780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B2475028-003B-F5C3-6774-4AA1B41D2749}"/>
              </a:ext>
            </a:extLst>
          </p:cNvPr>
          <p:cNvGraphicFramePr/>
          <p:nvPr/>
        </p:nvGraphicFramePr>
        <p:xfrm>
          <a:off x="7737987" y="1769806"/>
          <a:ext cx="4386716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6339B6A-D9F4-2D98-3377-6C227F6079D7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10642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Схильність до переїзду в інше місто пов’язана із прагненням пробувати нове, шукати пригоди і ризикувати, щоб стати заможним.</a:t>
            </a:r>
          </a:p>
          <a:p>
            <a:r>
              <a:rPr lang="uk-UA" sz="1600" dirty="0"/>
              <a:t>Ті, що не планують переїзд в інше місто, навпаки прагнуть стабільності і безпеки, поділяють цінності соціальної відповідальності та справедливості.</a:t>
            </a:r>
            <a:r>
              <a:rPr lang="uk-UA" sz="1600" noProof="0" dirty="0"/>
              <a:t> Ті, що не визначились, поєднують цінності пошуку нового і гедонізму та цінності соціальної відповідальності. Для невпевнених щодо переїзду важливо зайняти місце у суспільстві: бути шанованою людиною, вислуховувати різні думки, дотримуватися традицій і отримувати схвалення інших людей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216AA5AC-569F-445B-D183-6125DD9C703F}"/>
              </a:ext>
            </a:extLst>
          </p:cNvPr>
          <p:cNvGraphicFramePr/>
          <p:nvPr/>
        </p:nvGraphicFramePr>
        <p:xfrm>
          <a:off x="6405136" y="2355430"/>
          <a:ext cx="1815804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6">
            <a:extLst>
              <a:ext uri="{FF2B5EF4-FFF2-40B4-BE49-F238E27FC236}">
                <a16:creationId xmlns:a16="http://schemas.microsoft.com/office/drawing/2014/main" id="{E4FC2126-67FA-9BD9-18CD-9BAA55D4EDE6}"/>
              </a:ext>
            </a:extLst>
          </p:cNvPr>
          <p:cNvGraphicFramePr/>
          <p:nvPr/>
        </p:nvGraphicFramePr>
        <p:xfrm>
          <a:off x="8326758" y="2353098"/>
          <a:ext cx="1815804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Диаграмма 16">
            <a:extLst>
              <a:ext uri="{FF2B5EF4-FFF2-40B4-BE49-F238E27FC236}">
                <a16:creationId xmlns:a16="http://schemas.microsoft.com/office/drawing/2014/main" id="{1EC0A998-7D11-F829-0C16-F3EC45FA3E1B}"/>
              </a:ext>
            </a:extLst>
          </p:cNvPr>
          <p:cNvGraphicFramePr/>
          <p:nvPr/>
        </p:nvGraphicFramePr>
        <p:xfrm>
          <a:off x="10228713" y="2354264"/>
          <a:ext cx="1815804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6" name="TextBox 85">
            <a:extLst>
              <a:ext uri="{FF2B5EF4-FFF2-40B4-BE49-F238E27FC236}">
                <a16:creationId xmlns:a16="http://schemas.microsoft.com/office/drawing/2014/main" id="{2E19EF3D-BC70-9B64-D0C0-E0A7BD63C6E8}"/>
              </a:ext>
            </a:extLst>
          </p:cNvPr>
          <p:cNvSpPr txBox="1"/>
          <p:nvPr/>
        </p:nvSpPr>
        <p:spPr>
          <a:xfrm>
            <a:off x="8955429" y="420251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D0C8AA36-6525-FE91-1FDD-87DB84B7E0E1}"/>
              </a:ext>
            </a:extLst>
          </p:cNvPr>
          <p:cNvSpPr txBox="1"/>
          <p:nvPr/>
        </p:nvSpPr>
        <p:spPr>
          <a:xfrm>
            <a:off x="9144094" y="333355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F236D39B-6BD1-6CDE-3ECE-93E3CE58D91D}"/>
              </a:ext>
            </a:extLst>
          </p:cNvPr>
          <p:cNvSpPr txBox="1"/>
          <p:nvPr/>
        </p:nvSpPr>
        <p:spPr>
          <a:xfrm>
            <a:off x="7802130" y="354984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B8157B-DD6F-3401-3D2D-EDED50831436}"/>
              </a:ext>
            </a:extLst>
          </p:cNvPr>
          <p:cNvSpPr txBox="1"/>
          <p:nvPr/>
        </p:nvSpPr>
        <p:spPr>
          <a:xfrm>
            <a:off x="7015411" y="442002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640A675-9D93-CE3E-62F3-935914203537}"/>
              </a:ext>
            </a:extLst>
          </p:cNvPr>
          <p:cNvSpPr txBox="1"/>
          <p:nvPr/>
        </p:nvSpPr>
        <p:spPr>
          <a:xfrm>
            <a:off x="6843347" y="52901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8627383-8C1A-11A5-E1EB-6C62A23DBD9A}"/>
              </a:ext>
            </a:extLst>
          </p:cNvPr>
          <p:cNvSpPr txBox="1"/>
          <p:nvPr/>
        </p:nvSpPr>
        <p:spPr>
          <a:xfrm>
            <a:off x="9158844" y="312216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171BA48-18F4-A7D0-668F-AE0E18B9815D}"/>
              </a:ext>
            </a:extLst>
          </p:cNvPr>
          <p:cNvSpPr txBox="1"/>
          <p:nvPr/>
        </p:nvSpPr>
        <p:spPr>
          <a:xfrm>
            <a:off x="8996612" y="441510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07793E7-A60D-B71B-6567-AD73FD3C4FCD}"/>
              </a:ext>
            </a:extLst>
          </p:cNvPr>
          <p:cNvSpPr txBox="1"/>
          <p:nvPr/>
        </p:nvSpPr>
        <p:spPr>
          <a:xfrm>
            <a:off x="8913038" y="463632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FF5D3B5-90E3-9ED9-0C40-8242CB24A86B}"/>
              </a:ext>
            </a:extLst>
          </p:cNvPr>
          <p:cNvSpPr txBox="1"/>
          <p:nvPr/>
        </p:nvSpPr>
        <p:spPr>
          <a:xfrm>
            <a:off x="8858961" y="52901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CA1BAAB-61F0-263B-3796-F8F58EE80885}"/>
              </a:ext>
            </a:extLst>
          </p:cNvPr>
          <p:cNvSpPr txBox="1"/>
          <p:nvPr/>
        </p:nvSpPr>
        <p:spPr>
          <a:xfrm>
            <a:off x="9070352" y="355478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C8E8AA6-E005-D26C-38EA-545323ECA213}"/>
              </a:ext>
            </a:extLst>
          </p:cNvPr>
          <p:cNvSpPr txBox="1"/>
          <p:nvPr/>
        </p:nvSpPr>
        <p:spPr>
          <a:xfrm>
            <a:off x="8996610" y="398248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29D9862-B017-D5D5-3130-B7FDBB7F9A18}"/>
              </a:ext>
            </a:extLst>
          </p:cNvPr>
          <p:cNvSpPr txBox="1"/>
          <p:nvPr/>
        </p:nvSpPr>
        <p:spPr>
          <a:xfrm>
            <a:off x="8765551" y="571787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C4AE498-A62F-492E-EB29-C5602FEC2197}"/>
              </a:ext>
            </a:extLst>
          </p:cNvPr>
          <p:cNvSpPr txBox="1"/>
          <p:nvPr/>
        </p:nvSpPr>
        <p:spPr>
          <a:xfrm>
            <a:off x="11100712" y="245848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122F507-268B-7443-7CE3-DD92935E08B4}"/>
              </a:ext>
            </a:extLst>
          </p:cNvPr>
          <p:cNvSpPr txBox="1"/>
          <p:nvPr/>
        </p:nvSpPr>
        <p:spPr>
          <a:xfrm>
            <a:off x="11036802" y="333847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480B88E-BF32-6EE8-8677-E2AD91C81BC4}"/>
              </a:ext>
            </a:extLst>
          </p:cNvPr>
          <p:cNvSpPr txBox="1"/>
          <p:nvPr/>
        </p:nvSpPr>
        <p:spPr>
          <a:xfrm>
            <a:off x="10933563" y="354986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9B3593C-535D-C1EA-405A-7D4E740AE1D2}"/>
              </a:ext>
            </a:extLst>
          </p:cNvPr>
          <p:cNvSpPr txBox="1"/>
          <p:nvPr/>
        </p:nvSpPr>
        <p:spPr>
          <a:xfrm>
            <a:off x="10869653" y="398740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D5465A1-E20E-1AB3-9978-605DB156038B}"/>
              </a:ext>
            </a:extLst>
          </p:cNvPr>
          <p:cNvSpPr txBox="1"/>
          <p:nvPr/>
        </p:nvSpPr>
        <p:spPr>
          <a:xfrm>
            <a:off x="10609098" y="549665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A4784B9-4D9E-418C-E07F-5DE92D232DCE}"/>
              </a:ext>
            </a:extLst>
          </p:cNvPr>
          <p:cNvSpPr txBox="1"/>
          <p:nvPr/>
        </p:nvSpPr>
        <p:spPr>
          <a:xfrm>
            <a:off x="10623846" y="57178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9D71971-F8D6-4AF6-6A0E-18D55F671D0D}"/>
              </a:ext>
            </a:extLst>
          </p:cNvPr>
          <p:cNvSpPr txBox="1"/>
          <p:nvPr/>
        </p:nvSpPr>
        <p:spPr>
          <a:xfrm>
            <a:off x="11093945" y="269325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74FD0AE-825F-F7EA-96BB-F90EE4E6F6A9}"/>
              </a:ext>
            </a:extLst>
          </p:cNvPr>
          <p:cNvSpPr txBox="1"/>
          <p:nvPr/>
        </p:nvSpPr>
        <p:spPr>
          <a:xfrm>
            <a:off x="8930848" y="484652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733E869-5553-16F1-EEF1-63EBE7D4436B}"/>
              </a:ext>
            </a:extLst>
          </p:cNvPr>
          <p:cNvSpPr txBox="1"/>
          <p:nvPr/>
        </p:nvSpPr>
        <p:spPr>
          <a:xfrm>
            <a:off x="8896435" y="506775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409C57B-8EC2-18EB-6CCF-52B43D49C0FC}"/>
              </a:ext>
            </a:extLst>
          </p:cNvPr>
          <p:cNvSpPr txBox="1"/>
          <p:nvPr/>
        </p:nvSpPr>
        <p:spPr>
          <a:xfrm>
            <a:off x="8862023" y="549545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1BD959E-E0F7-C723-2F91-B54BB81C3ED0}"/>
              </a:ext>
            </a:extLst>
          </p:cNvPr>
          <p:cNvSpPr txBox="1"/>
          <p:nvPr/>
        </p:nvSpPr>
        <p:spPr>
          <a:xfrm>
            <a:off x="8847274" y="593298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D03A9AD-DD03-4565-116D-4AE43690A7FC}"/>
              </a:ext>
            </a:extLst>
          </p:cNvPr>
          <p:cNvSpPr txBox="1"/>
          <p:nvPr/>
        </p:nvSpPr>
        <p:spPr>
          <a:xfrm>
            <a:off x="8694874" y="614438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8F595E7-A1D2-7DCB-418A-CAB6DD0765DA}"/>
              </a:ext>
            </a:extLst>
          </p:cNvPr>
          <p:cNvSpPr txBox="1"/>
          <p:nvPr/>
        </p:nvSpPr>
        <p:spPr>
          <a:xfrm>
            <a:off x="8013385" y="269445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E9822FC-9E03-9B94-1DAD-51882D89414C}"/>
              </a:ext>
            </a:extLst>
          </p:cNvPr>
          <p:cNvSpPr txBox="1"/>
          <p:nvPr/>
        </p:nvSpPr>
        <p:spPr>
          <a:xfrm>
            <a:off x="7782327" y="254205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E80E42F-3FA8-852B-912F-5BBD455FE404}"/>
              </a:ext>
            </a:extLst>
          </p:cNvPr>
          <p:cNvSpPr txBox="1"/>
          <p:nvPr/>
        </p:nvSpPr>
        <p:spPr>
          <a:xfrm>
            <a:off x="7787381" y="399721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30790A9-5A65-44C3-DC0F-8109D41C240C}"/>
              </a:ext>
            </a:extLst>
          </p:cNvPr>
          <p:cNvSpPr txBox="1"/>
          <p:nvPr/>
        </p:nvSpPr>
        <p:spPr>
          <a:xfrm>
            <a:off x="7674310" y="484770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01EF3E8-A3F1-C1ED-FA6D-CD25D159F454}"/>
              </a:ext>
            </a:extLst>
          </p:cNvPr>
          <p:cNvSpPr txBox="1"/>
          <p:nvPr/>
        </p:nvSpPr>
        <p:spPr>
          <a:xfrm>
            <a:off x="7669394" y="507876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0B0592B-F0BE-E535-F789-2D32954C0B69}"/>
              </a:ext>
            </a:extLst>
          </p:cNvPr>
          <p:cNvSpPr txBox="1"/>
          <p:nvPr/>
        </p:nvSpPr>
        <p:spPr>
          <a:xfrm>
            <a:off x="7703807" y="528032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EA2D106-663D-ED5A-5321-CD0D7159F384}"/>
              </a:ext>
            </a:extLst>
          </p:cNvPr>
          <p:cNvSpPr txBox="1"/>
          <p:nvPr/>
        </p:nvSpPr>
        <p:spPr>
          <a:xfrm>
            <a:off x="7403923" y="55015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F3C0862-305D-F335-7688-3A06D92F7CA8}"/>
              </a:ext>
            </a:extLst>
          </p:cNvPr>
          <p:cNvSpPr txBox="1"/>
          <p:nvPr/>
        </p:nvSpPr>
        <p:spPr>
          <a:xfrm>
            <a:off x="7359678" y="571294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AE38AAB-9087-971D-AFB5-B52FD8B67692}"/>
              </a:ext>
            </a:extLst>
          </p:cNvPr>
          <p:cNvSpPr txBox="1"/>
          <p:nvPr/>
        </p:nvSpPr>
        <p:spPr>
          <a:xfrm>
            <a:off x="7502246" y="59341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8DEDBDE-E145-3D24-6153-285C3BF7C7B9}"/>
              </a:ext>
            </a:extLst>
          </p:cNvPr>
          <p:cNvSpPr txBox="1"/>
          <p:nvPr/>
        </p:nvSpPr>
        <p:spPr>
          <a:xfrm>
            <a:off x="11587549" y="420860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7C19ACE-5050-8DFA-97C7-7472BD645AC1}"/>
              </a:ext>
            </a:extLst>
          </p:cNvPr>
          <p:cNvSpPr txBox="1"/>
          <p:nvPr/>
        </p:nvSpPr>
        <p:spPr>
          <a:xfrm>
            <a:off x="11533472" y="463631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EC1233C-CF59-0137-8721-B738DA00FB3A}"/>
              </a:ext>
            </a:extLst>
          </p:cNvPr>
          <p:cNvSpPr txBox="1"/>
          <p:nvPr/>
        </p:nvSpPr>
        <p:spPr>
          <a:xfrm>
            <a:off x="11528556" y="484770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8142A51-F114-C471-3C42-BF9A145DF8BE}"/>
              </a:ext>
            </a:extLst>
          </p:cNvPr>
          <p:cNvSpPr txBox="1"/>
          <p:nvPr/>
        </p:nvSpPr>
        <p:spPr>
          <a:xfrm>
            <a:off x="11523640" y="506893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3D7142A-5457-5066-EE5B-602F6BE3C22B}"/>
              </a:ext>
            </a:extLst>
          </p:cNvPr>
          <p:cNvSpPr txBox="1"/>
          <p:nvPr/>
        </p:nvSpPr>
        <p:spPr>
          <a:xfrm>
            <a:off x="11381072" y="529015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F2EE2EE-63DF-369F-9A99-D1348BE9AAE7}"/>
              </a:ext>
            </a:extLst>
          </p:cNvPr>
          <p:cNvSpPr txBox="1"/>
          <p:nvPr/>
        </p:nvSpPr>
        <p:spPr>
          <a:xfrm>
            <a:off x="11366324" y="55015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F5ED214-74E7-B8D3-EF37-1A5BEF3CACDA}"/>
              </a:ext>
            </a:extLst>
          </p:cNvPr>
          <p:cNvSpPr txBox="1"/>
          <p:nvPr/>
        </p:nvSpPr>
        <p:spPr>
          <a:xfrm>
            <a:off x="11174595" y="614556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7BC6009-0E6D-4814-0609-5E72AE84C76A}"/>
              </a:ext>
            </a:extLst>
          </p:cNvPr>
          <p:cNvSpPr txBox="1"/>
          <p:nvPr/>
        </p:nvSpPr>
        <p:spPr>
          <a:xfrm>
            <a:off x="11305339" y="593298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24E3FB0-FDBA-3159-DFDC-3D3242184BE5}"/>
              </a:ext>
            </a:extLst>
          </p:cNvPr>
          <p:cNvSpPr txBox="1"/>
          <p:nvPr/>
        </p:nvSpPr>
        <p:spPr>
          <a:xfrm>
            <a:off x="11516732" y="441390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77B24F94-EFFA-FEE8-2ED9-5A9A35AD7CF0}"/>
              </a:ext>
            </a:extLst>
          </p:cNvPr>
          <p:cNvSpPr txBox="1"/>
          <p:nvPr/>
        </p:nvSpPr>
        <p:spPr>
          <a:xfrm>
            <a:off x="7742533" y="333124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AF774115-98AB-9073-6373-6E36E97AEF41}"/>
              </a:ext>
            </a:extLst>
          </p:cNvPr>
          <p:cNvSpPr txBox="1"/>
          <p:nvPr/>
        </p:nvSpPr>
        <p:spPr>
          <a:xfrm>
            <a:off x="7717952" y="4211236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8699ED5-D29F-7669-3C41-9EA80DC61976}"/>
              </a:ext>
            </a:extLst>
          </p:cNvPr>
          <p:cNvSpPr txBox="1"/>
          <p:nvPr/>
        </p:nvSpPr>
        <p:spPr>
          <a:xfrm>
            <a:off x="7875269" y="572540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59F562ED-E658-C8FF-8AE5-1C54329EFC46}"/>
              </a:ext>
            </a:extLst>
          </p:cNvPr>
          <p:cNvSpPr txBox="1"/>
          <p:nvPr/>
        </p:nvSpPr>
        <p:spPr>
          <a:xfrm>
            <a:off x="7949614" y="616522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CA0EF9A-5302-709E-A716-6ABC47077069}"/>
              </a:ext>
            </a:extLst>
          </p:cNvPr>
          <p:cNvSpPr txBox="1"/>
          <p:nvPr/>
        </p:nvSpPr>
        <p:spPr>
          <a:xfrm>
            <a:off x="7984026" y="551138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38D531F3-AC3B-6C30-849C-B670B4EA6B0B}"/>
              </a:ext>
            </a:extLst>
          </p:cNvPr>
          <p:cNvSpPr txBox="1"/>
          <p:nvPr/>
        </p:nvSpPr>
        <p:spPr>
          <a:xfrm>
            <a:off x="7993721" y="384483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F3BD6888-3CC4-1A95-B540-7BCD59134F5E}"/>
              </a:ext>
            </a:extLst>
          </p:cNvPr>
          <p:cNvSpPr txBox="1"/>
          <p:nvPr/>
        </p:nvSpPr>
        <p:spPr>
          <a:xfrm>
            <a:off x="11796698" y="53429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9C921AC1-5DDC-7CF3-94F5-328BF0D7B2DB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67964479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DFDD83-50CA-EEFD-2083-25A5B0D0A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22312DD-7154-D974-2E9B-A060FA1904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2312DD-7154-D974-2E9B-A060FA190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F3C693D-9646-A900-6322-D038892DD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Відмінності цінностей між групами за намірами переїзду в інше місто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9F1711-21C3-C942-CD01-E88F0AA58AD8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5</a:t>
            </a:fld>
            <a:endParaRPr kumimoji="0" lang="uk-UA" sz="1100" b="0" i="0" u="none" strike="noStrike" kern="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9266FFFE-856B-80EC-090E-54EC10624987}"/>
              </a:ext>
            </a:extLst>
          </p:cNvPr>
          <p:cNvGraphicFramePr>
            <a:graphicFrameLocks noGrp="1"/>
          </p:cNvGraphicFramePr>
          <p:nvPr/>
        </p:nvGraphicFramePr>
        <p:xfrm>
          <a:off x="1759974" y="2319977"/>
          <a:ext cx="4145536" cy="487680"/>
        </p:xfrm>
        <a:graphic>
          <a:graphicData uri="http://schemas.openxmlformats.org/drawingml/2006/table">
            <a:tbl>
              <a:tblPr firstRow="1" bandRow="1"/>
              <a:tblGrid>
                <a:gridCol w="103638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  <a:endParaRPr lang="uk-UA" sz="16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е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істо</a:t>
                      </a:r>
                      <a:endParaRPr lang="uk-UA" sz="1050" b="0" i="0" u="sng" strike="noStrike" noProof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endParaRPr lang="uk-UA" sz="1050" b="0" i="0" u="sng" strike="noStrike" noProof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е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істо</a:t>
                      </a:r>
                      <a:endParaRPr lang="uk-UA" sz="1050" b="0" i="0" u="sng" strike="noStrike" noProof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25D6270D-7304-2ABE-D3B6-1B93F1553D01}"/>
              </a:ext>
            </a:extLst>
          </p:cNvPr>
          <p:cNvSpPr txBox="1"/>
          <p:nvPr/>
        </p:nvSpPr>
        <p:spPr>
          <a:xfrm>
            <a:off x="8544826" y="6553017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</a:t>
            </a:r>
            <a:r>
              <a:rPr lang="uk-UA" sz="750" noProof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3E6FA2A-FEFB-D5FD-BCB2-22B0628E104F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Молоді люди, які планують переїзд в інше місто, мають сильніші цінності самовираження – придумувати нові ідеї, бути творчими, бути вільними і незалежними, самостійно приймати рішення, а також цінності влади – бути заможними і мати статус.</a:t>
            </a:r>
          </a:p>
          <a:p>
            <a:r>
              <a:rPr lang="uk-UA" sz="1600" noProof="0" dirty="0"/>
              <a:t>Чинником невпевненості</a:t>
            </a:r>
            <a:r>
              <a:rPr lang="uk-UA" sz="1600" dirty="0"/>
              <a:t> щодо переїзду в інше місто є відданість традиціям.</a:t>
            </a:r>
          </a:p>
          <a:p>
            <a:r>
              <a:rPr lang="uk-UA" sz="1600" noProof="0" dirty="0"/>
              <a:t>Цінності безпеки та доброти (з</a:t>
            </a:r>
            <a:r>
              <a:rPr lang="uk-UA" sz="1600" dirty="0"/>
              <a:t>в’язку з близькими людьми) є чинником залишатися у Вінниці.</a:t>
            </a:r>
            <a:endParaRPr lang="uk-UA" sz="1600" noProof="0" dirty="0"/>
          </a:p>
        </p:txBody>
      </p:sp>
      <p:graphicFrame>
        <p:nvGraphicFramePr>
          <p:cNvPr id="14" name="Table 7">
            <a:extLst>
              <a:ext uri="{FF2B5EF4-FFF2-40B4-BE49-F238E27FC236}">
                <a16:creationId xmlns:a16="http://schemas.microsoft.com/office/drawing/2014/main" id="{CD27ED7A-BCAE-1D33-277E-86E9A333F001}"/>
              </a:ext>
            </a:extLst>
          </p:cNvPr>
          <p:cNvGraphicFramePr>
            <a:graphicFrameLocks noGrp="1"/>
          </p:cNvGraphicFramePr>
          <p:nvPr/>
        </p:nvGraphicFramePr>
        <p:xfrm>
          <a:off x="19666" y="2801603"/>
          <a:ext cx="5885846" cy="36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3758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4182088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  <a:r>
                        <a:rPr lang="en-US" sz="10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д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hievement</a:t>
                      </a:r>
                      <a:r>
                        <a:rPr lang="en-US" sz="11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ягн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268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donism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доніз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74415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imulation</a:t>
                      </a:r>
                      <a:r>
                        <a:rPr lang="en-US" sz="10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шук новог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direction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мовираж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alism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ціальна відповідаль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evolence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о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57245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dition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ди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ormity</a:t>
                      </a:r>
                      <a:r>
                        <a:rPr lang="en-US" sz="11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повідність норма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</a:t>
                      </a:r>
                      <a:endParaRPr lang="uk-UA" sz="12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5" name="Object 92">
            <a:extLst>
              <a:ext uri="{FF2B5EF4-FFF2-40B4-BE49-F238E27FC236}">
                <a16:creationId xmlns:a16="http://schemas.microsoft.com/office/drawing/2014/main" id="{E7429BCF-F2DB-7034-295B-8172F3594CF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55556" y="2745369"/>
          <a:ext cx="972000" cy="373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1" name="Object 92">
            <a:extLst>
              <a:ext uri="{FF2B5EF4-FFF2-40B4-BE49-F238E27FC236}">
                <a16:creationId xmlns:a16="http://schemas.microsoft.com/office/drawing/2014/main" id="{199F61E0-E384-9C84-C9AA-DD7B9713E3F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99310" y="2742446"/>
          <a:ext cx="972000" cy="373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Object 92">
            <a:extLst>
              <a:ext uri="{FF2B5EF4-FFF2-40B4-BE49-F238E27FC236}">
                <a16:creationId xmlns:a16="http://schemas.microsoft.com/office/drawing/2014/main" id="{3F4EA42D-A413-B98F-F503-69332B1D220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825243" y="2738460"/>
          <a:ext cx="972000" cy="373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3" name="Object 92">
            <a:extLst>
              <a:ext uri="{FF2B5EF4-FFF2-40B4-BE49-F238E27FC236}">
                <a16:creationId xmlns:a16="http://schemas.microsoft.com/office/drawing/2014/main" id="{7D51885E-CFB1-4F74-3509-53C7678EDA5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878829" y="2735537"/>
          <a:ext cx="972000" cy="373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5" name="Table 2">
            <a:extLst>
              <a:ext uri="{FF2B5EF4-FFF2-40B4-BE49-F238E27FC236}">
                <a16:creationId xmlns:a16="http://schemas.microsoft.com/office/drawing/2014/main" id="{6982410D-0A01-5A21-C5F4-E0C12315A963}"/>
              </a:ext>
            </a:extLst>
          </p:cNvPr>
          <p:cNvGraphicFramePr>
            <a:graphicFrameLocks noGrp="1"/>
          </p:cNvGraphicFramePr>
          <p:nvPr/>
        </p:nvGraphicFramePr>
        <p:xfrm>
          <a:off x="8007877" y="2316850"/>
          <a:ext cx="4145536" cy="487680"/>
        </p:xfrm>
        <a:graphic>
          <a:graphicData uri="http://schemas.openxmlformats.org/drawingml/2006/table">
            <a:tbl>
              <a:tblPr firstRow="1" bandRow="1"/>
              <a:tblGrid>
                <a:gridCol w="103638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е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істо</a:t>
                      </a:r>
                      <a:r>
                        <a:rPr lang="uk-UA" sz="1050" b="0" i="0" u="sng" strike="noStrike" noProof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900" b="0" i="0" u="sng" strike="noStrike" noProof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uk-UA" sz="1050" b="0" i="0" u="sng" strike="noStrike" noProof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900" b="0" i="0" u="sng" strike="noStrike" noProof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е</a:t>
                      </a:r>
                      <a:r>
                        <a:rPr lang="ru-RU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істо</a:t>
                      </a:r>
                      <a:r>
                        <a:rPr lang="uk-UA" sz="900" b="0" i="0" u="sng" strike="noStrike" noProof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graphicFrame>
        <p:nvGraphicFramePr>
          <p:cNvPr id="26" name="Table 7">
            <a:extLst>
              <a:ext uri="{FF2B5EF4-FFF2-40B4-BE49-F238E27FC236}">
                <a16:creationId xmlns:a16="http://schemas.microsoft.com/office/drawing/2014/main" id="{92FAB6A5-394E-37A0-C24D-D4C5E3E84CD7}"/>
              </a:ext>
            </a:extLst>
          </p:cNvPr>
          <p:cNvGraphicFramePr>
            <a:graphicFrameLocks noGrp="1"/>
          </p:cNvGraphicFramePr>
          <p:nvPr/>
        </p:nvGraphicFramePr>
        <p:xfrm>
          <a:off x="6263148" y="2798476"/>
          <a:ext cx="5890267" cy="36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817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4182088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  <a:r>
                        <a:rPr lang="en-US" sz="10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д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hievement</a:t>
                      </a:r>
                      <a:r>
                        <a:rPr lang="en-US" sz="11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ягн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268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donism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доніз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74415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imulation</a:t>
                      </a:r>
                      <a:r>
                        <a:rPr lang="en-US" sz="10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шук новог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direction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мовираж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alism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ціальна відповідаль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evolence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о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57245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dition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ди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ormity</a:t>
                      </a:r>
                      <a:r>
                        <a:rPr lang="en-US" sz="11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повідність норма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</a:t>
                      </a:r>
                      <a:endParaRPr lang="uk-UA" sz="12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8" name="Chart 53">
            <a:extLst>
              <a:ext uri="{FF2B5EF4-FFF2-40B4-BE49-F238E27FC236}">
                <a16:creationId xmlns:a16="http://schemas.microsoft.com/office/drawing/2014/main" id="{DB7BA7C7-D72E-4EE1-7618-6076E8BC4B40}"/>
              </a:ext>
            </a:extLst>
          </p:cNvPr>
          <p:cNvGraphicFramePr/>
          <p:nvPr/>
        </p:nvGraphicFramePr>
        <p:xfrm>
          <a:off x="8004200" y="2739436"/>
          <a:ext cx="972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9" name="Chart 53">
            <a:extLst>
              <a:ext uri="{FF2B5EF4-FFF2-40B4-BE49-F238E27FC236}">
                <a16:creationId xmlns:a16="http://schemas.microsoft.com/office/drawing/2014/main" id="{58724B27-8117-0B31-63DD-BB1646F68FD0}"/>
              </a:ext>
            </a:extLst>
          </p:cNvPr>
          <p:cNvGraphicFramePr/>
          <p:nvPr/>
        </p:nvGraphicFramePr>
        <p:xfrm>
          <a:off x="9061411" y="2734271"/>
          <a:ext cx="972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50" name="Chart 53">
            <a:extLst>
              <a:ext uri="{FF2B5EF4-FFF2-40B4-BE49-F238E27FC236}">
                <a16:creationId xmlns:a16="http://schemas.microsoft.com/office/drawing/2014/main" id="{86E60966-E6DF-EA66-2566-547C1FFA0934}"/>
              </a:ext>
            </a:extLst>
          </p:cNvPr>
          <p:cNvGraphicFramePr/>
          <p:nvPr/>
        </p:nvGraphicFramePr>
        <p:xfrm>
          <a:off x="10101356" y="2734271"/>
          <a:ext cx="972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51" name="Chart 53">
            <a:extLst>
              <a:ext uri="{FF2B5EF4-FFF2-40B4-BE49-F238E27FC236}">
                <a16:creationId xmlns:a16="http://schemas.microsoft.com/office/drawing/2014/main" id="{DEC89D6B-9A21-4E5E-84EB-FFE484C06C9F}"/>
              </a:ext>
            </a:extLst>
          </p:cNvPr>
          <p:cNvGraphicFramePr/>
          <p:nvPr/>
        </p:nvGraphicFramePr>
        <p:xfrm>
          <a:off x="11168399" y="2738938"/>
          <a:ext cx="972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BC74CD57-17E0-0F7C-E4C1-C7E4D75D6BC2}"/>
              </a:ext>
            </a:extLst>
          </p:cNvPr>
          <p:cNvSpPr txBox="1"/>
          <p:nvPr/>
        </p:nvSpPr>
        <p:spPr>
          <a:xfrm>
            <a:off x="10160076" y="586404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A0CDA79-F9B7-8224-176C-2B9ABFB09C31}"/>
              </a:ext>
            </a:extLst>
          </p:cNvPr>
          <p:cNvSpPr txBox="1"/>
          <p:nvPr/>
        </p:nvSpPr>
        <p:spPr>
          <a:xfrm>
            <a:off x="9167899" y="298531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50" b="1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DDFBDE1-BA69-CCF3-E124-45DCF19C44E0}"/>
              </a:ext>
            </a:extLst>
          </p:cNvPr>
          <p:cNvSpPr txBox="1"/>
          <p:nvPr/>
        </p:nvSpPr>
        <p:spPr>
          <a:xfrm>
            <a:off x="11702251" y="5148206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3B04652-DD43-3EC2-4527-5630D7CA2C3D}"/>
              </a:ext>
            </a:extLst>
          </p:cNvPr>
          <p:cNvSpPr txBox="1"/>
          <p:nvPr/>
        </p:nvSpPr>
        <p:spPr>
          <a:xfrm>
            <a:off x="9589340" y="4419521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8418D4B-08EB-34B6-B87B-7B923587968A}"/>
              </a:ext>
            </a:extLst>
          </p:cNvPr>
          <p:cNvSpPr txBox="1"/>
          <p:nvPr/>
        </p:nvSpPr>
        <p:spPr>
          <a:xfrm>
            <a:off x="172554" y="2396972"/>
            <a:ext cx="12504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но середні дані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AAA4FEF-45CF-72C9-15BB-CE6EDA3083F1}"/>
              </a:ext>
            </a:extLst>
          </p:cNvPr>
          <p:cNvSpPr txBox="1"/>
          <p:nvPr/>
        </p:nvSpPr>
        <p:spPr>
          <a:xfrm>
            <a:off x="6420461" y="2383424"/>
            <a:ext cx="11893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но центровані середні дані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BBF20C-AE94-A947-69A5-E8DCC8C5427A}"/>
              </a:ext>
            </a:extLst>
          </p:cNvPr>
          <p:cNvSpPr txBox="1"/>
          <p:nvPr/>
        </p:nvSpPr>
        <p:spPr>
          <a:xfrm>
            <a:off x="10215035" y="299023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50" b="1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A87578-259F-C20D-C676-65BC10FE7BF5}"/>
              </a:ext>
            </a:extLst>
          </p:cNvPr>
          <p:cNvSpPr txBox="1"/>
          <p:nvPr/>
        </p:nvSpPr>
        <p:spPr>
          <a:xfrm>
            <a:off x="10190454" y="333928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50" b="1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CC368D-8F12-6509-5E86-59C002CB77BA}"/>
              </a:ext>
            </a:extLst>
          </p:cNvPr>
          <p:cNvSpPr txBox="1"/>
          <p:nvPr/>
        </p:nvSpPr>
        <p:spPr>
          <a:xfrm>
            <a:off x="10618157" y="407178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50" b="1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3EEC98-A93B-FF08-6A48-ECAE75AD9C7E}"/>
              </a:ext>
            </a:extLst>
          </p:cNvPr>
          <p:cNvSpPr txBox="1"/>
          <p:nvPr/>
        </p:nvSpPr>
        <p:spPr>
          <a:xfrm>
            <a:off x="9590686" y="406686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50" b="1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2267B7-65E0-EC36-9244-084A708C8B78}"/>
              </a:ext>
            </a:extLst>
          </p:cNvPr>
          <p:cNvSpPr txBox="1"/>
          <p:nvPr/>
        </p:nvSpPr>
        <p:spPr>
          <a:xfrm>
            <a:off x="11698824" y="478741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5AD687-275B-1E37-8466-A1F69235924F}"/>
              </a:ext>
            </a:extLst>
          </p:cNvPr>
          <p:cNvSpPr txBox="1"/>
          <p:nvPr/>
        </p:nvSpPr>
        <p:spPr>
          <a:xfrm>
            <a:off x="10104509" y="5507083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34B27DD-3D58-7992-8D52-17867ED651CE}"/>
              </a:ext>
            </a:extLst>
          </p:cNvPr>
          <p:cNvSpPr txBox="1"/>
          <p:nvPr/>
        </p:nvSpPr>
        <p:spPr>
          <a:xfrm>
            <a:off x="11246540" y="585912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E52012-F336-E788-702A-9222E0F12F8D}"/>
              </a:ext>
            </a:extLst>
          </p:cNvPr>
          <p:cNvSpPr txBox="1"/>
          <p:nvPr/>
        </p:nvSpPr>
        <p:spPr>
          <a:xfrm>
            <a:off x="11716999" y="6234671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FF417F2-9F59-11D9-EF3F-0F46ACB5AFDA}"/>
              </a:ext>
            </a:extLst>
          </p:cNvPr>
          <p:cNvSpPr txBox="1">
            <a:spLocks/>
          </p:cNvSpPr>
          <p:nvPr/>
        </p:nvSpPr>
        <p:spPr>
          <a:xfrm>
            <a:off x="1" y="1975645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ru-RU" sz="1800" b="1" kern="0" err="1">
                <a:solidFill>
                  <a:schemeClr val="accent2">
                    <a:lumMod val="50000"/>
                  </a:schemeClr>
                </a:solidFill>
              </a:rPr>
              <a:t>Наміри</a:t>
            </a:r>
            <a:r>
              <a:rPr lang="ru-RU" sz="1800" b="1" ker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b="1" kern="0" err="1">
                <a:solidFill>
                  <a:schemeClr val="accent2">
                    <a:lumMod val="50000"/>
                  </a:schemeClr>
                </a:solidFill>
              </a:rPr>
              <a:t>переїзду</a:t>
            </a:r>
            <a:r>
              <a:rPr lang="ru-RU" sz="1800" b="1" kern="0">
                <a:solidFill>
                  <a:schemeClr val="accent2">
                    <a:lumMod val="50000"/>
                  </a:schemeClr>
                </a:solidFill>
              </a:rPr>
              <a:t> в </a:t>
            </a:r>
            <a:r>
              <a:rPr lang="ru-RU" sz="1800" b="1" kern="0" err="1">
                <a:solidFill>
                  <a:schemeClr val="accent2">
                    <a:lumMod val="50000"/>
                  </a:schemeClr>
                </a:solidFill>
              </a:rPr>
              <a:t>інше</a:t>
            </a:r>
            <a:r>
              <a:rPr lang="ru-RU" sz="1800" b="1" ker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b="1" kern="0" err="1">
                <a:solidFill>
                  <a:schemeClr val="accent2">
                    <a:lumMod val="50000"/>
                  </a:schemeClr>
                </a:solidFill>
              </a:rPr>
              <a:t>місто</a:t>
            </a:r>
            <a:endParaRPr lang="uk-UA" sz="1800" b="1" kern="0" noProof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B723218-831C-820D-2F5B-4BC72254FEF9}"/>
              </a:ext>
            </a:extLst>
          </p:cNvPr>
          <p:cNvSpPr/>
          <p:nvPr/>
        </p:nvSpPr>
        <p:spPr>
          <a:xfrm>
            <a:off x="2924461" y="2828654"/>
            <a:ext cx="805739" cy="323335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DD073C6-EC57-8E4A-E4A8-60BE120DB26D}"/>
              </a:ext>
            </a:extLst>
          </p:cNvPr>
          <p:cNvSpPr/>
          <p:nvPr/>
        </p:nvSpPr>
        <p:spPr>
          <a:xfrm>
            <a:off x="2949041" y="4249418"/>
            <a:ext cx="805739" cy="323335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D01F331-F692-90BB-5270-6AC0C27AE707}"/>
              </a:ext>
            </a:extLst>
          </p:cNvPr>
          <p:cNvSpPr/>
          <p:nvPr/>
        </p:nvSpPr>
        <p:spPr>
          <a:xfrm>
            <a:off x="5087561" y="4972090"/>
            <a:ext cx="805739" cy="323335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29C315C-7EDF-4F85-08D9-06B2EB6C085A}"/>
              </a:ext>
            </a:extLst>
          </p:cNvPr>
          <p:cNvSpPr/>
          <p:nvPr/>
        </p:nvSpPr>
        <p:spPr>
          <a:xfrm>
            <a:off x="5102313" y="6068388"/>
            <a:ext cx="805739" cy="323335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EA98AC5-F890-1A0F-C914-6EF61095E5B6}"/>
              </a:ext>
            </a:extLst>
          </p:cNvPr>
          <p:cNvSpPr/>
          <p:nvPr/>
        </p:nvSpPr>
        <p:spPr>
          <a:xfrm>
            <a:off x="3968724" y="5357835"/>
            <a:ext cx="805739" cy="285882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29515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B6749B5-A22D-BB53-D3EA-400A7F9BCF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16D78586-5A3A-60C9-667A-F88D46F78D64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457471"/>
          <a:ext cx="12160800" cy="39038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7840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682400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вірним своїм близьким людям та друзя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сильній державі, яка може захистити громадян і гарантувати безпеку від усіх загроз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мостійно приймати рішення про те, що робити, бути вільним та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бити те, що приносить задовол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регти природу, дбати про довк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ідстоювати справедливість та рівні можливост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в безпечному оточенні, уникати всього, що може загрожувати безпе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людям довкол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бре проводити час, балувати себе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бувати нове, шукати пригоди і ризикувати, мати життя сповнене враженням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думувати нові ідеї, бути творчою людино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шанованою людиною, до думки якої дослухаються інш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слуховувати думки людей, які відрізняються від Вашої, зрозуміти їх точку зор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заможним, мати багато грошей і дорогі речі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тримуватися традицій, релігійних чи сімейних звичаї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вжди поводитися правильно, уникати вчинків, які можуть викликати засудж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кликати захоплення інших людей від того, що ви робите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скромним, не привертати до себе увагу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F528BAE-6B6F-3B12-2D1D-662F0291BC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528BAE-6B6F-3B12-2D1D-662F0291B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EBAE03D-78F6-B785-77FC-01964F160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: розподіл за життєвими цінностями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BC5F457-2ACA-5237-C634-E193FB06D705}"/>
              </a:ext>
            </a:extLst>
          </p:cNvPr>
          <p:cNvSpPr txBox="1"/>
          <p:nvPr/>
        </p:nvSpPr>
        <p:spPr>
          <a:xfrm>
            <a:off x="4958081" y="6473465"/>
            <a:ext cx="67891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5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Різні люди мають різні цінності – принципи, якими вони керуються у житті. Я зачитаю перелік таких принципів, оцініть, наскільки ці принципи є важливими для Вас особисто за шкалою від 1 до 7, де 1 – абсолютно не важливо, 4 – середня оцінка, 7 – надзвичайно важливо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7528DB-7558-368D-38C6-ECFE17F0988B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F0246888-2017-1775-E7AA-526E406530F1}"/>
              </a:ext>
            </a:extLst>
          </p:cNvPr>
          <p:cNvGraphicFramePr>
            <a:graphicFrameLocks noGrp="1"/>
          </p:cNvGraphicFramePr>
          <p:nvPr/>
        </p:nvGraphicFramePr>
        <p:xfrm>
          <a:off x="4468022" y="6343702"/>
          <a:ext cx="7674676" cy="218225"/>
        </p:xfrm>
        <a:graphic>
          <a:graphicData uri="http://schemas.openxmlformats.org/drawingml/2006/table">
            <a:tbl>
              <a:tblPr firstRow="1" bandRow="1"/>
              <a:tblGrid>
                <a:gridCol w="191866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1866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1866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1866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693F1B08-BAEE-C9C0-440E-E48D6E324F0F}"/>
              </a:ext>
            </a:extLst>
          </p:cNvPr>
          <p:cNvGraphicFramePr/>
          <p:nvPr/>
        </p:nvGraphicFramePr>
        <p:xfrm>
          <a:off x="4483514" y="2354264"/>
          <a:ext cx="1815804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A13A460A-9281-8216-AC5A-8F1B5CC916EE}"/>
              </a:ext>
            </a:extLst>
          </p:cNvPr>
          <p:cNvGraphicFramePr>
            <a:graphicFrameLocks noGrp="1"/>
          </p:cNvGraphicFramePr>
          <p:nvPr/>
        </p:nvGraphicFramePr>
        <p:xfrm>
          <a:off x="4493339" y="2113495"/>
          <a:ext cx="7649500" cy="339852"/>
        </p:xfrm>
        <a:graphic>
          <a:graphicData uri="http://schemas.openxmlformats.org/drawingml/2006/table">
            <a:tbl>
              <a:tblPr firstRow="1" bandRow="1"/>
              <a:tblGrid>
                <a:gridCol w="191237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91237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91237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91237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823C8C84-249D-56CB-1E9D-5A381BF4C734}"/>
              </a:ext>
            </a:extLst>
          </p:cNvPr>
          <p:cNvSpPr txBox="1">
            <a:spLocks/>
          </p:cNvSpPr>
          <p:nvPr/>
        </p:nvSpPr>
        <p:spPr>
          <a:xfrm>
            <a:off x="1" y="1769171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Важливість принципів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7350941-CDCE-9FFE-7646-38F8C0F4C5BA}"/>
              </a:ext>
            </a:extLst>
          </p:cNvPr>
          <p:cNvSpPr txBox="1"/>
          <p:nvPr/>
        </p:nvSpPr>
        <p:spPr bwMode="gray">
          <a:xfrm>
            <a:off x="180218" y="2153780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F6F29807-F178-E5B5-97C0-3EAB232D10A6}"/>
              </a:ext>
            </a:extLst>
          </p:cNvPr>
          <p:cNvGraphicFramePr/>
          <p:nvPr/>
        </p:nvGraphicFramePr>
        <p:xfrm>
          <a:off x="7737987" y="1769806"/>
          <a:ext cx="4386716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A0EC60F-55E5-D117-0A40-3B7C6798923F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Схильність до переїзду за кордон корелює із цінностями толерантності та прагненням бути заможним. Прагнення жити у сильній державі, що гарантує захист і безпеку, не є вираженим для тих, хто прагне до переїзду за кордон. 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E89D9D1C-689B-30E2-DFF9-4927E2387EA8}"/>
              </a:ext>
            </a:extLst>
          </p:cNvPr>
          <p:cNvGraphicFramePr/>
          <p:nvPr/>
        </p:nvGraphicFramePr>
        <p:xfrm>
          <a:off x="6405136" y="2355430"/>
          <a:ext cx="1815804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6">
            <a:extLst>
              <a:ext uri="{FF2B5EF4-FFF2-40B4-BE49-F238E27FC236}">
                <a16:creationId xmlns:a16="http://schemas.microsoft.com/office/drawing/2014/main" id="{E18CB8B8-E2BB-D89F-4A15-0DE838BE9427}"/>
              </a:ext>
            </a:extLst>
          </p:cNvPr>
          <p:cNvGraphicFramePr/>
          <p:nvPr/>
        </p:nvGraphicFramePr>
        <p:xfrm>
          <a:off x="8326758" y="2353098"/>
          <a:ext cx="1815804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Диаграмма 16">
            <a:extLst>
              <a:ext uri="{FF2B5EF4-FFF2-40B4-BE49-F238E27FC236}">
                <a16:creationId xmlns:a16="http://schemas.microsoft.com/office/drawing/2014/main" id="{4F1BB9CC-1050-BD54-16CE-516A7A3199DF}"/>
              </a:ext>
            </a:extLst>
          </p:cNvPr>
          <p:cNvGraphicFramePr/>
          <p:nvPr/>
        </p:nvGraphicFramePr>
        <p:xfrm>
          <a:off x="10228713" y="2354264"/>
          <a:ext cx="1815804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253B6315-7F65-E204-5219-20996978954C}"/>
              </a:ext>
            </a:extLst>
          </p:cNvPr>
          <p:cNvSpPr txBox="1"/>
          <p:nvPr/>
        </p:nvSpPr>
        <p:spPr>
          <a:xfrm>
            <a:off x="9112777" y="333365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014231A-5FF8-8115-78E9-6A7F658CD08B}"/>
              </a:ext>
            </a:extLst>
          </p:cNvPr>
          <p:cNvSpPr txBox="1"/>
          <p:nvPr/>
        </p:nvSpPr>
        <p:spPr>
          <a:xfrm>
            <a:off x="8978050" y="420293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CF5BF52-ED11-415A-9983-C1AF9B225A32}"/>
              </a:ext>
            </a:extLst>
          </p:cNvPr>
          <p:cNvSpPr txBox="1"/>
          <p:nvPr/>
        </p:nvSpPr>
        <p:spPr>
          <a:xfrm>
            <a:off x="11099418" y="246646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124B44A-48ED-55B7-93F5-76A6153C9B0E}"/>
              </a:ext>
            </a:extLst>
          </p:cNvPr>
          <p:cNvSpPr txBox="1"/>
          <p:nvPr/>
        </p:nvSpPr>
        <p:spPr>
          <a:xfrm>
            <a:off x="11108885" y="269005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6FBB312D-7A86-388E-C064-EC0AB13536EB}"/>
              </a:ext>
            </a:extLst>
          </p:cNvPr>
          <p:cNvSpPr txBox="1"/>
          <p:nvPr/>
        </p:nvSpPr>
        <p:spPr>
          <a:xfrm>
            <a:off x="6979469" y="50706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3350F5F5-EB55-09ED-F256-A7860408AC17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671DF8-9537-2A47-5EDF-E71E52A3C16D}"/>
              </a:ext>
            </a:extLst>
          </p:cNvPr>
          <p:cNvSpPr txBox="1"/>
          <p:nvPr/>
        </p:nvSpPr>
        <p:spPr>
          <a:xfrm>
            <a:off x="6846733" y="528204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550CB1-2F4B-1D0B-6B14-43C0C4FFBF5C}"/>
              </a:ext>
            </a:extLst>
          </p:cNvPr>
          <p:cNvSpPr txBox="1"/>
          <p:nvPr/>
        </p:nvSpPr>
        <p:spPr>
          <a:xfrm>
            <a:off x="9009538" y="398749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73C0E2-6089-3D81-6958-49BDC1456E4D}"/>
              </a:ext>
            </a:extLst>
          </p:cNvPr>
          <p:cNvSpPr txBox="1"/>
          <p:nvPr/>
        </p:nvSpPr>
        <p:spPr>
          <a:xfrm>
            <a:off x="8886635" y="463150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CC2D5BA-55AC-86DB-A793-BD85D3B80F3E}"/>
              </a:ext>
            </a:extLst>
          </p:cNvPr>
          <p:cNvSpPr txBox="1"/>
          <p:nvPr/>
        </p:nvSpPr>
        <p:spPr>
          <a:xfrm>
            <a:off x="8773564" y="57179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0138C1A-D429-85DF-B3CE-4856D1BD0FB4}"/>
              </a:ext>
            </a:extLst>
          </p:cNvPr>
          <p:cNvSpPr txBox="1"/>
          <p:nvPr/>
        </p:nvSpPr>
        <p:spPr>
          <a:xfrm>
            <a:off x="10617112" y="571305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9BC21A-D6B8-229D-4B97-C1B649D0A579}"/>
              </a:ext>
            </a:extLst>
          </p:cNvPr>
          <p:cNvSpPr txBox="1"/>
          <p:nvPr/>
        </p:nvSpPr>
        <p:spPr>
          <a:xfrm>
            <a:off x="10877667" y="399732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3EEA6E-2F49-B856-33BD-24BA9B95CBC3}"/>
              </a:ext>
            </a:extLst>
          </p:cNvPr>
          <p:cNvSpPr txBox="1"/>
          <p:nvPr/>
        </p:nvSpPr>
        <p:spPr>
          <a:xfrm>
            <a:off x="11039900" y="333365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295BDF-0499-BB73-967B-DBBF994442D8}"/>
              </a:ext>
            </a:extLst>
          </p:cNvPr>
          <p:cNvSpPr txBox="1"/>
          <p:nvPr/>
        </p:nvSpPr>
        <p:spPr>
          <a:xfrm>
            <a:off x="9002630" y="4424156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BFCEE18-924C-A755-E9A7-D9BD6D2616F4}"/>
              </a:ext>
            </a:extLst>
          </p:cNvPr>
          <p:cNvSpPr txBox="1"/>
          <p:nvPr/>
        </p:nvSpPr>
        <p:spPr>
          <a:xfrm>
            <a:off x="8919056" y="528447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BAE34A-BD89-F436-1305-E638D70DE195}"/>
              </a:ext>
            </a:extLst>
          </p:cNvPr>
          <p:cNvSpPr txBox="1"/>
          <p:nvPr/>
        </p:nvSpPr>
        <p:spPr>
          <a:xfrm>
            <a:off x="8874811" y="549587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264888-5AFA-FCE4-954F-633F1092B407}"/>
              </a:ext>
            </a:extLst>
          </p:cNvPr>
          <p:cNvSpPr txBox="1"/>
          <p:nvPr/>
        </p:nvSpPr>
        <p:spPr>
          <a:xfrm>
            <a:off x="8830565" y="593340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A653A1B-8265-2512-305E-F665D5DFF42E}"/>
              </a:ext>
            </a:extLst>
          </p:cNvPr>
          <p:cNvSpPr txBox="1"/>
          <p:nvPr/>
        </p:nvSpPr>
        <p:spPr>
          <a:xfrm>
            <a:off x="8697829" y="615463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C3E3EA-25C9-BED6-47A7-7955C9FFAE06}"/>
              </a:ext>
            </a:extLst>
          </p:cNvPr>
          <p:cNvSpPr txBox="1"/>
          <p:nvPr/>
        </p:nvSpPr>
        <p:spPr>
          <a:xfrm>
            <a:off x="8891843" y="484942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484AF69-80D2-F26E-D288-7F044CC25241}"/>
              </a:ext>
            </a:extLst>
          </p:cNvPr>
          <p:cNvSpPr txBox="1"/>
          <p:nvPr/>
        </p:nvSpPr>
        <p:spPr>
          <a:xfrm>
            <a:off x="8877095" y="506082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F6FF8FA-FB72-47FE-D5A1-9F2528A61DF7}"/>
              </a:ext>
            </a:extLst>
          </p:cNvPr>
          <p:cNvSpPr txBox="1"/>
          <p:nvPr/>
        </p:nvSpPr>
        <p:spPr>
          <a:xfrm>
            <a:off x="7886668" y="268876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101951B-5FE6-CE51-6D26-44361C327308}"/>
              </a:ext>
            </a:extLst>
          </p:cNvPr>
          <p:cNvSpPr txBox="1"/>
          <p:nvPr/>
        </p:nvSpPr>
        <p:spPr>
          <a:xfrm>
            <a:off x="7881752" y="334260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14BCD4A-032A-1A62-DB9B-D9D1F8DE6298}"/>
              </a:ext>
            </a:extLst>
          </p:cNvPr>
          <p:cNvSpPr txBox="1"/>
          <p:nvPr/>
        </p:nvSpPr>
        <p:spPr>
          <a:xfrm>
            <a:off x="7827675" y="398662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0B5EC4B-B9DC-3E00-7339-24A9D54C5798}"/>
              </a:ext>
            </a:extLst>
          </p:cNvPr>
          <p:cNvSpPr txBox="1"/>
          <p:nvPr/>
        </p:nvSpPr>
        <p:spPr>
          <a:xfrm>
            <a:off x="7399971" y="571218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B430900-A161-74E7-731F-6DBE78AE3DD4}"/>
              </a:ext>
            </a:extLst>
          </p:cNvPr>
          <p:cNvSpPr txBox="1"/>
          <p:nvPr/>
        </p:nvSpPr>
        <p:spPr>
          <a:xfrm>
            <a:off x="7515327" y="59408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2A960DE-FA05-9B20-ABFC-1234C55D64C8}"/>
              </a:ext>
            </a:extLst>
          </p:cNvPr>
          <p:cNvSpPr txBox="1"/>
          <p:nvPr/>
        </p:nvSpPr>
        <p:spPr>
          <a:xfrm>
            <a:off x="7697224" y="528696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CAA1F0B-45B7-7B56-4044-B535823C279E}"/>
              </a:ext>
            </a:extLst>
          </p:cNvPr>
          <p:cNvSpPr txBox="1"/>
          <p:nvPr/>
        </p:nvSpPr>
        <p:spPr>
          <a:xfrm>
            <a:off x="7741470" y="421033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3D7CF3E-BB7E-AADB-5907-9E1CA074835E}"/>
              </a:ext>
            </a:extLst>
          </p:cNvPr>
          <p:cNvSpPr txBox="1"/>
          <p:nvPr/>
        </p:nvSpPr>
        <p:spPr>
          <a:xfrm>
            <a:off x="9909481" y="269124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2EC319F-F5C4-EF84-F6C4-ED96148F62DB}"/>
              </a:ext>
            </a:extLst>
          </p:cNvPr>
          <p:cNvSpPr txBox="1"/>
          <p:nvPr/>
        </p:nvSpPr>
        <p:spPr>
          <a:xfrm>
            <a:off x="9761997" y="248476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31317D3-24CE-0BEC-485B-E6D8D15CFE75}"/>
              </a:ext>
            </a:extLst>
          </p:cNvPr>
          <p:cNvSpPr txBox="1"/>
          <p:nvPr/>
        </p:nvSpPr>
        <p:spPr>
          <a:xfrm>
            <a:off x="11571133" y="421524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2352C74-2AE2-070D-AC6D-91D5132833D0}"/>
              </a:ext>
            </a:extLst>
          </p:cNvPr>
          <p:cNvSpPr txBox="1"/>
          <p:nvPr/>
        </p:nvSpPr>
        <p:spPr>
          <a:xfrm>
            <a:off x="11349907" y="529188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90D6714-84E3-AD39-5EA5-4A8467E4ECAB}"/>
              </a:ext>
            </a:extLst>
          </p:cNvPr>
          <p:cNvSpPr txBox="1"/>
          <p:nvPr/>
        </p:nvSpPr>
        <p:spPr>
          <a:xfrm>
            <a:off x="11364656" y="55032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03E6F31-B487-4C0C-E42E-E644C65F1484}"/>
              </a:ext>
            </a:extLst>
          </p:cNvPr>
          <p:cNvSpPr txBox="1"/>
          <p:nvPr/>
        </p:nvSpPr>
        <p:spPr>
          <a:xfrm>
            <a:off x="11300747" y="59309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A97B7B5-5624-985E-B924-AC5550F24327}"/>
              </a:ext>
            </a:extLst>
          </p:cNvPr>
          <p:cNvSpPr txBox="1"/>
          <p:nvPr/>
        </p:nvSpPr>
        <p:spPr>
          <a:xfrm>
            <a:off x="11158179" y="615220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23B6962-E005-56F7-3247-8172A2D3AD9F}"/>
              </a:ext>
            </a:extLst>
          </p:cNvPr>
          <p:cNvSpPr txBox="1"/>
          <p:nvPr/>
        </p:nvSpPr>
        <p:spPr>
          <a:xfrm>
            <a:off x="11497259" y="506454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65A1E80-B0D4-549E-8995-A53FA691000B}"/>
              </a:ext>
            </a:extLst>
          </p:cNvPr>
          <p:cNvSpPr txBox="1"/>
          <p:nvPr/>
        </p:nvSpPr>
        <p:spPr>
          <a:xfrm>
            <a:off x="7891585" y="492560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CE5283A-2EAB-C3F5-8352-1AB880EB159C}"/>
              </a:ext>
            </a:extLst>
          </p:cNvPr>
          <p:cNvSpPr txBox="1"/>
          <p:nvPr/>
        </p:nvSpPr>
        <p:spPr>
          <a:xfrm>
            <a:off x="7876838" y="551062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06823B0-02E1-2B81-478D-522B252FB440}"/>
              </a:ext>
            </a:extLst>
          </p:cNvPr>
          <p:cNvSpPr txBox="1"/>
          <p:nvPr/>
        </p:nvSpPr>
        <p:spPr>
          <a:xfrm>
            <a:off x="7977443" y="47216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FDC3B1F-22F5-CB18-351F-22485AC4B010}"/>
              </a:ext>
            </a:extLst>
          </p:cNvPr>
          <p:cNvSpPr txBox="1"/>
          <p:nvPr/>
        </p:nvSpPr>
        <p:spPr>
          <a:xfrm>
            <a:off x="11802191" y="49182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0BA0458-0C42-B8A2-0A70-66A66C3DAB82}"/>
              </a:ext>
            </a:extLst>
          </p:cNvPr>
          <p:cNvSpPr txBox="1"/>
          <p:nvPr/>
        </p:nvSpPr>
        <p:spPr>
          <a:xfrm>
            <a:off x="11718484" y="536442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431983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2C1835-73FC-F782-7852-0C4116A4B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AE2C195-EC6D-18FF-B419-273DE6C275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E2C195-EC6D-18FF-B419-273DE6C27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4804DA-F906-7A38-2439-94BB7F61FD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Відмінності цінностей між групами за намірами переїзду за кордон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243098-74CA-B72F-3B00-584DCDBFB3C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7</a:t>
            </a:fld>
            <a:endParaRPr kumimoji="0" lang="uk-UA" sz="1100" b="0" i="0" u="none" strike="noStrike" kern="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3A7DD605-6256-BE14-C87A-351B7A80C0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3892517"/>
              </p:ext>
            </p:extLst>
          </p:nvPr>
        </p:nvGraphicFramePr>
        <p:xfrm>
          <a:off x="1759974" y="2319977"/>
          <a:ext cx="4145536" cy="487680"/>
        </p:xfrm>
        <a:graphic>
          <a:graphicData uri="http://schemas.openxmlformats.org/drawingml/2006/table">
            <a:tbl>
              <a:tblPr firstRow="1" bandRow="1"/>
              <a:tblGrid>
                <a:gridCol w="103638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  <a:endParaRPr lang="uk-UA" sz="16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 кордон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endParaRPr lang="uk-UA" sz="1050" b="0" i="0" u="sng" strike="noStrike" noProof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 кордон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18CDD7B7-EF5A-5FD5-D41B-2EB0ADD55D6B}"/>
              </a:ext>
            </a:extLst>
          </p:cNvPr>
          <p:cNvSpPr txBox="1"/>
          <p:nvPr/>
        </p:nvSpPr>
        <p:spPr>
          <a:xfrm>
            <a:off x="8544826" y="6553017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</a:t>
            </a:r>
            <a:r>
              <a:rPr lang="uk-UA" sz="750" noProof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4D0FA0C-2720-D134-6D0A-072CAFB3A238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400" noProof="0" dirty="0"/>
              <a:t>Молоді люди, які планують виїзд за кордон, мають цінності самовираження – бути творчими, вільними і самостійними, цінності соціальної відповідальності і доброти («європейські цінності»), що поєднуються із цінністю досягнення (викликати захоплення інших). </a:t>
            </a:r>
          </a:p>
          <a:p>
            <a:r>
              <a:rPr lang="uk-UA" sz="1400" dirty="0"/>
              <a:t>Ті, хто залишається в Україні, також мають цінності самовираження, соціальної відповідальності і доброти, проте ці цінності поєднуються із прагненням безпеки (стабільності і уникнення ризиків).</a:t>
            </a:r>
          </a:p>
          <a:p>
            <a:r>
              <a:rPr lang="uk-UA" sz="1400" noProof="0" dirty="0"/>
              <a:t>Невпевнені, з одного боку, прагнуть до статусу, грошей, пошуку нового, </a:t>
            </a:r>
            <a:r>
              <a:rPr lang="uk-UA" sz="1400" dirty="0"/>
              <a:t> з іншого боку, їх стримують традиції і прагнення відповідати нормам.</a:t>
            </a:r>
            <a:endParaRPr lang="uk-UA" sz="1400" noProof="0" dirty="0"/>
          </a:p>
        </p:txBody>
      </p:sp>
      <p:graphicFrame>
        <p:nvGraphicFramePr>
          <p:cNvPr id="14" name="Table 7">
            <a:extLst>
              <a:ext uri="{FF2B5EF4-FFF2-40B4-BE49-F238E27FC236}">
                <a16:creationId xmlns:a16="http://schemas.microsoft.com/office/drawing/2014/main" id="{7543D6BF-EAA3-B649-11D0-57983C63CC12}"/>
              </a:ext>
            </a:extLst>
          </p:cNvPr>
          <p:cNvGraphicFramePr>
            <a:graphicFrameLocks noGrp="1"/>
          </p:cNvGraphicFramePr>
          <p:nvPr/>
        </p:nvGraphicFramePr>
        <p:xfrm>
          <a:off x="19666" y="2801603"/>
          <a:ext cx="5885846" cy="36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3758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4182088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  <a:r>
                        <a:rPr lang="en-US" sz="10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д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hievement</a:t>
                      </a:r>
                      <a:r>
                        <a:rPr lang="en-US" sz="11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ягн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268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donism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доніз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74415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imulation</a:t>
                      </a:r>
                      <a:r>
                        <a:rPr lang="en-US" sz="10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шук новог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direction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мовираж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alism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ціальна відповідаль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evolence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о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57245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dition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ди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ormity</a:t>
                      </a:r>
                      <a:r>
                        <a:rPr lang="en-US" sz="11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повідність норма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</a:t>
                      </a:r>
                      <a:endParaRPr lang="uk-UA" sz="12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5" name="Object 92">
            <a:extLst>
              <a:ext uri="{FF2B5EF4-FFF2-40B4-BE49-F238E27FC236}">
                <a16:creationId xmlns:a16="http://schemas.microsoft.com/office/drawing/2014/main" id="{9236D8B6-4D29-871C-66CF-7CCD60D2E5D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55556" y="2745369"/>
          <a:ext cx="972000" cy="373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1" name="Object 92">
            <a:extLst>
              <a:ext uri="{FF2B5EF4-FFF2-40B4-BE49-F238E27FC236}">
                <a16:creationId xmlns:a16="http://schemas.microsoft.com/office/drawing/2014/main" id="{ED3E9551-4C11-E257-E5D5-5C7106D4EA8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99310" y="2742446"/>
          <a:ext cx="972000" cy="373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Object 92">
            <a:extLst>
              <a:ext uri="{FF2B5EF4-FFF2-40B4-BE49-F238E27FC236}">
                <a16:creationId xmlns:a16="http://schemas.microsoft.com/office/drawing/2014/main" id="{9CBD044A-BCC1-39C5-EAD8-0E34FF753A2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825243" y="2738460"/>
          <a:ext cx="972000" cy="373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3" name="Object 92">
            <a:extLst>
              <a:ext uri="{FF2B5EF4-FFF2-40B4-BE49-F238E27FC236}">
                <a16:creationId xmlns:a16="http://schemas.microsoft.com/office/drawing/2014/main" id="{27EC2FFA-1641-B394-626F-C60605A8916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878829" y="2735537"/>
          <a:ext cx="972000" cy="373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5" name="Table 2">
            <a:extLst>
              <a:ext uri="{FF2B5EF4-FFF2-40B4-BE49-F238E27FC236}">
                <a16:creationId xmlns:a16="http://schemas.microsoft.com/office/drawing/2014/main" id="{4F6EFEEE-F9C8-3595-E2B4-78C2F3FDB8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7013754"/>
              </p:ext>
            </p:extLst>
          </p:nvPr>
        </p:nvGraphicFramePr>
        <p:xfrm>
          <a:off x="8007877" y="2316850"/>
          <a:ext cx="4145536" cy="487680"/>
        </p:xfrm>
        <a:graphic>
          <a:graphicData uri="http://schemas.openxmlformats.org/drawingml/2006/table">
            <a:tbl>
              <a:tblPr firstRow="1" bandRow="1"/>
              <a:tblGrid>
                <a:gridCol w="1036384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036384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 кордон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50" b="0" i="0" u="sng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uk-UA" sz="1050" b="0" i="0" u="sng" strike="noStrike" noProof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900" b="0" i="0" u="sng" strike="noStrike" noProof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 кордон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graphicFrame>
        <p:nvGraphicFramePr>
          <p:cNvPr id="26" name="Table 7">
            <a:extLst>
              <a:ext uri="{FF2B5EF4-FFF2-40B4-BE49-F238E27FC236}">
                <a16:creationId xmlns:a16="http://schemas.microsoft.com/office/drawing/2014/main" id="{B2A338D2-576B-57E4-24A8-E953315B8FF0}"/>
              </a:ext>
            </a:extLst>
          </p:cNvPr>
          <p:cNvGraphicFramePr>
            <a:graphicFrameLocks noGrp="1"/>
          </p:cNvGraphicFramePr>
          <p:nvPr/>
        </p:nvGraphicFramePr>
        <p:xfrm>
          <a:off x="6263148" y="2798476"/>
          <a:ext cx="5890267" cy="36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817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4182088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  <a:r>
                        <a:rPr lang="en-US" sz="10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д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hievement</a:t>
                      </a:r>
                      <a:r>
                        <a:rPr lang="en-US" sz="11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ягн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268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donism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доніз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74415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imulation</a:t>
                      </a:r>
                      <a:r>
                        <a:rPr lang="en-US" sz="10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шук новог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direction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мовираж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alism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ціальна відповідаль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evolence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о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57245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dition</a:t>
                      </a: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000" b="0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ди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ormity</a:t>
                      </a:r>
                      <a:r>
                        <a:rPr lang="en-US" sz="11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uk-UA" sz="11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повідність норма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200" b="1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</a:t>
                      </a:r>
                      <a:endParaRPr lang="uk-UA" sz="1200" b="1" i="0" u="none" strike="noStrike" kern="1200" cap="non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uk-UA" sz="1000" b="0" i="0" u="none" strike="noStrike" kern="1200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8" name="Chart 53">
            <a:extLst>
              <a:ext uri="{FF2B5EF4-FFF2-40B4-BE49-F238E27FC236}">
                <a16:creationId xmlns:a16="http://schemas.microsoft.com/office/drawing/2014/main" id="{5A4E7797-9E4B-5A27-256A-7FBC093D9F00}"/>
              </a:ext>
            </a:extLst>
          </p:cNvPr>
          <p:cNvGraphicFramePr/>
          <p:nvPr/>
        </p:nvGraphicFramePr>
        <p:xfrm>
          <a:off x="8004200" y="2739436"/>
          <a:ext cx="972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9" name="Chart 53">
            <a:extLst>
              <a:ext uri="{FF2B5EF4-FFF2-40B4-BE49-F238E27FC236}">
                <a16:creationId xmlns:a16="http://schemas.microsoft.com/office/drawing/2014/main" id="{AF397605-7D2D-DA2C-0944-C747F130F943}"/>
              </a:ext>
            </a:extLst>
          </p:cNvPr>
          <p:cNvGraphicFramePr/>
          <p:nvPr/>
        </p:nvGraphicFramePr>
        <p:xfrm>
          <a:off x="9061411" y="2734271"/>
          <a:ext cx="972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50" name="Chart 53">
            <a:extLst>
              <a:ext uri="{FF2B5EF4-FFF2-40B4-BE49-F238E27FC236}">
                <a16:creationId xmlns:a16="http://schemas.microsoft.com/office/drawing/2014/main" id="{69631070-BF43-A5BF-8027-64D2937E64A5}"/>
              </a:ext>
            </a:extLst>
          </p:cNvPr>
          <p:cNvGraphicFramePr/>
          <p:nvPr/>
        </p:nvGraphicFramePr>
        <p:xfrm>
          <a:off x="10101356" y="2734271"/>
          <a:ext cx="972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51" name="Chart 53">
            <a:extLst>
              <a:ext uri="{FF2B5EF4-FFF2-40B4-BE49-F238E27FC236}">
                <a16:creationId xmlns:a16="http://schemas.microsoft.com/office/drawing/2014/main" id="{ED227B33-1BB1-8C41-7340-5978949C3AD9}"/>
              </a:ext>
            </a:extLst>
          </p:cNvPr>
          <p:cNvGraphicFramePr/>
          <p:nvPr/>
        </p:nvGraphicFramePr>
        <p:xfrm>
          <a:off x="11168399" y="2738938"/>
          <a:ext cx="972000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F7E2CD2E-0446-614E-12E1-0C4B190EB59D}"/>
              </a:ext>
            </a:extLst>
          </p:cNvPr>
          <p:cNvSpPr txBox="1"/>
          <p:nvPr/>
        </p:nvSpPr>
        <p:spPr>
          <a:xfrm>
            <a:off x="10165768" y="588256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3B592DC-DC03-E98C-1B68-6101748A4F0F}"/>
              </a:ext>
            </a:extLst>
          </p:cNvPr>
          <p:cNvSpPr txBox="1"/>
          <p:nvPr/>
        </p:nvSpPr>
        <p:spPr>
          <a:xfrm>
            <a:off x="10192146" y="334011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50" b="1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2223772-D3FC-5435-878D-F304E7B31275}"/>
              </a:ext>
            </a:extLst>
          </p:cNvPr>
          <p:cNvSpPr txBox="1"/>
          <p:nvPr/>
        </p:nvSpPr>
        <p:spPr>
          <a:xfrm>
            <a:off x="11710525" y="6237055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341B5A6-CB95-76BF-3E3F-9211D756DE8B}"/>
              </a:ext>
            </a:extLst>
          </p:cNvPr>
          <p:cNvSpPr txBox="1"/>
          <p:nvPr/>
        </p:nvSpPr>
        <p:spPr>
          <a:xfrm>
            <a:off x="10183162" y="2973115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B1CAF36-5E09-5B65-A370-81580F163292}"/>
              </a:ext>
            </a:extLst>
          </p:cNvPr>
          <p:cNvSpPr txBox="1"/>
          <p:nvPr/>
        </p:nvSpPr>
        <p:spPr>
          <a:xfrm>
            <a:off x="172554" y="2396972"/>
            <a:ext cx="12504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но середні дані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A50D74E-9AFA-A147-306B-3E402534B726}"/>
              </a:ext>
            </a:extLst>
          </p:cNvPr>
          <p:cNvSpPr txBox="1"/>
          <p:nvPr/>
        </p:nvSpPr>
        <p:spPr>
          <a:xfrm>
            <a:off x="6420461" y="2383424"/>
            <a:ext cx="11893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но центровані середні дані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478382-C3BA-0595-1BB6-EDD97AA96E9A}"/>
              </a:ext>
            </a:extLst>
          </p:cNvPr>
          <p:cNvSpPr txBox="1"/>
          <p:nvPr/>
        </p:nvSpPr>
        <p:spPr>
          <a:xfrm>
            <a:off x="9602441" y="442835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199366-D775-F773-C2F5-1D94D650715C}"/>
              </a:ext>
            </a:extLst>
          </p:cNvPr>
          <p:cNvSpPr txBox="1">
            <a:spLocks/>
          </p:cNvSpPr>
          <p:nvPr/>
        </p:nvSpPr>
        <p:spPr>
          <a:xfrm>
            <a:off x="1" y="1975645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ru-RU" sz="1800" b="1" kern="0" err="1">
                <a:solidFill>
                  <a:schemeClr val="accent2">
                    <a:lumMod val="50000"/>
                  </a:schemeClr>
                </a:solidFill>
              </a:rPr>
              <a:t>Наміри</a:t>
            </a:r>
            <a:r>
              <a:rPr lang="ru-RU" sz="1800" b="1" ker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b="1" kern="0" err="1">
                <a:solidFill>
                  <a:schemeClr val="accent2">
                    <a:lumMod val="50000"/>
                  </a:schemeClr>
                </a:solidFill>
              </a:rPr>
              <a:t>виїхати</a:t>
            </a:r>
            <a:r>
              <a:rPr lang="ru-RU" sz="1800" b="1" kern="0">
                <a:solidFill>
                  <a:schemeClr val="accent2">
                    <a:lumMod val="50000"/>
                  </a:schemeClr>
                </a:solidFill>
              </a:rPr>
              <a:t> за кордон</a:t>
            </a:r>
            <a:endParaRPr lang="uk-UA" sz="1800" b="1" kern="0" noProof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52064F4-AEF7-FB63-4AF2-26076B0B8A69}"/>
              </a:ext>
            </a:extLst>
          </p:cNvPr>
          <p:cNvSpPr txBox="1"/>
          <p:nvPr/>
        </p:nvSpPr>
        <p:spPr>
          <a:xfrm>
            <a:off x="9607357" y="478723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C329DB-F80F-C0A1-B614-1797A036ADF8}"/>
              </a:ext>
            </a:extLst>
          </p:cNvPr>
          <p:cNvSpPr txBox="1"/>
          <p:nvPr/>
        </p:nvSpPr>
        <p:spPr>
          <a:xfrm>
            <a:off x="9612273" y="51461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8C3C306-C621-0B93-24F8-3207FC6207CF}"/>
              </a:ext>
            </a:extLst>
          </p:cNvPr>
          <p:cNvSpPr txBox="1"/>
          <p:nvPr/>
        </p:nvSpPr>
        <p:spPr>
          <a:xfrm>
            <a:off x="11701628" y="443326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1FA1EA7-D0FC-AECF-ADB0-1402C104DFDA}"/>
              </a:ext>
            </a:extLst>
          </p:cNvPr>
          <p:cNvSpPr txBox="1"/>
          <p:nvPr/>
        </p:nvSpPr>
        <p:spPr>
          <a:xfrm>
            <a:off x="11706544" y="479214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9B53DEF-B5B9-06B8-1DEF-384C1F72DAE1}"/>
              </a:ext>
            </a:extLst>
          </p:cNvPr>
          <p:cNvSpPr txBox="1"/>
          <p:nvPr/>
        </p:nvSpPr>
        <p:spPr>
          <a:xfrm>
            <a:off x="11731124" y="515102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1B5C8C4-D086-957B-A66C-5396ECEA14B3}"/>
              </a:ext>
            </a:extLst>
          </p:cNvPr>
          <p:cNvSpPr txBox="1"/>
          <p:nvPr/>
        </p:nvSpPr>
        <p:spPr>
          <a:xfrm>
            <a:off x="11232568" y="587764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C4FCAD7-23A2-1889-E654-BCCA66AFB2CE}"/>
              </a:ext>
            </a:extLst>
          </p:cNvPr>
          <p:cNvSpPr txBox="1"/>
          <p:nvPr/>
        </p:nvSpPr>
        <p:spPr>
          <a:xfrm>
            <a:off x="10610017" y="406278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50" b="1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0E3C6E9-2288-AAC6-70F3-4B2B419AC4B6}"/>
              </a:ext>
            </a:extLst>
          </p:cNvPr>
          <p:cNvSpPr txBox="1"/>
          <p:nvPr/>
        </p:nvSpPr>
        <p:spPr>
          <a:xfrm>
            <a:off x="10109420" y="5504921"/>
            <a:ext cx="432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943FA4C-120C-CD77-E955-E7BE399C4B65}"/>
              </a:ext>
            </a:extLst>
          </p:cNvPr>
          <p:cNvSpPr/>
          <p:nvPr/>
        </p:nvSpPr>
        <p:spPr>
          <a:xfrm>
            <a:off x="4010927" y="2823744"/>
            <a:ext cx="805739" cy="328246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B2EE87C-4FBF-D86F-DE68-6DF49BDE765C}"/>
              </a:ext>
            </a:extLst>
          </p:cNvPr>
          <p:cNvSpPr/>
          <p:nvPr/>
        </p:nvSpPr>
        <p:spPr>
          <a:xfrm>
            <a:off x="4006009" y="3861048"/>
            <a:ext cx="805739" cy="347158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CC69F6C-3E60-A17E-A456-98C9EDD19077}"/>
              </a:ext>
            </a:extLst>
          </p:cNvPr>
          <p:cNvSpPr/>
          <p:nvPr/>
        </p:nvSpPr>
        <p:spPr>
          <a:xfrm>
            <a:off x="2909710" y="4239591"/>
            <a:ext cx="805739" cy="1040332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78912C2-B525-9D48-D483-60F25009AACB}"/>
              </a:ext>
            </a:extLst>
          </p:cNvPr>
          <p:cNvSpPr/>
          <p:nvPr/>
        </p:nvSpPr>
        <p:spPr>
          <a:xfrm>
            <a:off x="5097391" y="4224841"/>
            <a:ext cx="805739" cy="1040332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3098ED5-894E-9E26-5C13-36018C1C08A7}"/>
              </a:ext>
            </a:extLst>
          </p:cNvPr>
          <p:cNvSpPr/>
          <p:nvPr/>
        </p:nvSpPr>
        <p:spPr>
          <a:xfrm>
            <a:off x="2909711" y="3192453"/>
            <a:ext cx="1911872" cy="328246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7CF13A1-7ADE-3C77-06C4-86E312728BCC}"/>
              </a:ext>
            </a:extLst>
          </p:cNvPr>
          <p:cNvSpPr/>
          <p:nvPr/>
        </p:nvSpPr>
        <p:spPr>
          <a:xfrm>
            <a:off x="4020757" y="5330972"/>
            <a:ext cx="805739" cy="347158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130E74F-F576-0F98-DC4B-FF6D23BC84DD}"/>
              </a:ext>
            </a:extLst>
          </p:cNvPr>
          <p:cNvSpPr/>
          <p:nvPr/>
        </p:nvSpPr>
        <p:spPr>
          <a:xfrm>
            <a:off x="5136720" y="6053645"/>
            <a:ext cx="805739" cy="347158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E6C6A33-D278-3FA7-66D1-BF60920F0742}"/>
              </a:ext>
            </a:extLst>
          </p:cNvPr>
          <p:cNvSpPr/>
          <p:nvPr/>
        </p:nvSpPr>
        <p:spPr>
          <a:xfrm>
            <a:off x="4020758" y="5684934"/>
            <a:ext cx="1921701" cy="347158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64066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8CDFB7B-FF81-3F17-AB26-490619EA03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46419FD-6850-5495-AA07-2194AE7CA9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6419FD-6850-5495-AA07-2194AE7CA9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A3DD87-124F-41C7-8918-3CC9A662F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: розподіл за належністю до спільнот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7B04B9-B3DE-7F6A-27A8-822A932E324B}"/>
              </a:ext>
            </a:extLst>
          </p:cNvPr>
          <p:cNvSpPr txBox="1"/>
          <p:nvPr/>
        </p:nvSpPr>
        <p:spPr>
          <a:xfrm>
            <a:off x="6862916" y="6493129"/>
            <a:ext cx="48843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6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Для людей важливо бути частиною більшої групи або спільноти. Я зачитаю перелік спільнот, оберіть не більше п'яти спільнот, частиною яких Ви себе відчуваєте і це є важливим для Вас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0EA080-5854-F725-05BB-F58E3908E05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C65E2D27-F796-BD11-777C-F7C6463F1CEA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772103"/>
          <a:ext cx="12142312" cy="35272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ша родина і близькі родич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омадяни Украї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0110991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, які мають спільні з Вами захоплення та хоб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1512175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ннича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649799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Вашої професії / фах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541075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Європей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спільних з Вами громадських переконан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, на яких вплинула війн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уденти і випускники Вашого університе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ні і випускники Вашої школ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уденти і випускники Вашого коледжу / училищ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спільної з Вами реліг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B8C5A5E9-881C-35E0-1EA5-86893562F677}"/>
              </a:ext>
            </a:extLst>
          </p:cNvPr>
          <p:cNvGraphicFramePr/>
          <p:nvPr/>
        </p:nvGraphicFramePr>
        <p:xfrm>
          <a:off x="4043234" y="2680261"/>
          <a:ext cx="1885618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621EB335-42BF-9135-EC42-13E405A4FE11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398630"/>
          <a:ext cx="8080852" cy="345948"/>
        </p:xfrm>
        <a:graphic>
          <a:graphicData uri="http://schemas.openxmlformats.org/drawingml/2006/table">
            <a:tbl>
              <a:tblPr firstRow="1" bandRow="1"/>
              <a:tblGrid>
                <a:gridCol w="202021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64F4470A-04D5-E741-BA9F-00A2B1B9EA68}"/>
              </a:ext>
            </a:extLst>
          </p:cNvPr>
          <p:cNvSpPr txBox="1">
            <a:spLocks/>
          </p:cNvSpPr>
          <p:nvPr/>
        </p:nvSpPr>
        <p:spPr>
          <a:xfrm>
            <a:off x="1" y="206413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Належність до груп або спільнот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5456081A-8BE6-AC4E-B183-958BC389ACD9}"/>
              </a:ext>
            </a:extLst>
          </p:cNvPr>
          <p:cNvGraphicFramePr/>
          <p:nvPr/>
        </p:nvGraphicFramePr>
        <p:xfrm>
          <a:off x="6057490" y="2683113"/>
          <a:ext cx="1885618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82DD7FD1-3F03-37DE-B7D1-579222A0362D}"/>
              </a:ext>
            </a:extLst>
          </p:cNvPr>
          <p:cNvGraphicFramePr/>
          <p:nvPr/>
        </p:nvGraphicFramePr>
        <p:xfrm>
          <a:off x="8072428" y="2677409"/>
          <a:ext cx="1885618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AD667CBF-051D-9330-3DEF-2405A4B615BB}"/>
              </a:ext>
            </a:extLst>
          </p:cNvPr>
          <p:cNvGraphicFramePr/>
          <p:nvPr/>
        </p:nvGraphicFramePr>
        <p:xfrm>
          <a:off x="10106345" y="2680261"/>
          <a:ext cx="1885618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A439FBE6-628B-6002-4B4D-4F41A965ED2D}"/>
              </a:ext>
            </a:extLst>
          </p:cNvPr>
          <p:cNvSpPr txBox="1"/>
          <p:nvPr/>
        </p:nvSpPr>
        <p:spPr bwMode="gray">
          <a:xfrm>
            <a:off x="70090" y="2460646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B735ACB-1FDB-7A4E-2FA7-C2D65E134899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Молоді люди, які планують переїзд у інше місто, меншою мірою ідентифікують себе як вінничани порівняно до тих, хто не визначився або не планує переїзд у інше місто. Ті, хто схильні до виїзду в інше місто або не визначились, частіше пов’язують себе із спільнотою європейців. Ті, що не планують виїжджати в інше місто, частіше пов’язують себе із фаховою спільнотою або спільнотою людей зі спільними захопленнями та хобі.</a:t>
            </a:r>
          </a:p>
          <a:p>
            <a:r>
              <a:rPr lang="uk-UA" sz="1600" noProof="0" dirty="0"/>
              <a:t>Не</a:t>
            </a:r>
            <a:r>
              <a:rPr lang="uk-UA" sz="1600" dirty="0"/>
              <a:t>впевнені щодо переїзду в інше місто мають подвійну ідентичність: у цій групі вираженою є і приналежність до вінничан, і приналежність до європейців.</a:t>
            </a:r>
            <a:endParaRPr lang="uk-UA" sz="1600" noProof="0" dirty="0"/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247D8C98-BC05-B542-CBDA-46AB5B81846A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6304678"/>
          <a:ext cx="8020304" cy="218225"/>
        </p:xfrm>
        <a:graphic>
          <a:graphicData uri="http://schemas.openxmlformats.org/drawingml/2006/table">
            <a:tbl>
              <a:tblPr firstRow="1" bandRow="1"/>
              <a:tblGrid>
                <a:gridCol w="2005076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501C7573-D0E5-24EE-0A06-3C536360C0D5}"/>
              </a:ext>
            </a:extLst>
          </p:cNvPr>
          <p:cNvSpPr txBox="1"/>
          <p:nvPr/>
        </p:nvSpPr>
        <p:spPr>
          <a:xfrm>
            <a:off x="6801891" y="414811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31AD24-2851-557A-478D-852F0A565F97}"/>
              </a:ext>
            </a:extLst>
          </p:cNvPr>
          <p:cNvSpPr txBox="1"/>
          <p:nvPr/>
        </p:nvSpPr>
        <p:spPr>
          <a:xfrm>
            <a:off x="9071069" y="360995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2FA29B9-4567-CCCD-B6D8-9B002C73B754}"/>
              </a:ext>
            </a:extLst>
          </p:cNvPr>
          <p:cNvSpPr txBox="1"/>
          <p:nvPr/>
        </p:nvSpPr>
        <p:spPr>
          <a:xfrm>
            <a:off x="7559270" y="280452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BC4BC0-9BE1-6782-C3AF-B24E649DB8BD}"/>
              </a:ext>
            </a:extLst>
          </p:cNvPr>
          <p:cNvSpPr txBox="1"/>
          <p:nvPr/>
        </p:nvSpPr>
        <p:spPr>
          <a:xfrm>
            <a:off x="6649491" y="524441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AC64190-90D3-BE69-B89E-C254FF6E8034}"/>
              </a:ext>
            </a:extLst>
          </p:cNvPr>
          <p:cNvSpPr txBox="1"/>
          <p:nvPr/>
        </p:nvSpPr>
        <p:spPr>
          <a:xfrm>
            <a:off x="6634742" y="551480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DFDCC1A-25E7-F3AF-1AF4-DA1EA0FCCA13}"/>
              </a:ext>
            </a:extLst>
          </p:cNvPr>
          <p:cNvSpPr txBox="1"/>
          <p:nvPr/>
        </p:nvSpPr>
        <p:spPr>
          <a:xfrm>
            <a:off x="8832252" y="415303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67C1E0D-EF52-1DF3-900D-7E1A4DD026DD}"/>
              </a:ext>
            </a:extLst>
          </p:cNvPr>
          <p:cNvSpPr txBox="1"/>
          <p:nvPr/>
        </p:nvSpPr>
        <p:spPr>
          <a:xfrm>
            <a:off x="8620858" y="522966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C97F9C0-B748-87A3-06B1-D8BB3E686DAB}"/>
              </a:ext>
            </a:extLst>
          </p:cNvPr>
          <p:cNvSpPr txBox="1"/>
          <p:nvPr/>
        </p:nvSpPr>
        <p:spPr>
          <a:xfrm>
            <a:off x="8606110" y="578519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545A98A-D674-E5FB-0477-BF2675F7F2C9}"/>
              </a:ext>
            </a:extLst>
          </p:cNvPr>
          <p:cNvSpPr txBox="1"/>
          <p:nvPr/>
        </p:nvSpPr>
        <p:spPr>
          <a:xfrm>
            <a:off x="11052269" y="361486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503DD03-4B5D-A588-1F36-2B1031D9A459}"/>
              </a:ext>
            </a:extLst>
          </p:cNvPr>
          <p:cNvSpPr txBox="1"/>
          <p:nvPr/>
        </p:nvSpPr>
        <p:spPr>
          <a:xfrm>
            <a:off x="11575748" y="279961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B94D125-43E8-261A-120A-561282C4328C}"/>
              </a:ext>
            </a:extLst>
          </p:cNvPr>
          <p:cNvSpPr txBox="1"/>
          <p:nvPr/>
        </p:nvSpPr>
        <p:spPr>
          <a:xfrm>
            <a:off x="11177541" y="333547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9BB8824-8190-9233-F3F0-7E9981EE40BA}"/>
              </a:ext>
            </a:extLst>
          </p:cNvPr>
          <p:cNvSpPr txBox="1"/>
          <p:nvPr/>
        </p:nvSpPr>
        <p:spPr>
          <a:xfrm>
            <a:off x="11015309" y="388116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B892D53-288C-D8F6-15EB-4DCCC175DDBD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152840037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C2207C3-5AB1-C66C-A11E-FF99CE8E4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6A7232-8D23-9A14-76F0-BE012EC3C6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6A7232-8D23-9A14-76F0-BE012EC3C6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5D17920-0F24-B1D3-8108-E03706DA9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: розподіл за належністю до спільнот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2AAED5-1FAA-BB3E-FDCD-4DD3FB5DAFB5}"/>
              </a:ext>
            </a:extLst>
          </p:cNvPr>
          <p:cNvSpPr txBox="1"/>
          <p:nvPr/>
        </p:nvSpPr>
        <p:spPr>
          <a:xfrm>
            <a:off x="6862916" y="6493129"/>
            <a:ext cx="48843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6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Для людей важливо бути частиною більшої групи або спільноти. Я зачитаю перелік спільнот, оберіть не більше п'яти спільнот, частиною яких Ви себе відчуваєте і це є важливим для Вас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7E74D01-F4A4-6385-4F8E-F7EC6B14B9B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6CA3AD48-D349-AA46-2475-9B32AC821594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772103"/>
          <a:ext cx="12142312" cy="35272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ша родина і близькі родич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омадяни Украї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0110991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, які мають спільні з Вами захоплення та хоб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1512175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ннича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649799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Вашої професії / фах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541075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Європей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спільних з Вами громадських переконан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, на яких вплинула війн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уденти і випускники Вашого університе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ні і випускники Вашої школ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уденти і випускники Вашого коледжу / училищ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спільної з Вами реліг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7132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09E4A491-1687-6937-7330-593CF6D2BE6A}"/>
              </a:ext>
            </a:extLst>
          </p:cNvPr>
          <p:cNvGraphicFramePr/>
          <p:nvPr/>
        </p:nvGraphicFramePr>
        <p:xfrm>
          <a:off x="4043234" y="2680261"/>
          <a:ext cx="1885618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6B2F6EC2-52E6-1106-EF54-082F56230695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398630"/>
          <a:ext cx="8080852" cy="361188"/>
        </p:xfrm>
        <a:graphic>
          <a:graphicData uri="http://schemas.openxmlformats.org/drawingml/2006/table">
            <a:tbl>
              <a:tblPr firstRow="1" bandRow="1"/>
              <a:tblGrid>
                <a:gridCol w="2020213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02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6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6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кордон в майбутньому</a:t>
                      </a:r>
                      <a:r>
                        <a:rPr lang="en-US" sz="116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0FCA5802-DAE8-F7BA-AE00-5F880DD4BF67}"/>
              </a:ext>
            </a:extLst>
          </p:cNvPr>
          <p:cNvSpPr txBox="1">
            <a:spLocks/>
          </p:cNvSpPr>
          <p:nvPr/>
        </p:nvSpPr>
        <p:spPr>
          <a:xfrm>
            <a:off x="1" y="206413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Належність до груп або спільнот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A0455EAA-3A3E-C38A-1C80-F0D4366A91A7}"/>
              </a:ext>
            </a:extLst>
          </p:cNvPr>
          <p:cNvGraphicFramePr/>
          <p:nvPr/>
        </p:nvGraphicFramePr>
        <p:xfrm>
          <a:off x="6057490" y="2683113"/>
          <a:ext cx="1885618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58595A14-2122-9D1D-5B3D-169A6954E31E}"/>
              </a:ext>
            </a:extLst>
          </p:cNvPr>
          <p:cNvGraphicFramePr/>
          <p:nvPr/>
        </p:nvGraphicFramePr>
        <p:xfrm>
          <a:off x="8072428" y="2677409"/>
          <a:ext cx="1885618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DB3527C2-C464-07CE-7FBA-A2A49E6985B8}"/>
              </a:ext>
            </a:extLst>
          </p:cNvPr>
          <p:cNvGraphicFramePr/>
          <p:nvPr/>
        </p:nvGraphicFramePr>
        <p:xfrm>
          <a:off x="10106345" y="2680261"/>
          <a:ext cx="1885618" cy="36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CDD861D8-35C3-8364-FCC4-41B7DE5F068F}"/>
              </a:ext>
            </a:extLst>
          </p:cNvPr>
          <p:cNvSpPr txBox="1"/>
          <p:nvPr/>
        </p:nvSpPr>
        <p:spPr bwMode="gray">
          <a:xfrm>
            <a:off x="70090" y="2460646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DCDBE5A-A3B9-151A-668F-6A58B8186CC1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Молоді люди, які планують переїзд за кордон, меншою мірою ідентифікують себе як громадяни України та вінничани, та більшою мірою – як європейці, порівняно до тих, хто не планує переїзд за кордон. Для тих, хто </a:t>
            </a:r>
            <a:r>
              <a:rPr lang="uk-UA" sz="1600" dirty="0"/>
              <a:t>не планує виїзд за кордон, важливою є приналежність до спільноти громадян України, людей, які мають спільні захоплення та фах. </a:t>
            </a:r>
          </a:p>
          <a:p>
            <a:r>
              <a:rPr lang="uk-UA" sz="1600" noProof="0" dirty="0"/>
              <a:t>Ті, що не визначились, мають подвійні ідентичності: одночасно вважають себе і громадянами України, і вінничанами, і європейцями.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97147E0B-F25B-10CD-1FC1-ABD41D1B20D6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6304678"/>
          <a:ext cx="8020304" cy="218225"/>
        </p:xfrm>
        <a:graphic>
          <a:graphicData uri="http://schemas.openxmlformats.org/drawingml/2006/table">
            <a:tbl>
              <a:tblPr firstRow="1" bandRow="1"/>
              <a:tblGrid>
                <a:gridCol w="2005076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05076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65147F98-87AF-41C8-A94E-641F0C70A5FE}"/>
              </a:ext>
            </a:extLst>
          </p:cNvPr>
          <p:cNvSpPr txBox="1"/>
          <p:nvPr/>
        </p:nvSpPr>
        <p:spPr>
          <a:xfrm>
            <a:off x="9091725" y="305762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44E285-9531-058A-1B49-501A866C9684}"/>
              </a:ext>
            </a:extLst>
          </p:cNvPr>
          <p:cNvSpPr txBox="1"/>
          <p:nvPr/>
        </p:nvSpPr>
        <p:spPr>
          <a:xfrm>
            <a:off x="11570832" y="279537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F1E1EC6-E855-A5E7-CD25-0BAFA13E0D3C}"/>
              </a:ext>
            </a:extLst>
          </p:cNvPr>
          <p:cNvSpPr txBox="1"/>
          <p:nvPr/>
        </p:nvSpPr>
        <p:spPr>
          <a:xfrm>
            <a:off x="6761016" y="415840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2FA9DC3-F403-C459-F9B5-95E207C9EB97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BA68B7-19FE-F0AC-F636-FB369F4DA91A}"/>
              </a:ext>
            </a:extLst>
          </p:cNvPr>
          <p:cNvSpPr txBox="1"/>
          <p:nvPr/>
        </p:nvSpPr>
        <p:spPr>
          <a:xfrm>
            <a:off x="6402138" y="607078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2AF6027-93D6-163A-6813-1AB2CB4CFB8C}"/>
              </a:ext>
            </a:extLst>
          </p:cNvPr>
          <p:cNvSpPr txBox="1"/>
          <p:nvPr/>
        </p:nvSpPr>
        <p:spPr>
          <a:xfrm>
            <a:off x="8638977" y="523012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68B882-1714-D907-0C0F-CF54AD6A4690}"/>
              </a:ext>
            </a:extLst>
          </p:cNvPr>
          <p:cNvSpPr txBox="1"/>
          <p:nvPr/>
        </p:nvSpPr>
        <p:spPr>
          <a:xfrm>
            <a:off x="8870035" y="415349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4D6DA6D-C36E-8B60-047B-344FFCA84607}"/>
              </a:ext>
            </a:extLst>
          </p:cNvPr>
          <p:cNvSpPr txBox="1"/>
          <p:nvPr/>
        </p:nvSpPr>
        <p:spPr>
          <a:xfrm>
            <a:off x="9076976" y="360332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BB1B43A-63E9-C3C0-DD09-CE60E10343D0}"/>
              </a:ext>
            </a:extLst>
          </p:cNvPr>
          <p:cNvSpPr txBox="1"/>
          <p:nvPr/>
        </p:nvSpPr>
        <p:spPr>
          <a:xfrm>
            <a:off x="11195827" y="3077294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2598FB-033D-09D9-FB2C-1DDB9BB36E73}"/>
              </a:ext>
            </a:extLst>
          </p:cNvPr>
          <p:cNvSpPr txBox="1"/>
          <p:nvPr/>
        </p:nvSpPr>
        <p:spPr>
          <a:xfrm>
            <a:off x="11182458" y="334106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306BDBE-F5DE-CD5A-40E1-EC9CAF6D79A1}"/>
              </a:ext>
            </a:extLst>
          </p:cNvPr>
          <p:cNvSpPr txBox="1"/>
          <p:nvPr/>
        </p:nvSpPr>
        <p:spPr>
          <a:xfrm>
            <a:off x="11010393" y="387692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8244CD0-EB33-81AD-CA34-4B4DF3756A23}"/>
              </a:ext>
            </a:extLst>
          </p:cNvPr>
          <p:cNvSpPr txBox="1"/>
          <p:nvPr/>
        </p:nvSpPr>
        <p:spPr>
          <a:xfrm>
            <a:off x="10789168" y="442261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AE8CAB9-456A-C374-7775-13577C551E7D}"/>
              </a:ext>
            </a:extLst>
          </p:cNvPr>
          <p:cNvSpPr txBox="1"/>
          <p:nvPr/>
        </p:nvSpPr>
        <p:spPr>
          <a:xfrm>
            <a:off x="8619776" y="5771333"/>
            <a:ext cx="445566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30262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F35AC9-F9C6-DD45-19BD-F50FD0A4C1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C0C92A7-5379-AD79-62B7-2A7CA7970D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0C92A7-5379-AD79-62B7-2A7CA7970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9309AB-9DD3-6092-E6DC-7664D5CDE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Історія проживання у Вінницькій МТГ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4054E6-508F-F9F1-8F43-E22052C564F7}"/>
              </a:ext>
            </a:extLst>
          </p:cNvPr>
          <p:cNvSpPr txBox="1"/>
          <p:nvPr/>
        </p:nvSpPr>
        <p:spPr>
          <a:xfrm>
            <a:off x="5456903" y="6620951"/>
            <a:ext cx="629035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S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 давно Ви проживаєте у Вінницькій міській громаді?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 </a:t>
            </a: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S6.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 якому населеному пункті Ви проживали до переїзду у Вінницю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B0C90A-CE26-2B8D-9555-822712C335BF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A71B7AB0-B58B-D929-C64D-94DC0F2066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7068560"/>
              </p:ext>
            </p:extLst>
          </p:nvPr>
        </p:nvGraphicFramePr>
        <p:xfrm>
          <a:off x="4041058" y="4485707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65AC0226-E941-4D13-26F3-5A8D74D853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793017"/>
              </p:ext>
            </p:extLst>
          </p:nvPr>
        </p:nvGraphicFramePr>
        <p:xfrm>
          <a:off x="39329" y="2821266"/>
          <a:ext cx="12142312" cy="16630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родились у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їхали на навчання до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живаєте тут з дитинств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їхали на роботу до Вінни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хали до Вінниці внаслідок бойових ді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хали за сімейними обставинами / За власним бажання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49508FA0-D987-1E1F-0060-A5E366A7D0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5754520"/>
              </p:ext>
            </p:extLst>
          </p:nvPr>
        </p:nvGraphicFramePr>
        <p:xfrm>
          <a:off x="4043234" y="2768754"/>
          <a:ext cx="1548000" cy="174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CCF15E37-A0E9-46C3-10E8-4986DF21AF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860947"/>
              </p:ext>
            </p:extLst>
          </p:nvPr>
        </p:nvGraphicFramePr>
        <p:xfrm>
          <a:off x="4041058" y="2536281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38A40C7D-8A83-3E3A-9DFF-CF4C45A65743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тривалістю проживання у Вінницькій МТГ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BE248866-EE81-BF15-BCEF-0C33D94973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3395404"/>
              </p:ext>
            </p:extLst>
          </p:nvPr>
        </p:nvGraphicFramePr>
        <p:xfrm>
          <a:off x="5654368" y="2771606"/>
          <a:ext cx="1548000" cy="174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36AD54FB-95B4-A429-0CD2-D12A012E97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9076472"/>
              </p:ext>
            </p:extLst>
          </p:nvPr>
        </p:nvGraphicFramePr>
        <p:xfrm>
          <a:off x="7285848" y="2765902"/>
          <a:ext cx="1548000" cy="174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213A4ACD-BBE6-4624-BF8C-B6552AD170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0433837"/>
              </p:ext>
            </p:extLst>
          </p:nvPr>
        </p:nvGraphicFramePr>
        <p:xfrm>
          <a:off x="8916644" y="2768754"/>
          <a:ext cx="1548000" cy="174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1E9722B8-B3F0-51B0-997F-A70990524C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2704030"/>
              </p:ext>
            </p:extLst>
          </p:nvPr>
        </p:nvGraphicFramePr>
        <p:xfrm>
          <a:off x="10530361" y="2765902"/>
          <a:ext cx="1548000" cy="174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68F26A49-1C8A-211F-2939-ED09E80763BD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F36B69-4D8D-FA8C-E3BE-5E5E4D820DF9}"/>
              </a:ext>
            </a:extLst>
          </p:cNvPr>
          <p:cNvSpPr txBox="1"/>
          <p:nvPr/>
        </p:nvSpPr>
        <p:spPr bwMode="gray">
          <a:xfrm>
            <a:off x="70090" y="2598297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2A194FF-F732-8E19-A575-4C7D12BF0BCB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Загалом дві третини (65%) опитаних народились або з дитинства живуть у Вінницькій МТГ; 22% приїхали до Вінниці на навчання; 6% приїхали працювати до Вінниці. Частка ВПО внаслідок бойових дій складає 5%.</a:t>
            </a:r>
          </a:p>
          <a:p>
            <a:r>
              <a:rPr lang="uk-UA" sz="1600" dirty="0"/>
              <a:t>Таким чином навчання є головною причиною притоку молоді до Вінницької МТГ. </a:t>
            </a:r>
          </a:p>
          <a:p>
            <a:r>
              <a:rPr lang="uk-UA" sz="1600" noProof="0" dirty="0"/>
              <a:t>Переважна частина тих, хто приїхав до </a:t>
            </a:r>
            <a:r>
              <a:rPr lang="uk-UA" sz="1600" noProof="0" dirty="0" err="1"/>
              <a:t>Вінниц</a:t>
            </a:r>
            <a:r>
              <a:rPr lang="uk-UA" sz="1600" dirty="0"/>
              <a:t>і, раніше проживали у невеликих містах або селах. Лише 18% серед тих, хто переїхав до Вінниці, раніше жили в іншому обласному центрі.</a:t>
            </a:r>
            <a:endParaRPr lang="uk-UA" sz="1600" noProof="0" dirty="0"/>
          </a:p>
        </p:txBody>
      </p:sp>
      <p:graphicFrame>
        <p:nvGraphicFramePr>
          <p:cNvPr id="13" name="Table 9">
            <a:extLst>
              <a:ext uri="{FF2B5EF4-FFF2-40B4-BE49-F238E27FC236}">
                <a16:creationId xmlns:a16="http://schemas.microsoft.com/office/drawing/2014/main" id="{1EF6643C-108D-8060-6E4F-14F8DBC499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351757"/>
              </p:ext>
            </p:extLst>
          </p:nvPr>
        </p:nvGraphicFramePr>
        <p:xfrm>
          <a:off x="4049361" y="6356067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200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8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8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47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97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4" name="Table 7">
            <a:extLst>
              <a:ext uri="{FF2B5EF4-FFF2-40B4-BE49-F238E27FC236}">
                <a16:creationId xmlns:a16="http://schemas.microsoft.com/office/drawing/2014/main" id="{13896DF9-0B7C-074A-A1E4-AA3215E63E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8653974"/>
              </p:ext>
            </p:extLst>
          </p:nvPr>
        </p:nvGraphicFramePr>
        <p:xfrm>
          <a:off x="47632" y="5429048"/>
          <a:ext cx="12142312" cy="9503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істо-обласний центр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 місто, не обласний центр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ищ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3758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5" name="Диаграмма 16">
            <a:extLst>
              <a:ext uri="{FF2B5EF4-FFF2-40B4-BE49-F238E27FC236}">
                <a16:creationId xmlns:a16="http://schemas.microsoft.com/office/drawing/2014/main" id="{E38745EE-28D3-0938-2380-BBAD97EF2E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440126"/>
              </p:ext>
            </p:extLst>
          </p:nvPr>
        </p:nvGraphicFramePr>
        <p:xfrm>
          <a:off x="4051537" y="5406032"/>
          <a:ext cx="1548000" cy="9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Table 2">
            <a:extLst>
              <a:ext uri="{FF2B5EF4-FFF2-40B4-BE49-F238E27FC236}">
                <a16:creationId xmlns:a16="http://schemas.microsoft.com/office/drawing/2014/main" id="{2632BCDC-04B8-4F98-166C-21B664AF40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23218"/>
              </p:ext>
            </p:extLst>
          </p:nvPr>
        </p:nvGraphicFramePr>
        <p:xfrm>
          <a:off x="4049361" y="5144063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DFCA5092-77D0-AAE5-FA08-A2F74E542A26}"/>
              </a:ext>
            </a:extLst>
          </p:cNvPr>
          <p:cNvSpPr txBox="1">
            <a:spLocks/>
          </p:cNvSpPr>
          <p:nvPr/>
        </p:nvSpPr>
        <p:spPr>
          <a:xfrm>
            <a:off x="8304" y="4809571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населеним пунктом проживання до переїзду у Вінницю</a:t>
            </a:r>
          </a:p>
        </p:txBody>
      </p:sp>
      <p:graphicFrame>
        <p:nvGraphicFramePr>
          <p:cNvPr id="23" name="Диаграмма 16">
            <a:extLst>
              <a:ext uri="{FF2B5EF4-FFF2-40B4-BE49-F238E27FC236}">
                <a16:creationId xmlns:a16="http://schemas.microsoft.com/office/drawing/2014/main" id="{F3277E52-38E1-6B09-F2BC-DC76D0E5F5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1429146"/>
              </p:ext>
            </p:extLst>
          </p:nvPr>
        </p:nvGraphicFramePr>
        <p:xfrm>
          <a:off x="5662671" y="5408884"/>
          <a:ext cx="1548000" cy="9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Диаграмма 16">
            <a:extLst>
              <a:ext uri="{FF2B5EF4-FFF2-40B4-BE49-F238E27FC236}">
                <a16:creationId xmlns:a16="http://schemas.microsoft.com/office/drawing/2014/main" id="{D7A4923A-90A1-AD9B-CD71-861FA1D5E8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6824253"/>
              </p:ext>
            </p:extLst>
          </p:nvPr>
        </p:nvGraphicFramePr>
        <p:xfrm>
          <a:off x="7294151" y="5403180"/>
          <a:ext cx="1548000" cy="9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5" name="Диаграмма 16">
            <a:extLst>
              <a:ext uri="{FF2B5EF4-FFF2-40B4-BE49-F238E27FC236}">
                <a16:creationId xmlns:a16="http://schemas.microsoft.com/office/drawing/2014/main" id="{DDF2DD9D-5197-7A22-E512-372DBED710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0504385"/>
              </p:ext>
            </p:extLst>
          </p:nvPr>
        </p:nvGraphicFramePr>
        <p:xfrm>
          <a:off x="8924947" y="5406032"/>
          <a:ext cx="1548000" cy="9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26" name="Диаграмма 16">
            <a:extLst>
              <a:ext uri="{FF2B5EF4-FFF2-40B4-BE49-F238E27FC236}">
                <a16:creationId xmlns:a16="http://schemas.microsoft.com/office/drawing/2014/main" id="{24408A8D-DB59-1714-78F7-8AA09BDE5B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7988962"/>
              </p:ext>
            </p:extLst>
          </p:nvPr>
        </p:nvGraphicFramePr>
        <p:xfrm>
          <a:off x="10538664" y="5403180"/>
          <a:ext cx="1548000" cy="9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7D8C768D-4FDF-4FCB-6A90-928ECFEFBF77}"/>
              </a:ext>
            </a:extLst>
          </p:cNvPr>
          <p:cNvSpPr txBox="1"/>
          <p:nvPr/>
        </p:nvSpPr>
        <p:spPr bwMode="gray">
          <a:xfrm>
            <a:off x="78393" y="5206079"/>
            <a:ext cx="20257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переїхали до Вінниці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947AD4-FD96-F538-E109-A5FBCC806BFF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367F60-1BA7-19D8-DBB6-805E57800CA3}"/>
              </a:ext>
            </a:extLst>
          </p:cNvPr>
          <p:cNvSpPr txBox="1"/>
          <p:nvPr/>
        </p:nvSpPr>
        <p:spPr>
          <a:xfrm>
            <a:off x="6295363" y="544048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4F11BF-941D-4C4C-C027-46695D216E8E}"/>
              </a:ext>
            </a:extLst>
          </p:cNvPr>
          <p:cNvSpPr txBox="1"/>
          <p:nvPr/>
        </p:nvSpPr>
        <p:spPr>
          <a:xfrm>
            <a:off x="11292181" y="614739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912D4F2-3EF1-F2EE-45E2-27415956AD1A}"/>
              </a:ext>
            </a:extLst>
          </p:cNvPr>
          <p:cNvSpPr txBox="1"/>
          <p:nvPr/>
        </p:nvSpPr>
        <p:spPr>
          <a:xfrm>
            <a:off x="6664072" y="283002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BD5CC68-5E6E-8BFF-32D8-7D8A26CEFEB3}"/>
              </a:ext>
            </a:extLst>
          </p:cNvPr>
          <p:cNvSpPr txBox="1"/>
          <p:nvPr/>
        </p:nvSpPr>
        <p:spPr>
          <a:xfrm>
            <a:off x="5951233" y="377883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с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4CD7421-5E45-96D1-67BA-1904AAA41A56}"/>
              </a:ext>
            </a:extLst>
          </p:cNvPr>
          <p:cNvSpPr txBox="1"/>
          <p:nvPr/>
        </p:nvSpPr>
        <p:spPr>
          <a:xfrm>
            <a:off x="7588304" y="377391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с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6F00F8B-C4F8-22A6-27BE-D55C173543BF}"/>
              </a:ext>
            </a:extLst>
          </p:cNvPr>
          <p:cNvSpPr txBox="1"/>
          <p:nvPr/>
        </p:nvSpPr>
        <p:spPr>
          <a:xfrm>
            <a:off x="7799697" y="330688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B36C452-C6AE-46E0-58B6-EC4BD5FFAEC8}"/>
              </a:ext>
            </a:extLst>
          </p:cNvPr>
          <p:cNvSpPr txBox="1"/>
          <p:nvPr/>
        </p:nvSpPr>
        <p:spPr>
          <a:xfrm>
            <a:off x="9849723" y="282018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6FA7DF3-77FF-8CE0-0212-7D66A3B3E5C2}"/>
              </a:ext>
            </a:extLst>
          </p:cNvPr>
          <p:cNvSpPr txBox="1"/>
          <p:nvPr/>
        </p:nvSpPr>
        <p:spPr>
          <a:xfrm>
            <a:off x="9510510" y="306107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E1A6E5D-D876-D0C2-96AB-2C870CE0DCF9}"/>
              </a:ext>
            </a:extLst>
          </p:cNvPr>
          <p:cNvSpPr txBox="1"/>
          <p:nvPr/>
        </p:nvSpPr>
        <p:spPr>
          <a:xfrm>
            <a:off x="11108252" y="305616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0003744-8BB5-1E6F-C54A-8EAD3A548A4B}"/>
              </a:ext>
            </a:extLst>
          </p:cNvPr>
          <p:cNvSpPr txBox="1"/>
          <p:nvPr/>
        </p:nvSpPr>
        <p:spPr>
          <a:xfrm>
            <a:off x="10828033" y="40148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F07A259-F99A-7E31-AB04-1502F743758B}"/>
              </a:ext>
            </a:extLst>
          </p:cNvPr>
          <p:cNvSpPr txBox="1"/>
          <p:nvPr/>
        </p:nvSpPr>
        <p:spPr>
          <a:xfrm>
            <a:off x="10832949" y="376408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49C4EE0-FB1F-3CA5-AD68-537EFDFF7C36}"/>
              </a:ext>
            </a:extLst>
          </p:cNvPr>
          <p:cNvSpPr txBox="1"/>
          <p:nvPr/>
        </p:nvSpPr>
        <p:spPr>
          <a:xfrm>
            <a:off x="10955852" y="353302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033374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511999-F86E-E6AF-C71B-87437C1862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9DA60552-2292-8810-C2C9-802F9CCA021D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486967"/>
          <a:ext cx="12160800" cy="3943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296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81783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6E7836-B4B3-56A4-8519-48227CA64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6E7836-B4B3-56A4-8519-48227CA644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E198A1-AE44-9232-3AE6-9100DA2D6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: розподіл за цілями </a:t>
            </a:r>
            <a:r>
              <a:rPr lang="uk-UA" sz="2400" noProof="0" dirty="0"/>
              <a:t>на наступні кілька років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0F9CDA-39D2-CCC8-9102-7E768922CB0A}"/>
              </a:ext>
            </a:extLst>
          </p:cNvPr>
          <p:cNvSpPr txBox="1"/>
          <p:nvPr/>
        </p:nvSpPr>
        <p:spPr>
          <a:xfrm>
            <a:off x="6502279" y="6493129"/>
            <a:ext cx="52449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7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359A7E-9EE8-EC18-541E-AB8CEA9683A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B68F3D7B-B4FB-4E8F-DAFA-F49979F54E16}"/>
              </a:ext>
            </a:extLst>
          </p:cNvPr>
          <p:cNvGraphicFramePr>
            <a:graphicFrameLocks noGrp="1"/>
          </p:cNvGraphicFramePr>
          <p:nvPr/>
        </p:nvGraphicFramePr>
        <p:xfrm>
          <a:off x="3333593" y="6392862"/>
          <a:ext cx="8790900" cy="218225"/>
        </p:xfrm>
        <a:graphic>
          <a:graphicData uri="http://schemas.openxmlformats.org/drawingml/2006/table">
            <a:tbl>
              <a:tblPr firstRow="1" bandRow="1"/>
              <a:tblGrid>
                <a:gridCol w="2197725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197725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197725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197725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5976D972-5E3D-1E8E-921F-37D845C9BC1A}"/>
              </a:ext>
            </a:extLst>
          </p:cNvPr>
          <p:cNvGraphicFramePr/>
          <p:nvPr/>
        </p:nvGraphicFramePr>
        <p:xfrm>
          <a:off x="3372470" y="2373928"/>
          <a:ext cx="2094967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A427D3D8-0E0A-F57B-E5D6-A61150291F43}"/>
              </a:ext>
            </a:extLst>
          </p:cNvPr>
          <p:cNvGraphicFramePr>
            <a:graphicFrameLocks noGrp="1"/>
          </p:cNvGraphicFramePr>
          <p:nvPr/>
        </p:nvGraphicFramePr>
        <p:xfrm>
          <a:off x="3362632" y="2142991"/>
          <a:ext cx="8762072" cy="327660"/>
        </p:xfrm>
        <a:graphic>
          <a:graphicData uri="http://schemas.openxmlformats.org/drawingml/2006/table">
            <a:tbl>
              <a:tblPr firstRow="1" bandRow="1"/>
              <a:tblGrid>
                <a:gridCol w="2190518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190518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90518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90518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D17B6D82-1049-7564-2E98-1CD5D6F9C463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 lIns="1512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Важливість цілей, які </a:t>
            </a:r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прагнуть досягти у наступні кілька років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749B46-1C61-033D-A46B-35985C0159AA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05B8DED4-FEFA-A30C-2366-750623A9B5BC}"/>
              </a:ext>
            </a:extLst>
          </p:cNvPr>
          <p:cNvGraphicFramePr/>
          <p:nvPr/>
        </p:nvGraphicFramePr>
        <p:xfrm>
          <a:off x="8367252" y="1799302"/>
          <a:ext cx="3757450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3086164-FC34-2BF8-E872-904F1786E84C}"/>
              </a:ext>
            </a:extLst>
          </p:cNvPr>
          <p:cNvSpPr txBox="1">
            <a:spLocks/>
          </p:cNvSpPr>
          <p:nvPr/>
        </p:nvSpPr>
        <p:spPr>
          <a:xfrm>
            <a:off x="314631" y="73871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що планують переїзд в інше місто, є більше орієнтовані на те, щоб зробити успішну кар’єру, заробляти багато грошей. Натомість ті, що залишаються у Вінниці, планують жити у приємному місті, де є багато можливостей, зокрема для того, щоб створити сім’ю та виховати дітей. Ті, що не визначились, поєднують прагнення жити у привабливому місті із цікавим дозвіллям та прагненням зробити кар’єру, зокрема через отримання якісної вищої освіти</a:t>
            </a:r>
          </a:p>
        </p:txBody>
      </p:sp>
      <p:graphicFrame>
        <p:nvGraphicFramePr>
          <p:cNvPr id="27" name="Диаграмма 16">
            <a:extLst>
              <a:ext uri="{FF2B5EF4-FFF2-40B4-BE49-F238E27FC236}">
                <a16:creationId xmlns:a16="http://schemas.microsoft.com/office/drawing/2014/main" id="{A00E057D-28BC-7B2F-809F-5EE1C98B435E}"/>
              </a:ext>
            </a:extLst>
          </p:cNvPr>
          <p:cNvGraphicFramePr/>
          <p:nvPr/>
        </p:nvGraphicFramePr>
        <p:xfrm>
          <a:off x="5552301" y="2379974"/>
          <a:ext cx="2094967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F05E6600-AED9-33C7-B68B-7DF33BD4EAB4}"/>
              </a:ext>
            </a:extLst>
          </p:cNvPr>
          <p:cNvGraphicFramePr/>
          <p:nvPr/>
        </p:nvGraphicFramePr>
        <p:xfrm>
          <a:off x="7750053" y="2379761"/>
          <a:ext cx="2094967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C31CCE42-6452-33D3-A9C7-08FABF22344B}"/>
              </a:ext>
            </a:extLst>
          </p:cNvPr>
          <p:cNvGraphicFramePr/>
          <p:nvPr/>
        </p:nvGraphicFramePr>
        <p:xfrm>
          <a:off x="9939716" y="2385807"/>
          <a:ext cx="2094967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0" name="TextBox 69">
            <a:extLst>
              <a:ext uri="{FF2B5EF4-FFF2-40B4-BE49-F238E27FC236}">
                <a16:creationId xmlns:a16="http://schemas.microsoft.com/office/drawing/2014/main" id="{776EB7D8-FE37-4486-D7E8-9282B41F6FF4}"/>
              </a:ext>
            </a:extLst>
          </p:cNvPr>
          <p:cNvSpPr txBox="1"/>
          <p:nvPr/>
        </p:nvSpPr>
        <p:spPr>
          <a:xfrm>
            <a:off x="6392346" y="43596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A880AD62-5A56-4DFE-6396-B563EAFAC717}"/>
              </a:ext>
            </a:extLst>
          </p:cNvPr>
          <p:cNvSpPr txBox="1"/>
          <p:nvPr/>
        </p:nvSpPr>
        <p:spPr>
          <a:xfrm>
            <a:off x="8431053" y="567978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F15281-A2EC-210F-8A76-190F79663C94}"/>
              </a:ext>
            </a:extLst>
          </p:cNvPr>
          <p:cNvSpPr txBox="1"/>
          <p:nvPr/>
        </p:nvSpPr>
        <p:spPr>
          <a:xfrm>
            <a:off x="6585386" y="26629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320DDD-550D-5563-22A9-C3260383C1DF}"/>
              </a:ext>
            </a:extLst>
          </p:cNvPr>
          <p:cNvSpPr txBox="1"/>
          <p:nvPr/>
        </p:nvSpPr>
        <p:spPr>
          <a:xfrm>
            <a:off x="6239946" y="53045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1A5B4D-E5AB-8597-B08F-8C5651FB5EF8}"/>
              </a:ext>
            </a:extLst>
          </p:cNvPr>
          <p:cNvSpPr txBox="1"/>
          <p:nvPr/>
        </p:nvSpPr>
        <p:spPr>
          <a:xfrm>
            <a:off x="6250106" y="54874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0F91B3-53B0-0628-5447-5BA80AE2AF54}"/>
              </a:ext>
            </a:extLst>
          </p:cNvPr>
          <p:cNvSpPr txBox="1"/>
          <p:nvPr/>
        </p:nvSpPr>
        <p:spPr>
          <a:xfrm>
            <a:off x="5833546" y="60563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A5DD693-57DB-50CE-F288-23C20B922498}"/>
              </a:ext>
            </a:extLst>
          </p:cNvPr>
          <p:cNvSpPr txBox="1"/>
          <p:nvPr/>
        </p:nvSpPr>
        <p:spPr>
          <a:xfrm>
            <a:off x="5792906" y="62392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34AA46-4A68-5284-79F5-B6A23E13A7EC}"/>
              </a:ext>
            </a:extLst>
          </p:cNvPr>
          <p:cNvSpPr txBox="1"/>
          <p:nvPr/>
        </p:nvSpPr>
        <p:spPr>
          <a:xfrm>
            <a:off x="8576746" y="41767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95DA08-B9E2-80EC-D4C2-70D924585225}"/>
              </a:ext>
            </a:extLst>
          </p:cNvPr>
          <p:cNvSpPr txBox="1"/>
          <p:nvPr/>
        </p:nvSpPr>
        <p:spPr>
          <a:xfrm>
            <a:off x="8536106" y="43495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24D689-BF68-5A65-12E9-32BEE8E48E86}"/>
              </a:ext>
            </a:extLst>
          </p:cNvPr>
          <p:cNvSpPr txBox="1"/>
          <p:nvPr/>
        </p:nvSpPr>
        <p:spPr>
          <a:xfrm>
            <a:off x="8464986" y="53045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F64C18E-D7C8-B387-BA2E-1FA167673C7A}"/>
              </a:ext>
            </a:extLst>
          </p:cNvPr>
          <p:cNvSpPr txBox="1"/>
          <p:nvPr/>
        </p:nvSpPr>
        <p:spPr>
          <a:xfrm>
            <a:off x="8414186" y="54874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911D5C5-66B0-394C-08A5-94F897E59DB2}"/>
              </a:ext>
            </a:extLst>
          </p:cNvPr>
          <p:cNvSpPr txBox="1"/>
          <p:nvPr/>
        </p:nvSpPr>
        <p:spPr>
          <a:xfrm>
            <a:off x="8586906" y="34249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3FEBF69-AB07-0EDD-C550-52F84D5BF4FE}"/>
              </a:ext>
            </a:extLst>
          </p:cNvPr>
          <p:cNvSpPr txBox="1"/>
          <p:nvPr/>
        </p:nvSpPr>
        <p:spPr>
          <a:xfrm>
            <a:off x="8566586" y="39735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7C2E4A-3244-1202-4692-9166386C595A}"/>
              </a:ext>
            </a:extLst>
          </p:cNvPr>
          <p:cNvSpPr txBox="1"/>
          <p:nvPr/>
        </p:nvSpPr>
        <p:spPr>
          <a:xfrm>
            <a:off x="8434506" y="45527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367D32-8E5D-890A-84E5-683DF839320F}"/>
              </a:ext>
            </a:extLst>
          </p:cNvPr>
          <p:cNvSpPr txBox="1"/>
          <p:nvPr/>
        </p:nvSpPr>
        <p:spPr>
          <a:xfrm>
            <a:off x="8414186" y="47355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207C80-7BB8-EBF5-B8CB-020FB5450FBD}"/>
              </a:ext>
            </a:extLst>
          </p:cNvPr>
          <p:cNvSpPr txBox="1"/>
          <p:nvPr/>
        </p:nvSpPr>
        <p:spPr>
          <a:xfrm>
            <a:off x="8434506" y="51115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1616BFF-F0EF-D087-008B-2240FFD74280}"/>
              </a:ext>
            </a:extLst>
          </p:cNvPr>
          <p:cNvSpPr txBox="1"/>
          <p:nvPr/>
        </p:nvSpPr>
        <p:spPr>
          <a:xfrm>
            <a:off x="8278653" y="586266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DFF5384-2B40-C4CC-553D-82D4A361F5D6}"/>
              </a:ext>
            </a:extLst>
          </p:cNvPr>
          <p:cNvSpPr txBox="1"/>
          <p:nvPr/>
        </p:nvSpPr>
        <p:spPr>
          <a:xfrm>
            <a:off x="8187213" y="605570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211FFD9-D99B-1098-66D7-BCC917A9361D}"/>
              </a:ext>
            </a:extLst>
          </p:cNvPr>
          <p:cNvSpPr txBox="1"/>
          <p:nvPr/>
        </p:nvSpPr>
        <p:spPr>
          <a:xfrm>
            <a:off x="8156733" y="623858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21ECA73-7FCE-E2C8-7488-CCD5E319B5F0}"/>
              </a:ext>
            </a:extLst>
          </p:cNvPr>
          <p:cNvSpPr txBox="1"/>
          <p:nvPr/>
        </p:nvSpPr>
        <p:spPr>
          <a:xfrm>
            <a:off x="10568106" y="51216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AD82042-0875-A061-B3F1-AD86C8226ED4}"/>
              </a:ext>
            </a:extLst>
          </p:cNvPr>
          <p:cNvSpPr txBox="1"/>
          <p:nvPr/>
        </p:nvSpPr>
        <p:spPr>
          <a:xfrm>
            <a:off x="10618906" y="47457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26167D3-5C9F-D964-90AC-C04568674863}"/>
              </a:ext>
            </a:extLst>
          </p:cNvPr>
          <p:cNvSpPr txBox="1"/>
          <p:nvPr/>
        </p:nvSpPr>
        <p:spPr>
          <a:xfrm>
            <a:off x="10679866" y="45527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722635D-1643-F609-E679-E81F456CD30D}"/>
              </a:ext>
            </a:extLst>
          </p:cNvPr>
          <p:cNvSpPr txBox="1"/>
          <p:nvPr/>
        </p:nvSpPr>
        <p:spPr>
          <a:xfrm>
            <a:off x="10710346" y="39939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FA2DF33-5DD9-040F-BDC8-E6C88FEF4CD4}"/>
              </a:ext>
            </a:extLst>
          </p:cNvPr>
          <p:cNvSpPr txBox="1"/>
          <p:nvPr/>
        </p:nvSpPr>
        <p:spPr>
          <a:xfrm>
            <a:off x="10781466" y="34351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9B1437C-E4E1-7E73-7971-E5BD144BCFC4}"/>
              </a:ext>
            </a:extLst>
          </p:cNvPr>
          <p:cNvSpPr txBox="1"/>
          <p:nvPr/>
        </p:nvSpPr>
        <p:spPr>
          <a:xfrm>
            <a:off x="10964346" y="24800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721DE83-9076-8B0A-BEE3-E73B91C69465}"/>
              </a:ext>
            </a:extLst>
          </p:cNvPr>
          <p:cNvSpPr txBox="1"/>
          <p:nvPr/>
        </p:nvSpPr>
        <p:spPr>
          <a:xfrm>
            <a:off x="11584106" y="39837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C49A7AD-B887-3716-9DFB-47E5B183CC48}"/>
              </a:ext>
            </a:extLst>
          </p:cNvPr>
          <p:cNvSpPr txBox="1"/>
          <p:nvPr/>
        </p:nvSpPr>
        <p:spPr>
          <a:xfrm>
            <a:off x="11594266" y="41666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31B2061-087B-541E-1CD7-E2AB41B2C7F3}"/>
              </a:ext>
            </a:extLst>
          </p:cNvPr>
          <p:cNvSpPr txBox="1"/>
          <p:nvPr/>
        </p:nvSpPr>
        <p:spPr>
          <a:xfrm>
            <a:off x="11360586" y="53045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985C0C8-FD8F-37B7-08A5-80A1710AF709}"/>
              </a:ext>
            </a:extLst>
          </p:cNvPr>
          <p:cNvSpPr txBox="1"/>
          <p:nvPr/>
        </p:nvSpPr>
        <p:spPr>
          <a:xfrm>
            <a:off x="11086266" y="58633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535311E-4A41-D03F-B24F-57B35D7150FE}"/>
              </a:ext>
            </a:extLst>
          </p:cNvPr>
          <p:cNvSpPr txBox="1"/>
          <p:nvPr/>
        </p:nvSpPr>
        <p:spPr>
          <a:xfrm>
            <a:off x="10862746" y="60462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70D5238-036F-63F0-4A6A-A1CCD460A052}"/>
              </a:ext>
            </a:extLst>
          </p:cNvPr>
          <p:cNvSpPr txBox="1"/>
          <p:nvPr/>
        </p:nvSpPr>
        <p:spPr>
          <a:xfrm>
            <a:off x="11504698" y="436703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EDC8F34-1510-91D3-CA92-5DABE95BF71C}"/>
              </a:ext>
            </a:extLst>
          </p:cNvPr>
          <p:cNvSpPr txBox="1"/>
          <p:nvPr/>
        </p:nvSpPr>
        <p:spPr>
          <a:xfrm>
            <a:off x="11443738" y="549479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EDB09DA-BF8B-8A91-2A30-09F6F2ED18E3}"/>
              </a:ext>
            </a:extLst>
          </p:cNvPr>
          <p:cNvSpPr txBox="1"/>
          <p:nvPr/>
        </p:nvSpPr>
        <p:spPr>
          <a:xfrm>
            <a:off x="9399706" y="25511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D6DE1C4-306E-BE86-79EC-4286B138C209}"/>
              </a:ext>
            </a:extLst>
          </p:cNvPr>
          <p:cNvSpPr txBox="1"/>
          <p:nvPr/>
        </p:nvSpPr>
        <p:spPr>
          <a:xfrm>
            <a:off x="9318426" y="47355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ADEF76D-73D0-8383-C34C-1DE237AB179A}"/>
              </a:ext>
            </a:extLst>
          </p:cNvPr>
          <p:cNvSpPr txBox="1"/>
          <p:nvPr/>
        </p:nvSpPr>
        <p:spPr>
          <a:xfrm>
            <a:off x="6829226" y="45527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CDD4271-12E3-048B-C9FF-DEFF9BD79A47}"/>
              </a:ext>
            </a:extLst>
          </p:cNvPr>
          <p:cNvSpPr txBox="1"/>
          <p:nvPr/>
        </p:nvSpPr>
        <p:spPr>
          <a:xfrm>
            <a:off x="6961306" y="47355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C8E0389-CA44-613F-92D4-49E7B72A5B1B}"/>
              </a:ext>
            </a:extLst>
          </p:cNvPr>
          <p:cNvSpPr txBox="1"/>
          <p:nvPr/>
        </p:nvSpPr>
        <p:spPr>
          <a:xfrm>
            <a:off x="6717466" y="58633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F6DE13C-F320-DFDF-1810-762D5661B9D6}"/>
              </a:ext>
            </a:extLst>
          </p:cNvPr>
          <p:cNvSpPr txBox="1"/>
          <p:nvPr/>
        </p:nvSpPr>
        <p:spPr>
          <a:xfrm>
            <a:off x="7140733" y="342426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E3E19FE-462D-D843-6AB9-6FEF5F111903}"/>
              </a:ext>
            </a:extLst>
          </p:cNvPr>
          <p:cNvSpPr txBox="1"/>
          <p:nvPr/>
        </p:nvSpPr>
        <p:spPr>
          <a:xfrm>
            <a:off x="7110253" y="398306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7AAE375-2E65-09D9-A7C3-C94B4178FA66}"/>
              </a:ext>
            </a:extLst>
          </p:cNvPr>
          <p:cNvSpPr txBox="1"/>
          <p:nvPr/>
        </p:nvSpPr>
        <p:spPr>
          <a:xfrm>
            <a:off x="7079773" y="511082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53E8975-4B78-18F5-3086-30A8E7FA01F7}"/>
              </a:ext>
            </a:extLst>
          </p:cNvPr>
          <p:cNvSpPr txBox="1"/>
          <p:nvPr/>
        </p:nvSpPr>
        <p:spPr>
          <a:xfrm>
            <a:off x="7293133" y="455202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443F46A-EDA7-CDEF-845C-2C59067B886D}"/>
              </a:ext>
            </a:extLst>
          </p:cNvPr>
          <p:cNvSpPr txBox="1"/>
          <p:nvPr/>
        </p:nvSpPr>
        <p:spPr>
          <a:xfrm>
            <a:off x="7303293" y="473490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69C993ED-7F3D-7756-05AA-3FDA282D8B0E}"/>
              </a:ext>
            </a:extLst>
          </p:cNvPr>
          <p:cNvSpPr txBox="1"/>
          <p:nvPr/>
        </p:nvSpPr>
        <p:spPr>
          <a:xfrm>
            <a:off x="7327066" y="56804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342ADB3-E600-211C-CC37-187ACC612C17}"/>
              </a:ext>
            </a:extLst>
          </p:cNvPr>
          <p:cNvSpPr txBox="1"/>
          <p:nvPr/>
        </p:nvSpPr>
        <p:spPr>
          <a:xfrm>
            <a:off x="11797466" y="33030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138EC99-C586-5B79-4E98-873EA66F5D16}"/>
              </a:ext>
            </a:extLst>
          </p:cNvPr>
          <p:cNvSpPr txBox="1"/>
          <p:nvPr/>
        </p:nvSpPr>
        <p:spPr>
          <a:xfrm>
            <a:off x="11777146" y="36789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8750D0C3-73E9-0C1F-490A-74CFEC5A3612}"/>
              </a:ext>
            </a:extLst>
          </p:cNvPr>
          <p:cNvSpPr txBox="1"/>
          <p:nvPr/>
        </p:nvSpPr>
        <p:spPr>
          <a:xfrm>
            <a:off x="11797466" y="44307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0DF7D4C8-BC6C-5BF7-7226-0A0615EB3882}"/>
              </a:ext>
            </a:extLst>
          </p:cNvPr>
          <p:cNvSpPr txBox="1"/>
          <p:nvPr/>
        </p:nvSpPr>
        <p:spPr>
          <a:xfrm>
            <a:off x="11746666" y="47457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37D031D-D794-DD28-176B-1780040221B9}"/>
              </a:ext>
            </a:extLst>
          </p:cNvPr>
          <p:cNvSpPr txBox="1"/>
          <p:nvPr/>
        </p:nvSpPr>
        <p:spPr>
          <a:xfrm>
            <a:off x="11787306" y="49286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05C949D-D50F-384A-6337-06A7C4D7FF32}"/>
              </a:ext>
            </a:extLst>
          </p:cNvPr>
          <p:cNvSpPr txBox="1"/>
          <p:nvPr/>
        </p:nvSpPr>
        <p:spPr>
          <a:xfrm>
            <a:off x="11706026" y="56906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BC22626-FA2E-0586-6B27-524727E0A423}"/>
              </a:ext>
            </a:extLst>
          </p:cNvPr>
          <p:cNvSpPr txBox="1"/>
          <p:nvPr/>
        </p:nvSpPr>
        <p:spPr>
          <a:xfrm>
            <a:off x="11535178" y="625679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724A7CE2-67A5-75AD-9B05-C96A72EAC963}"/>
              </a:ext>
            </a:extLst>
          </p:cNvPr>
          <p:cNvSpPr txBox="1"/>
          <p:nvPr/>
        </p:nvSpPr>
        <p:spPr>
          <a:xfrm>
            <a:off x="11697738" y="607391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44CF999-A4D5-B133-22A2-4864D0FB64AA}"/>
              </a:ext>
            </a:extLst>
          </p:cNvPr>
          <p:cNvSpPr txBox="1"/>
          <p:nvPr/>
        </p:nvSpPr>
        <p:spPr>
          <a:xfrm>
            <a:off x="11677418" y="538303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882EE0B-D9C2-7DA1-4081-313E1FB8D5CC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193251307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B96D127-4998-13A5-3CDF-C2899230C4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4569C26-6478-6062-E9D3-840955C3EF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569C26-6478-6062-E9D3-840955C3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D8BFA4-1E90-F281-EEBB-6CC8BDF6F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: вираженість цілей на наступні кілька років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0088E4-003B-2B20-4B00-BD23A1E632B3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175F839-CA44-BD60-E46A-9117928F24CF}"/>
              </a:ext>
            </a:extLst>
          </p:cNvPr>
          <p:cNvSpPr txBox="1">
            <a:spLocks/>
          </p:cNvSpPr>
          <p:nvPr/>
        </p:nvSpPr>
        <p:spPr>
          <a:xfrm>
            <a:off x="1" y="1552864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Важливість цілей, які прагнуть досягти у наступні кілька років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C4D3E32-B176-6914-6EC5-884ED29EDCBD}"/>
              </a:ext>
            </a:extLst>
          </p:cNvPr>
          <p:cNvSpPr txBox="1">
            <a:spLocks/>
          </p:cNvSpPr>
          <p:nvPr/>
        </p:nvSpPr>
        <p:spPr>
          <a:xfrm>
            <a:off x="314631" y="754876"/>
            <a:ext cx="11621201" cy="858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Виражені цілі для тих, хто планує переїзд в інше місто, - це зробити кар’єру, створити власний бізнес і стати багатим. Для тих, хто має намір залишатися у </a:t>
            </a:r>
            <a:r>
              <a:rPr lang="uk-UA" sz="1600" dirty="0"/>
              <a:t>Вінниці, більше виражені цілі виховати дитину і бути у безпеці. Для невпевнених щодо переїзду важливо реалізувати себе через участь у громадських ініціативах, щоб стати відомими та впливовими</a:t>
            </a:r>
            <a:endParaRPr lang="uk-UA" sz="1600" noProof="0" dirty="0"/>
          </a:p>
        </p:txBody>
      </p:sp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19CD7B0F-3785-ACB2-3620-8E00AAAF2B5B}"/>
              </a:ext>
            </a:extLst>
          </p:cNvPr>
          <p:cNvGraphicFramePr>
            <a:graphicFrameLocks noGrp="1"/>
          </p:cNvGraphicFramePr>
          <p:nvPr/>
        </p:nvGraphicFramePr>
        <p:xfrm>
          <a:off x="737416" y="2203335"/>
          <a:ext cx="10432024" cy="46446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3457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659744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44744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726291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622399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AAD40930-9D2C-928C-A50E-2D2DCD35158F}"/>
              </a:ext>
            </a:extLst>
          </p:cNvPr>
          <p:cNvGraphicFramePr>
            <a:graphicFrameLocks noGrp="1"/>
          </p:cNvGraphicFramePr>
          <p:nvPr/>
        </p:nvGraphicFramePr>
        <p:xfrm>
          <a:off x="4630985" y="1848028"/>
          <a:ext cx="6440139" cy="327660"/>
        </p:xfrm>
        <a:graphic>
          <a:graphicData uri="http://schemas.openxmlformats.org/drawingml/2006/table">
            <a:tbl>
              <a:tblPr firstRow="1" bandRow="1"/>
              <a:tblGrid>
                <a:gridCol w="21467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467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467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graphicFrame>
        <p:nvGraphicFramePr>
          <p:cNvPr id="11" name="Таблиця 10">
            <a:extLst>
              <a:ext uri="{FF2B5EF4-FFF2-40B4-BE49-F238E27FC236}">
                <a16:creationId xmlns:a16="http://schemas.microsoft.com/office/drawing/2014/main" id="{5293C094-8E6F-E5F7-EC83-F1C6B0C43AA6}"/>
              </a:ext>
            </a:extLst>
          </p:cNvPr>
          <p:cNvGraphicFramePr>
            <a:graphicFrameLocks noGrp="1"/>
          </p:cNvGraphicFramePr>
          <p:nvPr/>
        </p:nvGraphicFramePr>
        <p:xfrm>
          <a:off x="4630992" y="2198770"/>
          <a:ext cx="6458400" cy="4640418"/>
        </p:xfrm>
        <a:graphic>
          <a:graphicData uri="http://schemas.openxmlformats.org/drawingml/2006/table">
            <a:tbl>
              <a:tblPr/>
              <a:tblGrid>
                <a:gridCol w="2152800">
                  <a:extLst>
                    <a:ext uri="{9D8B030D-6E8A-4147-A177-3AD203B41FA5}">
                      <a16:colId xmlns:a16="http://schemas.microsoft.com/office/drawing/2014/main" val="746054693"/>
                    </a:ext>
                  </a:extLst>
                </a:gridCol>
                <a:gridCol w="2152800">
                  <a:extLst>
                    <a:ext uri="{9D8B030D-6E8A-4147-A177-3AD203B41FA5}">
                      <a16:colId xmlns:a16="http://schemas.microsoft.com/office/drawing/2014/main" val="839642280"/>
                    </a:ext>
                  </a:extLst>
                </a:gridCol>
                <a:gridCol w="2152800">
                  <a:extLst>
                    <a:ext uri="{9D8B030D-6E8A-4147-A177-3AD203B41FA5}">
                      <a16:colId xmlns:a16="http://schemas.microsoft.com/office/drawing/2014/main" val="1567156321"/>
                    </a:ext>
                  </a:extLst>
                </a:gridCol>
              </a:tblGrid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6601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253207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809524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450366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18513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81893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61912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573383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4608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3569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C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2251496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213046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934190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103828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6223163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8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452227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99031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F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53182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C9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F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83698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F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71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6484213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3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87413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384787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FCE879-EB46-649B-7824-1452DBC599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956CAF96-79B3-C7A8-4DEB-D0B3BB442341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486967"/>
          <a:ext cx="12160800" cy="3943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296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81783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B6D343-9BBE-F87F-D5CC-40A891C16E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B6D343-9BBE-F87F-D5CC-40A891C16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ECD224-3DD3-B5A3-0BA3-5F282637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: розподіл за цілями на наступні кілька років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C6C2A0-86F3-EAC8-2D25-58A94E40E49F}"/>
              </a:ext>
            </a:extLst>
          </p:cNvPr>
          <p:cNvSpPr txBox="1"/>
          <p:nvPr/>
        </p:nvSpPr>
        <p:spPr>
          <a:xfrm>
            <a:off x="6502279" y="6493129"/>
            <a:ext cx="52449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7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DA75AE-A333-E099-47B1-D6EF45373ECE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2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0DEF8FA4-CD46-1D85-6549-BE674DA197DE}"/>
              </a:ext>
            </a:extLst>
          </p:cNvPr>
          <p:cNvGraphicFramePr>
            <a:graphicFrameLocks noGrp="1"/>
          </p:cNvGraphicFramePr>
          <p:nvPr/>
        </p:nvGraphicFramePr>
        <p:xfrm>
          <a:off x="3333593" y="6392862"/>
          <a:ext cx="8790900" cy="218225"/>
        </p:xfrm>
        <a:graphic>
          <a:graphicData uri="http://schemas.openxmlformats.org/drawingml/2006/table">
            <a:tbl>
              <a:tblPr firstRow="1" bandRow="1"/>
              <a:tblGrid>
                <a:gridCol w="2197725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197725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197725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197725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B3BB07EC-65DE-4106-2F0C-9985879C2689}"/>
              </a:ext>
            </a:extLst>
          </p:cNvPr>
          <p:cNvGraphicFramePr/>
          <p:nvPr/>
        </p:nvGraphicFramePr>
        <p:xfrm>
          <a:off x="3372470" y="2373928"/>
          <a:ext cx="2094967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2707F8B-5EEC-A204-1A34-D2E3B4E0BFEC}"/>
              </a:ext>
            </a:extLst>
          </p:cNvPr>
          <p:cNvGraphicFramePr>
            <a:graphicFrameLocks noGrp="1"/>
          </p:cNvGraphicFramePr>
          <p:nvPr/>
        </p:nvGraphicFramePr>
        <p:xfrm>
          <a:off x="3362632" y="2142991"/>
          <a:ext cx="8762072" cy="339852"/>
        </p:xfrm>
        <a:graphic>
          <a:graphicData uri="http://schemas.openxmlformats.org/drawingml/2006/table">
            <a:tbl>
              <a:tblPr firstRow="1" bandRow="1"/>
              <a:tblGrid>
                <a:gridCol w="2190518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190518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90518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90518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3B5C43AC-26A5-5107-DA68-0DD48671B3FA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 lIns="1512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Важливість цілей, які </a:t>
            </a:r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прагнуть досягти у наступні кілька років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AA07DB-A2BA-14E3-D255-1928DEA49EB9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579056AE-7A2A-3023-0261-1DB615044EBD}"/>
              </a:ext>
            </a:extLst>
          </p:cNvPr>
          <p:cNvGraphicFramePr/>
          <p:nvPr/>
        </p:nvGraphicFramePr>
        <p:xfrm>
          <a:off x="8367252" y="1799302"/>
          <a:ext cx="3757450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24F36B3-CA06-5716-D5D1-D388066C4ABA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Ті, хто планують виїхати за кордон, більшою мірою орієнтовані на кар’єру, створення власного бізнесу і багатство. </a:t>
            </a:r>
          </a:p>
          <a:p>
            <a:r>
              <a:rPr lang="uk-UA" sz="1600" noProof="0" dirty="0"/>
              <a:t>Ті, хто мають намір залишатися в </a:t>
            </a:r>
            <a:r>
              <a:rPr lang="uk-UA" sz="1600" dirty="0"/>
              <a:t>Україні, більше орієнтовані на те, щоб знайти кохану людину і виростити дитину.</a:t>
            </a:r>
          </a:p>
          <a:p>
            <a:r>
              <a:rPr lang="uk-UA" sz="1600" dirty="0"/>
              <a:t>Ті, що не визначились, поєднують ці цілі: для них важливо і знайти кохану людину, і зробити успішну кар’єру. </a:t>
            </a:r>
          </a:p>
        </p:txBody>
      </p:sp>
      <p:graphicFrame>
        <p:nvGraphicFramePr>
          <p:cNvPr id="27" name="Диаграмма 16">
            <a:extLst>
              <a:ext uri="{FF2B5EF4-FFF2-40B4-BE49-F238E27FC236}">
                <a16:creationId xmlns:a16="http://schemas.microsoft.com/office/drawing/2014/main" id="{C6B00BF5-B231-FB9E-A965-2246632FA915}"/>
              </a:ext>
            </a:extLst>
          </p:cNvPr>
          <p:cNvGraphicFramePr/>
          <p:nvPr/>
        </p:nvGraphicFramePr>
        <p:xfrm>
          <a:off x="5552301" y="2379974"/>
          <a:ext cx="2094967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7098EB20-8278-FE28-D1F8-D7972CF7AE9A}"/>
              </a:ext>
            </a:extLst>
          </p:cNvPr>
          <p:cNvGraphicFramePr/>
          <p:nvPr/>
        </p:nvGraphicFramePr>
        <p:xfrm>
          <a:off x="7750053" y="2379761"/>
          <a:ext cx="2094967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1F5D0858-B67F-FE3F-4125-8161E7EFFD19}"/>
              </a:ext>
            </a:extLst>
          </p:cNvPr>
          <p:cNvGraphicFramePr/>
          <p:nvPr/>
        </p:nvGraphicFramePr>
        <p:xfrm>
          <a:off x="9939716" y="2385807"/>
          <a:ext cx="2094967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CBB1D6ED-4DE8-3AD3-755A-057D9007DAE8}"/>
              </a:ext>
            </a:extLst>
          </p:cNvPr>
          <p:cNvSpPr txBox="1"/>
          <p:nvPr/>
        </p:nvSpPr>
        <p:spPr>
          <a:xfrm>
            <a:off x="10750638" y="380861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A89860-78DA-F696-7B97-1588A019612A}"/>
              </a:ext>
            </a:extLst>
          </p:cNvPr>
          <p:cNvSpPr txBox="1"/>
          <p:nvPr/>
        </p:nvSpPr>
        <p:spPr>
          <a:xfrm>
            <a:off x="8127556" y="623516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AAE9739-25ED-2519-770A-98A1D783247F}"/>
              </a:ext>
            </a:extLst>
          </p:cNvPr>
          <p:cNvSpPr txBox="1"/>
          <p:nvPr/>
        </p:nvSpPr>
        <p:spPr>
          <a:xfrm>
            <a:off x="6333933" y="435894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0ADFD49-26E5-958E-8F78-CD372977DF80}"/>
              </a:ext>
            </a:extLst>
          </p:cNvPr>
          <p:cNvSpPr txBox="1"/>
          <p:nvPr/>
        </p:nvSpPr>
        <p:spPr>
          <a:xfrm>
            <a:off x="6774094" y="456642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7998EFF-7B35-5C4C-C3E7-5CFB1730E9A0}"/>
              </a:ext>
            </a:extLst>
          </p:cNvPr>
          <p:cNvSpPr txBox="1"/>
          <p:nvPr/>
        </p:nvSpPr>
        <p:spPr>
          <a:xfrm>
            <a:off x="11136692" y="588461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DDF6248-735A-7561-FD9C-358572DC4CFB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26A0EF-FC9E-536B-9552-5B2E75956928}"/>
              </a:ext>
            </a:extLst>
          </p:cNvPr>
          <p:cNvSpPr txBox="1"/>
          <p:nvPr/>
        </p:nvSpPr>
        <p:spPr>
          <a:xfrm>
            <a:off x="6240527" y="529792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6524A16-7018-7876-158F-BB0A49A9DF20}"/>
              </a:ext>
            </a:extLst>
          </p:cNvPr>
          <p:cNvSpPr txBox="1"/>
          <p:nvPr/>
        </p:nvSpPr>
        <p:spPr>
          <a:xfrm>
            <a:off x="6245443" y="548965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2E74A6F-1A2E-897E-FCE9-DFF19C3DC70E}"/>
              </a:ext>
            </a:extLst>
          </p:cNvPr>
          <p:cNvSpPr txBox="1"/>
          <p:nvPr/>
        </p:nvSpPr>
        <p:spPr>
          <a:xfrm>
            <a:off x="8590436" y="417704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83BC191-E4B8-837B-094C-4330536A92BD}"/>
              </a:ext>
            </a:extLst>
          </p:cNvPr>
          <p:cNvSpPr txBox="1"/>
          <p:nvPr/>
        </p:nvSpPr>
        <p:spPr>
          <a:xfrm>
            <a:off x="8536359" y="436877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FF7FB79-F4CB-24AF-8BCB-0BFDC800D595}"/>
              </a:ext>
            </a:extLst>
          </p:cNvPr>
          <p:cNvSpPr txBox="1"/>
          <p:nvPr/>
        </p:nvSpPr>
        <p:spPr>
          <a:xfrm>
            <a:off x="8511778" y="529792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2A8C5B4-217C-EC83-2BBB-731F3B888C44}"/>
              </a:ext>
            </a:extLst>
          </p:cNvPr>
          <p:cNvSpPr txBox="1"/>
          <p:nvPr/>
        </p:nvSpPr>
        <p:spPr>
          <a:xfrm>
            <a:off x="8408539" y="548965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A3C2B56-113C-D924-D426-1889EE6CB57D}"/>
              </a:ext>
            </a:extLst>
          </p:cNvPr>
          <p:cNvSpPr txBox="1"/>
          <p:nvPr/>
        </p:nvSpPr>
        <p:spPr>
          <a:xfrm>
            <a:off x="10676896" y="456078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51DF3DF-66E2-5D3F-08E8-3FBFAECB2F9D}"/>
              </a:ext>
            </a:extLst>
          </p:cNvPr>
          <p:cNvSpPr txBox="1"/>
          <p:nvPr/>
        </p:nvSpPr>
        <p:spPr>
          <a:xfrm>
            <a:off x="10514664" y="56865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A620399-A3AE-83A4-D9A1-401FCD4D82E1}"/>
              </a:ext>
            </a:extLst>
          </p:cNvPr>
          <p:cNvSpPr txBox="1"/>
          <p:nvPr/>
        </p:nvSpPr>
        <p:spPr>
          <a:xfrm>
            <a:off x="8562961" y="379386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AF29315-704B-2C47-1351-6D9364BC4713}"/>
              </a:ext>
            </a:extLst>
          </p:cNvPr>
          <p:cNvSpPr txBox="1"/>
          <p:nvPr/>
        </p:nvSpPr>
        <p:spPr>
          <a:xfrm>
            <a:off x="8440057" y="454603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57BAE6E-3D62-905D-C5C1-6DB858328DA5}"/>
              </a:ext>
            </a:extLst>
          </p:cNvPr>
          <p:cNvSpPr txBox="1"/>
          <p:nvPr/>
        </p:nvSpPr>
        <p:spPr>
          <a:xfrm>
            <a:off x="8454805" y="473776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47FA3E5-CA9B-5F7E-BE9A-87E20DCDFE50}"/>
              </a:ext>
            </a:extLst>
          </p:cNvPr>
          <p:cNvSpPr txBox="1"/>
          <p:nvPr/>
        </p:nvSpPr>
        <p:spPr>
          <a:xfrm>
            <a:off x="8381063" y="56865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D8FA561-9A16-D004-0C10-3C324B569CFD}"/>
              </a:ext>
            </a:extLst>
          </p:cNvPr>
          <p:cNvSpPr txBox="1"/>
          <p:nvPr/>
        </p:nvSpPr>
        <p:spPr>
          <a:xfrm>
            <a:off x="8171801" y="606310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F95EAA4-8A93-4B6A-5828-B692464E16C5}"/>
              </a:ext>
            </a:extLst>
          </p:cNvPr>
          <p:cNvSpPr txBox="1"/>
          <p:nvPr/>
        </p:nvSpPr>
        <p:spPr>
          <a:xfrm>
            <a:off x="8235711" y="587137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9312730-DDBB-62F7-C6F5-24E85EBF8EA2}"/>
              </a:ext>
            </a:extLst>
          </p:cNvPr>
          <p:cNvSpPr txBox="1"/>
          <p:nvPr/>
        </p:nvSpPr>
        <p:spPr>
          <a:xfrm>
            <a:off x="8515931" y="492256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F4BD5C1-CA76-C923-8E91-69CD941C0FDA}"/>
              </a:ext>
            </a:extLst>
          </p:cNvPr>
          <p:cNvSpPr txBox="1"/>
          <p:nvPr/>
        </p:nvSpPr>
        <p:spPr>
          <a:xfrm>
            <a:off x="7027109" y="379358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F10F379-F1B6-A6F7-DFB3-C1FAAFA0C354}"/>
              </a:ext>
            </a:extLst>
          </p:cNvPr>
          <p:cNvSpPr txBox="1"/>
          <p:nvPr/>
        </p:nvSpPr>
        <p:spPr>
          <a:xfrm>
            <a:off x="11481395" y="437540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9CF07F2-4862-01CE-5AF4-BACEB98283E4}"/>
              </a:ext>
            </a:extLst>
          </p:cNvPr>
          <p:cNvSpPr txBox="1"/>
          <p:nvPr/>
        </p:nvSpPr>
        <p:spPr>
          <a:xfrm>
            <a:off x="11515808" y="418367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F230D53-7481-297F-4928-ABEA00A7BF85}"/>
              </a:ext>
            </a:extLst>
          </p:cNvPr>
          <p:cNvSpPr txBox="1"/>
          <p:nvPr/>
        </p:nvSpPr>
        <p:spPr>
          <a:xfrm>
            <a:off x="11348659" y="531438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1460068-F51C-7D87-D3BD-C12304957870}"/>
              </a:ext>
            </a:extLst>
          </p:cNvPr>
          <p:cNvSpPr txBox="1"/>
          <p:nvPr/>
        </p:nvSpPr>
        <p:spPr>
          <a:xfrm>
            <a:off x="11442065" y="549628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3E7E50-3766-3637-7451-661371F8877F}"/>
              </a:ext>
            </a:extLst>
          </p:cNvPr>
          <p:cNvSpPr txBox="1"/>
          <p:nvPr/>
        </p:nvSpPr>
        <p:spPr>
          <a:xfrm>
            <a:off x="10895801" y="605668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A240C87-FEB1-9EE9-D151-C24276A2F077}"/>
              </a:ext>
            </a:extLst>
          </p:cNvPr>
          <p:cNvSpPr txBox="1"/>
          <p:nvPr/>
        </p:nvSpPr>
        <p:spPr>
          <a:xfrm>
            <a:off x="11402162" y="494072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60025A8-5969-FFC1-042E-3D8B3A0D0540}"/>
              </a:ext>
            </a:extLst>
          </p:cNvPr>
          <p:cNvSpPr txBox="1"/>
          <p:nvPr/>
        </p:nvSpPr>
        <p:spPr>
          <a:xfrm>
            <a:off x="7410264" y="323974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F508AF9-47F9-956D-9F08-2808948EE931}"/>
              </a:ext>
            </a:extLst>
          </p:cNvPr>
          <p:cNvSpPr txBox="1"/>
          <p:nvPr/>
        </p:nvSpPr>
        <p:spPr>
          <a:xfrm>
            <a:off x="7415181" y="379526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24662EF-5333-1F89-E5A5-C9E0BB76CA32}"/>
              </a:ext>
            </a:extLst>
          </p:cNvPr>
          <p:cNvSpPr txBox="1"/>
          <p:nvPr/>
        </p:nvSpPr>
        <p:spPr>
          <a:xfrm>
            <a:off x="7390600" y="494072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2A7021F-76C7-31B4-5DDC-7C55D224AC22}"/>
              </a:ext>
            </a:extLst>
          </p:cNvPr>
          <p:cNvSpPr txBox="1"/>
          <p:nvPr/>
        </p:nvSpPr>
        <p:spPr>
          <a:xfrm>
            <a:off x="7311942" y="567814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E0B3DDD-4B1A-8AAC-F25F-0300C5169DFB}"/>
              </a:ext>
            </a:extLst>
          </p:cNvPr>
          <p:cNvSpPr txBox="1"/>
          <p:nvPr/>
        </p:nvSpPr>
        <p:spPr>
          <a:xfrm>
            <a:off x="7228368" y="623366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C076429-816B-37E1-924F-54B5CB530D71}"/>
              </a:ext>
            </a:extLst>
          </p:cNvPr>
          <p:cNvSpPr txBox="1"/>
          <p:nvPr/>
        </p:nvSpPr>
        <p:spPr>
          <a:xfrm>
            <a:off x="7270623" y="586920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86D8E14-8263-F0CE-A164-8F8800A53FF9}"/>
              </a:ext>
            </a:extLst>
          </p:cNvPr>
          <p:cNvSpPr txBox="1"/>
          <p:nvPr/>
        </p:nvSpPr>
        <p:spPr>
          <a:xfrm>
            <a:off x="7300120" y="455167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D49C5CE-7738-32F2-81D9-F5ECBFD06662}"/>
              </a:ext>
            </a:extLst>
          </p:cNvPr>
          <p:cNvSpPr txBox="1"/>
          <p:nvPr/>
        </p:nvSpPr>
        <p:spPr>
          <a:xfrm>
            <a:off x="7265707" y="474340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4453DDF-43DE-805C-7290-CF2C44C353DB}"/>
              </a:ext>
            </a:extLst>
          </p:cNvPr>
          <p:cNvSpPr txBox="1"/>
          <p:nvPr/>
        </p:nvSpPr>
        <p:spPr>
          <a:xfrm>
            <a:off x="9588410" y="312007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36E0FBE9-75E6-32D4-8FF2-DC1038FCA650}"/>
              </a:ext>
            </a:extLst>
          </p:cNvPr>
          <p:cNvSpPr txBox="1"/>
          <p:nvPr/>
        </p:nvSpPr>
        <p:spPr>
          <a:xfrm>
            <a:off x="11785620" y="332823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4CD2DCB-D2B8-E481-EAE8-8553039CEBBE}"/>
              </a:ext>
            </a:extLst>
          </p:cNvPr>
          <p:cNvSpPr txBox="1"/>
          <p:nvPr/>
        </p:nvSpPr>
        <p:spPr>
          <a:xfrm>
            <a:off x="11741376" y="473915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FCA62D2-26BE-C9B8-8BA4-0B7358F9ACBF}"/>
              </a:ext>
            </a:extLst>
          </p:cNvPr>
          <p:cNvSpPr txBox="1"/>
          <p:nvPr/>
        </p:nvSpPr>
        <p:spPr>
          <a:xfrm>
            <a:off x="11765956" y="494072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2C553D91-860B-D04D-4B8F-3CA6402B3145}"/>
              </a:ext>
            </a:extLst>
          </p:cNvPr>
          <p:cNvSpPr txBox="1"/>
          <p:nvPr/>
        </p:nvSpPr>
        <p:spPr>
          <a:xfrm>
            <a:off x="11716795" y="606159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40E86294-D4CE-5C31-A131-B2F35CF820AF}"/>
              </a:ext>
            </a:extLst>
          </p:cNvPr>
          <p:cNvSpPr txBox="1"/>
          <p:nvPr/>
        </p:nvSpPr>
        <p:spPr>
          <a:xfrm>
            <a:off x="11554562" y="624349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6EBB54F-588D-6C8B-5E5E-49A846469462}"/>
              </a:ext>
            </a:extLst>
          </p:cNvPr>
          <p:cNvSpPr txBox="1"/>
          <p:nvPr/>
        </p:nvSpPr>
        <p:spPr>
          <a:xfrm>
            <a:off x="11682957" y="539304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8DC5C761-3A28-9B90-39E0-E44545DD8FA7}"/>
              </a:ext>
            </a:extLst>
          </p:cNvPr>
          <p:cNvSpPr txBox="1"/>
          <p:nvPr/>
        </p:nvSpPr>
        <p:spPr>
          <a:xfrm>
            <a:off x="11716794" y="568797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16461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AD6DA03-336D-CA05-AB6F-F9F799D580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100766-B18C-AA5E-D852-8D9153283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100766-B18C-AA5E-D852-8D9153283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9D3C71-C73C-5C1F-26C9-9AEE5826F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: вираженість за цілями на наступні кілька років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840FA8-6084-15F8-BD5D-CB2AD137E3FB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65FF47D8-17DC-832C-BEB7-0FFC547DD285}"/>
              </a:ext>
            </a:extLst>
          </p:cNvPr>
          <p:cNvSpPr txBox="1">
            <a:spLocks/>
          </p:cNvSpPr>
          <p:nvPr/>
        </p:nvSpPr>
        <p:spPr>
          <a:xfrm>
            <a:off x="1" y="1552864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Важливість цілей, які прагнуть досягти у наступні кілька років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1C4A3D1-1E05-4714-811B-C1DB94B526F2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858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Вираженість цілі виховати дитину корелює із намірами переїзду за кордон: для тих, хто планує виїхати за кордон, ця ціль є менш актуальною, порівняно до тих, хто не планує переїзд за кордон. </a:t>
            </a:r>
          </a:p>
          <a:p>
            <a:r>
              <a:rPr lang="uk-UA" sz="1600" dirty="0"/>
              <a:t>Ті, що не визначились щодо переїзду за кордон, прагн6уть отримати визнання у суспільстві, стати відомими і впливовими</a:t>
            </a:r>
            <a:endParaRPr lang="uk-UA" sz="1600" noProof="0" dirty="0"/>
          </a:p>
        </p:txBody>
      </p:sp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4E6E05F2-C25F-195E-A032-C1F9F2019271}"/>
              </a:ext>
            </a:extLst>
          </p:cNvPr>
          <p:cNvGraphicFramePr>
            <a:graphicFrameLocks noGrp="1"/>
          </p:cNvGraphicFramePr>
          <p:nvPr/>
        </p:nvGraphicFramePr>
        <p:xfrm>
          <a:off x="737416" y="2203335"/>
          <a:ext cx="10432024" cy="46446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3457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659744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44744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726291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622399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8B9194C5-6F90-BFF4-75C4-44D1B6ABC46E}"/>
              </a:ext>
            </a:extLst>
          </p:cNvPr>
          <p:cNvGraphicFramePr>
            <a:graphicFrameLocks noGrp="1"/>
          </p:cNvGraphicFramePr>
          <p:nvPr/>
        </p:nvGraphicFramePr>
        <p:xfrm>
          <a:off x="4630985" y="1848028"/>
          <a:ext cx="6440139" cy="339852"/>
        </p:xfrm>
        <a:graphic>
          <a:graphicData uri="http://schemas.openxmlformats.org/drawingml/2006/table">
            <a:tbl>
              <a:tblPr firstRow="1" bandRow="1"/>
              <a:tblGrid>
                <a:gridCol w="214671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4671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4671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graphicFrame>
        <p:nvGraphicFramePr>
          <p:cNvPr id="14" name="Таблиця 13">
            <a:extLst>
              <a:ext uri="{FF2B5EF4-FFF2-40B4-BE49-F238E27FC236}">
                <a16:creationId xmlns:a16="http://schemas.microsoft.com/office/drawing/2014/main" id="{D5F963E6-7275-2292-EC98-0FA1F882757D}"/>
              </a:ext>
            </a:extLst>
          </p:cNvPr>
          <p:cNvGraphicFramePr>
            <a:graphicFrameLocks noGrp="1"/>
          </p:cNvGraphicFramePr>
          <p:nvPr/>
        </p:nvGraphicFramePr>
        <p:xfrm>
          <a:off x="4621162" y="2199041"/>
          <a:ext cx="6458400" cy="4640427"/>
        </p:xfrm>
        <a:graphic>
          <a:graphicData uri="http://schemas.openxmlformats.org/drawingml/2006/table">
            <a:tbl>
              <a:tblPr/>
              <a:tblGrid>
                <a:gridCol w="2152800">
                  <a:extLst>
                    <a:ext uri="{9D8B030D-6E8A-4147-A177-3AD203B41FA5}">
                      <a16:colId xmlns:a16="http://schemas.microsoft.com/office/drawing/2014/main" val="1780474491"/>
                    </a:ext>
                  </a:extLst>
                </a:gridCol>
                <a:gridCol w="2152800">
                  <a:extLst>
                    <a:ext uri="{9D8B030D-6E8A-4147-A177-3AD203B41FA5}">
                      <a16:colId xmlns:a16="http://schemas.microsoft.com/office/drawing/2014/main" val="37585081"/>
                    </a:ext>
                  </a:extLst>
                </a:gridCol>
                <a:gridCol w="2152800">
                  <a:extLst>
                    <a:ext uri="{9D8B030D-6E8A-4147-A177-3AD203B41FA5}">
                      <a16:colId xmlns:a16="http://schemas.microsoft.com/office/drawing/2014/main" val="2832903221"/>
                    </a:ext>
                  </a:extLst>
                </a:gridCol>
              </a:tblGrid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068754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5960925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1152893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50647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302176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41888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409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983692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19828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4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5873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A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457735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B6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175398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34277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75804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70628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D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888622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886955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67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200140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3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60441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C5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D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40133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3820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236589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1BDD7-56BD-D83A-D3DA-BBB3F3F1D9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85CC3EF-8EB8-5C3F-44E8-4C1FCBC2D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5CC3EF-8EB8-5C3F-44E8-4C1FCBC2D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BB095A-8F84-5CC8-89F3-87D8EDC89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Можливість реалізації у місті Вінниця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AFCA1346-2B5E-7EAD-9730-7BA017024AA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279602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1C0662D-72F1-6F03-893F-7B695DCEE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E83EE0DE-43FA-DB6F-5DFD-4C331E08DE27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489919"/>
          <a:ext cx="12160800" cy="3943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296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81783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92F849E-1358-65F7-7403-CDA9EAF643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2F849E-1358-65F7-7403-CDA9EAF643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AE7E9A-3D63-7E95-B12C-EDC4A4E73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 fontScale="90000"/>
          </a:bodyPr>
          <a:lstStyle/>
          <a:p>
            <a:r>
              <a:rPr lang="uk-UA" sz="2400" dirty="0"/>
              <a:t>Наміри переїзду в інше місто: розподіл за оцінкою можливостей </a:t>
            </a:r>
            <a:r>
              <a:rPr lang="ru-RU" sz="2400" noProof="0" dirty="0" err="1"/>
              <a:t>досягти</a:t>
            </a:r>
            <a:r>
              <a:rPr lang="ru-RU" sz="2400" noProof="0" dirty="0"/>
              <a:t> цілей у місті Вінниця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663D4D-21D8-3590-ABBE-97AA50A41730}"/>
              </a:ext>
            </a:extLst>
          </p:cNvPr>
          <p:cNvSpPr txBox="1"/>
          <p:nvPr/>
        </p:nvSpPr>
        <p:spPr>
          <a:xfrm>
            <a:off x="6248400" y="6493785"/>
            <a:ext cx="54988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8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5090FD-A80F-6E1F-2111-27CA11911003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B4232885-3B20-A139-AF30-227DBFF054D1}"/>
              </a:ext>
            </a:extLst>
          </p:cNvPr>
          <p:cNvGraphicFramePr>
            <a:graphicFrameLocks noGrp="1"/>
          </p:cNvGraphicFramePr>
          <p:nvPr/>
        </p:nvGraphicFramePr>
        <p:xfrm>
          <a:off x="3333594" y="6384626"/>
          <a:ext cx="8766216" cy="218225"/>
        </p:xfrm>
        <a:graphic>
          <a:graphicData uri="http://schemas.openxmlformats.org/drawingml/2006/table">
            <a:tbl>
              <a:tblPr firstRow="1" bandRow="1"/>
              <a:tblGrid>
                <a:gridCol w="219155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19155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19155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19155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E56F8418-F5B9-60D5-A2DF-D8E270BA8D59}"/>
              </a:ext>
            </a:extLst>
          </p:cNvPr>
          <p:cNvGraphicFramePr/>
          <p:nvPr/>
        </p:nvGraphicFramePr>
        <p:xfrm>
          <a:off x="3372471" y="2376880"/>
          <a:ext cx="2098244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D633D248-FE2A-32A9-CA60-DA77561AF31F}"/>
              </a:ext>
            </a:extLst>
          </p:cNvPr>
          <p:cNvGraphicFramePr>
            <a:graphicFrameLocks noGrp="1"/>
          </p:cNvGraphicFramePr>
          <p:nvPr/>
        </p:nvGraphicFramePr>
        <p:xfrm>
          <a:off x="3362632" y="2142991"/>
          <a:ext cx="8737468" cy="327660"/>
        </p:xfrm>
        <a:graphic>
          <a:graphicData uri="http://schemas.openxmlformats.org/drawingml/2006/table">
            <a:tbl>
              <a:tblPr firstRow="1" bandRow="1"/>
              <a:tblGrid>
                <a:gridCol w="2184367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184367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84367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84367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B8215A8D-2D8F-9E01-701C-BAB2A8E3F396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 lIns="3708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Можливість досягти цілей у місті Вінниця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10031C2-EF46-2EA5-8567-B16C90ABA9DF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93666D38-E5E8-EED1-B041-EE3F99464649}"/>
              </a:ext>
            </a:extLst>
          </p:cNvPr>
          <p:cNvGraphicFramePr/>
          <p:nvPr/>
        </p:nvGraphicFramePr>
        <p:xfrm>
          <a:off x="8367252" y="1799302"/>
          <a:ext cx="3757450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56E6C1B-4695-748F-73B8-5A596BD47CDF}"/>
              </a:ext>
            </a:extLst>
          </p:cNvPr>
          <p:cNvSpPr txBox="1">
            <a:spLocks/>
          </p:cNvSpPr>
          <p:nvPr/>
        </p:nvSpPr>
        <p:spPr>
          <a:xfrm>
            <a:off x="314631" y="792525"/>
            <a:ext cx="11562738" cy="86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хто планує переїзд в інше місто, загалом гірше оцінюють можливості досягнення своїх цілей у місті Вінниця, ніж ті, хто планує залишатися у Вінниці і ті, що не визначились щодо виїзду в інше місто</a:t>
            </a:r>
          </a:p>
        </p:txBody>
      </p:sp>
      <p:graphicFrame>
        <p:nvGraphicFramePr>
          <p:cNvPr id="27" name="Диаграмма 16">
            <a:extLst>
              <a:ext uri="{FF2B5EF4-FFF2-40B4-BE49-F238E27FC236}">
                <a16:creationId xmlns:a16="http://schemas.microsoft.com/office/drawing/2014/main" id="{B2A25E2D-F9DC-012C-5AA8-D5D6C59C00B7}"/>
              </a:ext>
            </a:extLst>
          </p:cNvPr>
          <p:cNvGraphicFramePr/>
          <p:nvPr/>
        </p:nvGraphicFramePr>
        <p:xfrm>
          <a:off x="5545748" y="2382926"/>
          <a:ext cx="2098244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F3B4DB05-E9D6-880F-6A4E-77A2DC8C1ED8}"/>
              </a:ext>
            </a:extLst>
          </p:cNvPr>
          <p:cNvGraphicFramePr/>
          <p:nvPr/>
        </p:nvGraphicFramePr>
        <p:xfrm>
          <a:off x="7727440" y="2382713"/>
          <a:ext cx="2098244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A1C570B6-0BCD-26A9-E68B-A830EF5B577A}"/>
              </a:ext>
            </a:extLst>
          </p:cNvPr>
          <p:cNvGraphicFramePr/>
          <p:nvPr/>
        </p:nvGraphicFramePr>
        <p:xfrm>
          <a:off x="9910877" y="2388759"/>
          <a:ext cx="2098244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7" name="TextBox 66">
            <a:extLst>
              <a:ext uri="{FF2B5EF4-FFF2-40B4-BE49-F238E27FC236}">
                <a16:creationId xmlns:a16="http://schemas.microsoft.com/office/drawing/2014/main" id="{096058D0-EFC7-DC53-BAFE-A857040D9022}"/>
              </a:ext>
            </a:extLst>
          </p:cNvPr>
          <p:cNvSpPr txBox="1"/>
          <p:nvPr/>
        </p:nvSpPr>
        <p:spPr>
          <a:xfrm>
            <a:off x="8563124" y="247414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F732F6-6B71-7D18-46E7-F8B1BDDD4F5B}"/>
              </a:ext>
            </a:extLst>
          </p:cNvPr>
          <p:cNvSpPr txBox="1"/>
          <p:nvPr/>
        </p:nvSpPr>
        <p:spPr>
          <a:xfrm>
            <a:off x="10829229" y="2472483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D4D516-34E0-59A0-D379-D24B112E354D}"/>
              </a:ext>
            </a:extLst>
          </p:cNvPr>
          <p:cNvSpPr txBox="1"/>
          <p:nvPr/>
        </p:nvSpPr>
        <p:spPr>
          <a:xfrm>
            <a:off x="6688956" y="605190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42555D2-8253-7E5B-B265-D674AF4484E0}"/>
              </a:ext>
            </a:extLst>
          </p:cNvPr>
          <p:cNvSpPr txBox="1"/>
          <p:nvPr/>
        </p:nvSpPr>
        <p:spPr>
          <a:xfrm>
            <a:off x="8557869" y="266858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E7B15B4-E373-6F94-F2A3-7A23329F90BA}"/>
              </a:ext>
            </a:extLst>
          </p:cNvPr>
          <p:cNvSpPr txBox="1"/>
          <p:nvPr/>
        </p:nvSpPr>
        <p:spPr>
          <a:xfrm>
            <a:off x="8563124" y="285251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01F4D84-B0E4-BF2A-4411-5CADEB6D2EE3}"/>
              </a:ext>
            </a:extLst>
          </p:cNvPr>
          <p:cNvSpPr txBox="1"/>
          <p:nvPr/>
        </p:nvSpPr>
        <p:spPr>
          <a:xfrm>
            <a:off x="8536848" y="304695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A8FD0D4-80E7-EEAC-AE63-FAB7FB0F17D1}"/>
              </a:ext>
            </a:extLst>
          </p:cNvPr>
          <p:cNvSpPr txBox="1"/>
          <p:nvPr/>
        </p:nvSpPr>
        <p:spPr>
          <a:xfrm>
            <a:off x="8563124" y="322037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42214CD-8369-EC4F-D277-4BCCD256AAAA}"/>
              </a:ext>
            </a:extLst>
          </p:cNvPr>
          <p:cNvSpPr txBox="1"/>
          <p:nvPr/>
        </p:nvSpPr>
        <p:spPr>
          <a:xfrm>
            <a:off x="10807083" y="267909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B0F6EFD-0837-69E3-8162-3F353E604B6A}"/>
              </a:ext>
            </a:extLst>
          </p:cNvPr>
          <p:cNvSpPr txBox="1"/>
          <p:nvPr/>
        </p:nvSpPr>
        <p:spPr>
          <a:xfrm>
            <a:off x="8494807" y="342533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1118D31-65B4-5439-758D-1CF35B070482}"/>
              </a:ext>
            </a:extLst>
          </p:cNvPr>
          <p:cNvSpPr txBox="1"/>
          <p:nvPr/>
        </p:nvSpPr>
        <p:spPr>
          <a:xfrm>
            <a:off x="8468532" y="37984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F29E902-45CC-C8F5-6437-E16C99BECAC5}"/>
              </a:ext>
            </a:extLst>
          </p:cNvPr>
          <p:cNvSpPr txBox="1"/>
          <p:nvPr/>
        </p:nvSpPr>
        <p:spPr>
          <a:xfrm>
            <a:off x="8452766" y="398237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9F1E19D-1338-30D0-A641-6F9ACDB7A26D}"/>
              </a:ext>
            </a:extLst>
          </p:cNvPr>
          <p:cNvSpPr txBox="1"/>
          <p:nvPr/>
        </p:nvSpPr>
        <p:spPr>
          <a:xfrm>
            <a:off x="8479042" y="415580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118F9EE-335D-A46A-3487-5397F5B02ABF}"/>
              </a:ext>
            </a:extLst>
          </p:cNvPr>
          <p:cNvSpPr txBox="1"/>
          <p:nvPr/>
        </p:nvSpPr>
        <p:spPr>
          <a:xfrm>
            <a:off x="8426490" y="434498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860FC9C-ABFC-D441-4723-ECBF95C1CBD2}"/>
              </a:ext>
            </a:extLst>
          </p:cNvPr>
          <p:cNvSpPr txBox="1"/>
          <p:nvPr/>
        </p:nvSpPr>
        <p:spPr>
          <a:xfrm>
            <a:off x="8463277" y="454993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7DB63FD-B19A-6771-91B4-C63BB3BBFD15}"/>
              </a:ext>
            </a:extLst>
          </p:cNvPr>
          <p:cNvSpPr txBox="1"/>
          <p:nvPr/>
        </p:nvSpPr>
        <p:spPr>
          <a:xfrm>
            <a:off x="8458022" y="473386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F86C132-35DE-A102-AB1E-081782892D9F}"/>
              </a:ext>
            </a:extLst>
          </p:cNvPr>
          <p:cNvSpPr txBox="1"/>
          <p:nvPr/>
        </p:nvSpPr>
        <p:spPr>
          <a:xfrm>
            <a:off x="8438126" y="4916138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E641790-2756-4757-7B73-4A1709FA4134}"/>
              </a:ext>
            </a:extLst>
          </p:cNvPr>
          <p:cNvSpPr txBox="1"/>
          <p:nvPr/>
        </p:nvSpPr>
        <p:spPr>
          <a:xfrm>
            <a:off x="8359298" y="5678138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EFDABC9-0D51-5CAE-C6D8-DBF132BF9BD0}"/>
              </a:ext>
            </a:extLst>
          </p:cNvPr>
          <p:cNvSpPr txBox="1"/>
          <p:nvPr/>
        </p:nvSpPr>
        <p:spPr>
          <a:xfrm>
            <a:off x="8322511" y="5862069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079B307-68B4-743F-6486-D4259450D4A6}"/>
              </a:ext>
            </a:extLst>
          </p:cNvPr>
          <p:cNvSpPr txBox="1"/>
          <p:nvPr/>
        </p:nvSpPr>
        <p:spPr>
          <a:xfrm>
            <a:off x="8243683" y="604600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4556DDC-A669-1461-97AC-3F01A96B0B23}"/>
              </a:ext>
            </a:extLst>
          </p:cNvPr>
          <p:cNvSpPr txBox="1"/>
          <p:nvPr/>
        </p:nvSpPr>
        <p:spPr>
          <a:xfrm>
            <a:off x="8206896" y="6240442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0781262-6A22-139B-D576-EC74A1A49C06}"/>
              </a:ext>
            </a:extLst>
          </p:cNvPr>
          <p:cNvSpPr txBox="1"/>
          <p:nvPr/>
        </p:nvSpPr>
        <p:spPr>
          <a:xfrm>
            <a:off x="8379195" y="511749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61429C0-2219-EDA7-79F8-EAB6EF87BDE2}"/>
              </a:ext>
            </a:extLst>
          </p:cNvPr>
          <p:cNvSpPr txBox="1"/>
          <p:nvPr/>
        </p:nvSpPr>
        <p:spPr>
          <a:xfrm>
            <a:off x="8363429" y="529091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7611BE8-5D31-5F82-CD74-7AD3BEEFAB23}"/>
              </a:ext>
            </a:extLst>
          </p:cNvPr>
          <p:cNvSpPr txBox="1"/>
          <p:nvPr/>
        </p:nvSpPr>
        <p:spPr>
          <a:xfrm>
            <a:off x="8337153" y="548535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3166B51-A65A-ED6C-3F77-6B0755391E6E}"/>
              </a:ext>
            </a:extLst>
          </p:cNvPr>
          <p:cNvSpPr txBox="1"/>
          <p:nvPr/>
        </p:nvSpPr>
        <p:spPr>
          <a:xfrm>
            <a:off x="10780807" y="286302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ADD8CAA-0165-E608-4551-324B73F32F73}"/>
              </a:ext>
            </a:extLst>
          </p:cNvPr>
          <p:cNvSpPr txBox="1"/>
          <p:nvPr/>
        </p:nvSpPr>
        <p:spPr>
          <a:xfrm>
            <a:off x="10775551" y="30574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318547C-019D-1CAE-1794-8541DBD78DA7}"/>
              </a:ext>
            </a:extLst>
          </p:cNvPr>
          <p:cNvSpPr txBox="1"/>
          <p:nvPr/>
        </p:nvSpPr>
        <p:spPr>
          <a:xfrm>
            <a:off x="10696723" y="323088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F260BBD-1C8C-3240-6F81-F285F6D57702}"/>
              </a:ext>
            </a:extLst>
          </p:cNvPr>
          <p:cNvSpPr txBox="1"/>
          <p:nvPr/>
        </p:nvSpPr>
        <p:spPr>
          <a:xfrm>
            <a:off x="10701978" y="341482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3A3C178-77A9-1668-6AB0-54F024B32F16}"/>
              </a:ext>
            </a:extLst>
          </p:cNvPr>
          <p:cNvSpPr txBox="1"/>
          <p:nvPr/>
        </p:nvSpPr>
        <p:spPr>
          <a:xfrm>
            <a:off x="10633661" y="37984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27971E4-AECA-9213-A0BC-0E5416A0EF96}"/>
              </a:ext>
            </a:extLst>
          </p:cNvPr>
          <p:cNvSpPr txBox="1"/>
          <p:nvPr/>
        </p:nvSpPr>
        <p:spPr>
          <a:xfrm>
            <a:off x="10617896" y="399288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5E3F77B-A609-A436-240E-FBAB0A2049DB}"/>
              </a:ext>
            </a:extLst>
          </p:cNvPr>
          <p:cNvSpPr txBox="1"/>
          <p:nvPr/>
        </p:nvSpPr>
        <p:spPr>
          <a:xfrm>
            <a:off x="10623152" y="435549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17979D3-A626-190F-98AE-3A790462C4A3}"/>
              </a:ext>
            </a:extLst>
          </p:cNvPr>
          <p:cNvSpPr txBox="1"/>
          <p:nvPr/>
        </p:nvSpPr>
        <p:spPr>
          <a:xfrm>
            <a:off x="10596877" y="454993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6C69ABE-E442-0C58-C8FF-BEDC6E68A396}"/>
              </a:ext>
            </a:extLst>
          </p:cNvPr>
          <p:cNvSpPr txBox="1"/>
          <p:nvPr/>
        </p:nvSpPr>
        <p:spPr>
          <a:xfrm>
            <a:off x="10612643" y="473386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5AE6CD1-EFBC-D0D6-05EC-1DDE114A0DE3}"/>
              </a:ext>
            </a:extLst>
          </p:cNvPr>
          <p:cNvSpPr txBox="1"/>
          <p:nvPr/>
        </p:nvSpPr>
        <p:spPr>
          <a:xfrm>
            <a:off x="10523305" y="492831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3DEE638-177A-B14C-1C28-8ED9A2521C3E}"/>
              </a:ext>
            </a:extLst>
          </p:cNvPr>
          <p:cNvSpPr txBox="1"/>
          <p:nvPr/>
        </p:nvSpPr>
        <p:spPr>
          <a:xfrm>
            <a:off x="10539071" y="511224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2C0CAB7-8CAE-6A19-BB07-FEB8ADF5691A}"/>
              </a:ext>
            </a:extLst>
          </p:cNvPr>
          <p:cNvSpPr txBox="1"/>
          <p:nvPr/>
        </p:nvSpPr>
        <p:spPr>
          <a:xfrm>
            <a:off x="10491775" y="529617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AF31317D-03CB-307E-0924-1C37854B737D}"/>
              </a:ext>
            </a:extLst>
          </p:cNvPr>
          <p:cNvSpPr txBox="1"/>
          <p:nvPr/>
        </p:nvSpPr>
        <p:spPr>
          <a:xfrm>
            <a:off x="10454988" y="549061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7D71DBF8-138D-538D-EF22-DDD7901E5452}"/>
              </a:ext>
            </a:extLst>
          </p:cNvPr>
          <p:cNvSpPr txBox="1"/>
          <p:nvPr/>
        </p:nvSpPr>
        <p:spPr>
          <a:xfrm>
            <a:off x="10428712" y="567454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9AE19A4-7781-DDFE-D462-EF4BF908277E}"/>
              </a:ext>
            </a:extLst>
          </p:cNvPr>
          <p:cNvSpPr txBox="1"/>
          <p:nvPr/>
        </p:nvSpPr>
        <p:spPr>
          <a:xfrm>
            <a:off x="10223761" y="62368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85E88F6A-B672-6CA0-EA49-43A7233C392E}"/>
              </a:ext>
            </a:extLst>
          </p:cNvPr>
          <p:cNvSpPr txBox="1"/>
          <p:nvPr/>
        </p:nvSpPr>
        <p:spPr>
          <a:xfrm>
            <a:off x="7133262" y="2477885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DD96B9BA-DFE9-B564-A8AF-525E02241BF1}"/>
              </a:ext>
            </a:extLst>
          </p:cNvPr>
          <p:cNvSpPr txBox="1"/>
          <p:nvPr/>
        </p:nvSpPr>
        <p:spPr>
          <a:xfrm>
            <a:off x="7222600" y="2861512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504E6204-F04D-8D19-8527-25B4898AB737}"/>
              </a:ext>
            </a:extLst>
          </p:cNvPr>
          <p:cNvSpPr txBox="1"/>
          <p:nvPr/>
        </p:nvSpPr>
        <p:spPr>
          <a:xfrm>
            <a:off x="7091221" y="3045443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4BE3BAC0-A504-E239-0BD9-B61F5821304A}"/>
              </a:ext>
            </a:extLst>
          </p:cNvPr>
          <p:cNvSpPr txBox="1"/>
          <p:nvPr/>
        </p:nvSpPr>
        <p:spPr>
          <a:xfrm>
            <a:off x="7106986" y="3229374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F302CCEE-3C9C-DB3B-1AE4-98799C97D853}"/>
              </a:ext>
            </a:extLst>
          </p:cNvPr>
          <p:cNvSpPr txBox="1"/>
          <p:nvPr/>
        </p:nvSpPr>
        <p:spPr>
          <a:xfrm>
            <a:off x="7028159" y="3982379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C0BB2624-DD71-3F07-98D3-CF646BA2CECB}"/>
              </a:ext>
            </a:extLst>
          </p:cNvPr>
          <p:cNvSpPr txBox="1"/>
          <p:nvPr/>
        </p:nvSpPr>
        <p:spPr>
          <a:xfrm>
            <a:off x="7085966" y="3798448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CB725CC8-8715-1ED7-E1D3-E505BA938E49}"/>
              </a:ext>
            </a:extLst>
          </p:cNvPr>
          <p:cNvSpPr txBox="1"/>
          <p:nvPr/>
        </p:nvSpPr>
        <p:spPr>
          <a:xfrm>
            <a:off x="7022903" y="4355496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FA3FAC12-6EE6-11A2-6E87-FE4E55274ED0}"/>
              </a:ext>
            </a:extLst>
          </p:cNvPr>
          <p:cNvSpPr txBox="1"/>
          <p:nvPr/>
        </p:nvSpPr>
        <p:spPr>
          <a:xfrm>
            <a:off x="6859993" y="4549938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8CF57229-465D-2E64-175C-81C768C5CCC8}"/>
              </a:ext>
            </a:extLst>
          </p:cNvPr>
          <p:cNvSpPr txBox="1"/>
          <p:nvPr/>
        </p:nvSpPr>
        <p:spPr>
          <a:xfrm>
            <a:off x="6781165" y="4733869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A5766D4-A367-62D7-239E-788635C8C56D}"/>
              </a:ext>
            </a:extLst>
          </p:cNvPr>
          <p:cNvSpPr txBox="1"/>
          <p:nvPr/>
        </p:nvSpPr>
        <p:spPr>
          <a:xfrm>
            <a:off x="6923055" y="492831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E34F0C4-C9CF-CF14-FCB9-8C2C5A8E812E}"/>
              </a:ext>
            </a:extLst>
          </p:cNvPr>
          <p:cNvSpPr txBox="1"/>
          <p:nvPr/>
        </p:nvSpPr>
        <p:spPr>
          <a:xfrm>
            <a:off x="6907289" y="5101731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C09E229E-F58B-741A-8901-F41EC9654AB4}"/>
              </a:ext>
            </a:extLst>
          </p:cNvPr>
          <p:cNvSpPr txBox="1"/>
          <p:nvPr/>
        </p:nvSpPr>
        <p:spPr>
          <a:xfrm>
            <a:off x="6838972" y="5485359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F8DB03F-FDEF-5E7C-7959-1EC7092F63FB}"/>
              </a:ext>
            </a:extLst>
          </p:cNvPr>
          <p:cNvSpPr txBox="1"/>
          <p:nvPr/>
        </p:nvSpPr>
        <p:spPr>
          <a:xfrm>
            <a:off x="6833717" y="566929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D2CBDE31-E703-304B-F365-626C8DE2BA00}"/>
              </a:ext>
            </a:extLst>
          </p:cNvPr>
          <p:cNvSpPr txBox="1"/>
          <p:nvPr/>
        </p:nvSpPr>
        <p:spPr>
          <a:xfrm>
            <a:off x="6544682" y="6242104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1EB4F564-0CDF-6742-67B1-DB3DD5C3E6DA}"/>
              </a:ext>
            </a:extLst>
          </p:cNvPr>
          <p:cNvSpPr txBox="1"/>
          <p:nvPr/>
        </p:nvSpPr>
        <p:spPr>
          <a:xfrm>
            <a:off x="6893908" y="585746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FBCDB31-5E36-1E07-208B-8793FCB2C83A}"/>
              </a:ext>
            </a:extLst>
          </p:cNvPr>
          <p:cNvSpPr txBox="1"/>
          <p:nvPr/>
        </p:nvSpPr>
        <p:spPr>
          <a:xfrm>
            <a:off x="7235494" y="362401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BEFF5B43-01BE-87B7-7B62-DA8505E3D4C7}"/>
              </a:ext>
            </a:extLst>
          </p:cNvPr>
          <p:cNvSpPr txBox="1"/>
          <p:nvPr/>
        </p:nvSpPr>
        <p:spPr>
          <a:xfrm>
            <a:off x="7093604" y="341906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F9283F9-2186-164B-1B93-BF68678EF12E}"/>
              </a:ext>
            </a:extLst>
          </p:cNvPr>
          <p:cNvSpPr txBox="1"/>
          <p:nvPr/>
        </p:nvSpPr>
        <p:spPr>
          <a:xfrm>
            <a:off x="9421645" y="247839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4B67F58F-9D62-40FC-46E9-F9B471053A37}"/>
              </a:ext>
            </a:extLst>
          </p:cNvPr>
          <p:cNvSpPr txBox="1"/>
          <p:nvPr/>
        </p:nvSpPr>
        <p:spPr>
          <a:xfrm>
            <a:off x="11548062" y="418733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F8274760-0B91-13A4-EF15-C34FD662B1CE}"/>
              </a:ext>
            </a:extLst>
          </p:cNvPr>
          <p:cNvSpPr txBox="1"/>
          <p:nvPr/>
        </p:nvSpPr>
        <p:spPr>
          <a:xfrm>
            <a:off x="11406172" y="568505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87D9D8D2-598D-2E08-994D-FDAB1EC41071}"/>
              </a:ext>
            </a:extLst>
          </p:cNvPr>
          <p:cNvSpPr txBox="1"/>
          <p:nvPr/>
        </p:nvSpPr>
        <p:spPr>
          <a:xfrm>
            <a:off x="11327344" y="586898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4F67852-BE96-B1B4-F192-07F05A1A8DCD}"/>
              </a:ext>
            </a:extLst>
          </p:cNvPr>
          <p:cNvSpPr txBox="1"/>
          <p:nvPr/>
        </p:nvSpPr>
        <p:spPr>
          <a:xfrm>
            <a:off x="11122391" y="605291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7070C291-9CB0-FE4F-882A-CE2482CFA76C}"/>
              </a:ext>
            </a:extLst>
          </p:cNvPr>
          <p:cNvSpPr txBox="1"/>
          <p:nvPr/>
        </p:nvSpPr>
        <p:spPr>
          <a:xfrm>
            <a:off x="11054074" y="623684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1B257E7D-6FB4-1D9F-6927-1614C0E49ACC}"/>
              </a:ext>
            </a:extLst>
          </p:cNvPr>
          <p:cNvSpPr txBox="1"/>
          <p:nvPr/>
        </p:nvSpPr>
        <p:spPr>
          <a:xfrm>
            <a:off x="7306682" y="2661816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C9F1ABCE-544A-715B-ACF4-D86FFB410819}"/>
              </a:ext>
            </a:extLst>
          </p:cNvPr>
          <p:cNvSpPr txBox="1"/>
          <p:nvPr/>
        </p:nvSpPr>
        <p:spPr>
          <a:xfrm>
            <a:off x="7290916" y="4611485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6D24D923-3D68-9CAF-F63C-7C20B0AC7DA4}"/>
              </a:ext>
            </a:extLst>
          </p:cNvPr>
          <p:cNvSpPr txBox="1"/>
          <p:nvPr/>
        </p:nvSpPr>
        <p:spPr>
          <a:xfrm>
            <a:off x="7275151" y="4795416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173AE7EE-8599-BF40-657B-0B27E8C5645E}"/>
              </a:ext>
            </a:extLst>
          </p:cNvPr>
          <p:cNvSpPr txBox="1"/>
          <p:nvPr/>
        </p:nvSpPr>
        <p:spPr>
          <a:xfrm>
            <a:off x="7238364" y="536823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A92636B5-567C-55CD-0041-F51B380FEA26}"/>
              </a:ext>
            </a:extLst>
          </p:cNvPr>
          <p:cNvSpPr txBox="1"/>
          <p:nvPr/>
        </p:nvSpPr>
        <p:spPr>
          <a:xfrm>
            <a:off x="7296171" y="574134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2127A38-CBD2-FDD4-7B35-EAF585D37759}"/>
              </a:ext>
            </a:extLst>
          </p:cNvPr>
          <p:cNvSpPr txBox="1"/>
          <p:nvPr/>
        </p:nvSpPr>
        <p:spPr>
          <a:xfrm>
            <a:off x="7396584" y="604600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581ABDDA-4FF5-833A-A987-33C89053A77E}"/>
              </a:ext>
            </a:extLst>
          </p:cNvPr>
          <p:cNvSpPr txBox="1"/>
          <p:nvPr/>
        </p:nvSpPr>
        <p:spPr>
          <a:xfrm>
            <a:off x="7391329" y="554676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234EEB66-F4B5-C643-96B3-FF66F285CB24}"/>
              </a:ext>
            </a:extLst>
          </p:cNvPr>
          <p:cNvSpPr txBox="1"/>
          <p:nvPr/>
        </p:nvSpPr>
        <p:spPr>
          <a:xfrm>
            <a:off x="7386074" y="517364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992CF79-78BA-49D6-F8E4-730CE803708D}"/>
              </a:ext>
            </a:extLst>
          </p:cNvPr>
          <p:cNvSpPr txBox="1"/>
          <p:nvPr/>
        </p:nvSpPr>
        <p:spPr>
          <a:xfrm>
            <a:off x="7401839" y="442215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6BC6D89E-BE73-9CB2-51D2-A3799234EBBB}"/>
              </a:ext>
            </a:extLst>
          </p:cNvPr>
          <p:cNvSpPr txBox="1"/>
          <p:nvPr/>
        </p:nvSpPr>
        <p:spPr>
          <a:xfrm>
            <a:off x="7396584" y="384933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CD9B9FF2-1AB7-5E24-38BA-F7E6814B523F}"/>
              </a:ext>
            </a:extLst>
          </p:cNvPr>
          <p:cNvSpPr txBox="1"/>
          <p:nvPr/>
        </p:nvSpPr>
        <p:spPr>
          <a:xfrm>
            <a:off x="7380819" y="404378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FBF9E90F-9175-B517-C2AC-FA67654EB56B}"/>
              </a:ext>
            </a:extLst>
          </p:cNvPr>
          <p:cNvSpPr txBox="1"/>
          <p:nvPr/>
        </p:nvSpPr>
        <p:spPr>
          <a:xfrm>
            <a:off x="7386074" y="311361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F02E2E41-422B-4497-5D93-CCC81B035DB4}"/>
              </a:ext>
            </a:extLst>
          </p:cNvPr>
          <p:cNvSpPr txBox="1"/>
          <p:nvPr/>
        </p:nvSpPr>
        <p:spPr>
          <a:xfrm>
            <a:off x="11763632" y="482154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67E0DDA1-4C26-4DB8-32D6-1D69E7D4DC08}"/>
              </a:ext>
            </a:extLst>
          </p:cNvPr>
          <p:cNvSpPr txBox="1"/>
          <p:nvPr/>
        </p:nvSpPr>
        <p:spPr>
          <a:xfrm>
            <a:off x="11768887" y="492139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39D7297-3FDE-062F-F996-CF95467FA315}"/>
              </a:ext>
            </a:extLst>
          </p:cNvPr>
          <p:cNvSpPr txBox="1"/>
          <p:nvPr/>
        </p:nvSpPr>
        <p:spPr>
          <a:xfrm>
            <a:off x="11763632" y="605125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0C07ED99-EDF2-024B-56CF-F3C3D7B484DF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208369261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F13D42D-60C3-D744-AD0E-E535B6067D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9B44A07-1801-FF1A-D555-D10AF1BCA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B44A07-1801-FF1A-D555-D10AF1BCA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A296D4-F06A-5936-9887-264013C757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 fontScale="90000"/>
          </a:bodyPr>
          <a:lstStyle/>
          <a:p>
            <a:r>
              <a:rPr lang="uk-UA" sz="2400" dirty="0"/>
              <a:t>Наміри переїзду в інше місто: вираженість за оцінкою можливостей </a:t>
            </a:r>
            <a:r>
              <a:rPr lang="ru-RU" sz="2400" dirty="0" err="1"/>
              <a:t>досягти</a:t>
            </a:r>
            <a:r>
              <a:rPr lang="ru-RU" sz="2400" dirty="0"/>
              <a:t> </a:t>
            </a:r>
            <a:r>
              <a:rPr lang="ru-RU" sz="2400" dirty="0" err="1"/>
              <a:t>цілей</a:t>
            </a:r>
            <a:r>
              <a:rPr lang="ru-RU" sz="2400" dirty="0"/>
              <a:t> у </a:t>
            </a:r>
            <a:r>
              <a:rPr lang="ru-RU" sz="2400" dirty="0" err="1"/>
              <a:t>місті</a:t>
            </a:r>
            <a:r>
              <a:rPr lang="ru-RU" sz="2400" dirty="0"/>
              <a:t> </a:t>
            </a:r>
            <a:r>
              <a:rPr lang="ru-RU" sz="2400" dirty="0" err="1"/>
              <a:t>Вінниця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809159-276F-958B-425F-7619BDB672AC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C7AB1B65-8DE2-B588-48C6-3E0F9F46BAB3}"/>
              </a:ext>
            </a:extLst>
          </p:cNvPr>
          <p:cNvSpPr txBox="1">
            <a:spLocks/>
          </p:cNvSpPr>
          <p:nvPr/>
        </p:nvSpPr>
        <p:spPr>
          <a:xfrm>
            <a:off x="1" y="1543032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Можливість досягти цілей у місті Вінниця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FC20827E-B679-DF18-1CE7-3D161FA65BB2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858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що планують переїзд в інше місто, дають виражено низькі оцінки можливості отримати якісну вищу освіту у Вінниці та мати цікаву роботу, а не просто бути працевлаштованим. Ті, що не впевнені щодо виїзду в інше місто, відносно більш позитивно оцінюють перспективу стати багатим, впливовим і відомим у Вінниці. Для цієї групи важливо брати участь у громадських ініціативах, проте їх оцінка реалізації можливостей участі у громадських ініціативах у Вінниці є нейтральною.</a:t>
            </a:r>
          </a:p>
        </p:txBody>
      </p:sp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F6957161-EF9C-ED6E-734A-D9E26BDEADCE}"/>
              </a:ext>
            </a:extLst>
          </p:cNvPr>
          <p:cNvGraphicFramePr>
            <a:graphicFrameLocks noGrp="1"/>
          </p:cNvGraphicFramePr>
          <p:nvPr/>
        </p:nvGraphicFramePr>
        <p:xfrm>
          <a:off x="855407" y="2203335"/>
          <a:ext cx="10451688" cy="46446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54243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659744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44744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726291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622399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DD5492E6-05C2-E378-95B2-B7AC436F5059}"/>
              </a:ext>
            </a:extLst>
          </p:cNvPr>
          <p:cNvGraphicFramePr>
            <a:graphicFrameLocks noGrp="1"/>
          </p:cNvGraphicFramePr>
          <p:nvPr/>
        </p:nvGraphicFramePr>
        <p:xfrm>
          <a:off x="4768640" y="1838196"/>
          <a:ext cx="6454329" cy="327660"/>
        </p:xfrm>
        <a:graphic>
          <a:graphicData uri="http://schemas.openxmlformats.org/drawingml/2006/table">
            <a:tbl>
              <a:tblPr firstRow="1" bandRow="1"/>
              <a:tblGrid>
                <a:gridCol w="215144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5144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5144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graphicFrame>
        <p:nvGraphicFramePr>
          <p:cNvPr id="10" name="Таблиця 9">
            <a:extLst>
              <a:ext uri="{FF2B5EF4-FFF2-40B4-BE49-F238E27FC236}">
                <a16:creationId xmlns:a16="http://schemas.microsoft.com/office/drawing/2014/main" id="{FCF1FAB4-F88A-2725-9C7F-DDB91549CEF8}"/>
              </a:ext>
            </a:extLst>
          </p:cNvPr>
          <p:cNvGraphicFramePr>
            <a:graphicFrameLocks noGrp="1"/>
          </p:cNvGraphicFramePr>
          <p:nvPr/>
        </p:nvGraphicFramePr>
        <p:xfrm>
          <a:off x="4764569" y="2203335"/>
          <a:ext cx="6458400" cy="4640409"/>
        </p:xfrm>
        <a:graphic>
          <a:graphicData uri="http://schemas.openxmlformats.org/drawingml/2006/table">
            <a:tbl>
              <a:tblPr/>
              <a:tblGrid>
                <a:gridCol w="2152800">
                  <a:extLst>
                    <a:ext uri="{9D8B030D-6E8A-4147-A177-3AD203B41FA5}">
                      <a16:colId xmlns:a16="http://schemas.microsoft.com/office/drawing/2014/main" val="3225363525"/>
                    </a:ext>
                  </a:extLst>
                </a:gridCol>
                <a:gridCol w="2152800">
                  <a:extLst>
                    <a:ext uri="{9D8B030D-6E8A-4147-A177-3AD203B41FA5}">
                      <a16:colId xmlns:a16="http://schemas.microsoft.com/office/drawing/2014/main" val="79723883"/>
                    </a:ext>
                  </a:extLst>
                </a:gridCol>
                <a:gridCol w="2152800">
                  <a:extLst>
                    <a:ext uri="{9D8B030D-6E8A-4147-A177-3AD203B41FA5}">
                      <a16:colId xmlns:a16="http://schemas.microsoft.com/office/drawing/2014/main" val="3014344459"/>
                    </a:ext>
                  </a:extLst>
                </a:gridCol>
              </a:tblGrid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1730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01187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404894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67152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12163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197836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3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5939220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34410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77222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C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16320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4061056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5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535252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835760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F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40100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C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658875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49006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C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9951692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12580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2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9877733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BCA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A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1752758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2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86670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330776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2C8E4FE-3A2D-57EC-BF2F-7F5415A096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B4ABC121-75F7-49F8-2148-F763E0008FA9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489919"/>
          <a:ext cx="12160800" cy="3943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296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81783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8780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9DD543D-589C-5797-4A5A-0E2F9907B8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DD543D-589C-5797-4A5A-0E2F9907B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8F55FB-6AB7-59DB-100A-1DD188C56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 fontScale="90000"/>
          </a:bodyPr>
          <a:lstStyle/>
          <a:p>
            <a:r>
              <a:rPr lang="uk-UA" sz="2400" dirty="0"/>
              <a:t>Наміри переїзду за кордон: розподіл за оцінкою можливостей </a:t>
            </a:r>
            <a:r>
              <a:rPr lang="ru-RU" sz="2400" dirty="0" err="1"/>
              <a:t>досягти</a:t>
            </a:r>
            <a:r>
              <a:rPr lang="ru-RU" sz="2400" dirty="0"/>
              <a:t> </a:t>
            </a:r>
            <a:r>
              <a:rPr lang="ru-RU" sz="2400" dirty="0" err="1"/>
              <a:t>цілей</a:t>
            </a:r>
            <a:r>
              <a:rPr lang="ru-RU" sz="2400" dirty="0"/>
              <a:t> у </a:t>
            </a:r>
            <a:r>
              <a:rPr lang="ru-RU" sz="2400" dirty="0" err="1"/>
              <a:t>місті</a:t>
            </a:r>
            <a:r>
              <a:rPr lang="ru-RU" sz="2400" dirty="0"/>
              <a:t> </a:t>
            </a:r>
            <a:r>
              <a:rPr lang="ru-RU" sz="2400" dirty="0" err="1"/>
              <a:t>Вінниця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E1AFDB-5EAA-BA3D-5B26-22E3240412F2}"/>
              </a:ext>
            </a:extLst>
          </p:cNvPr>
          <p:cNvSpPr txBox="1"/>
          <p:nvPr/>
        </p:nvSpPr>
        <p:spPr>
          <a:xfrm>
            <a:off x="6248400" y="6493785"/>
            <a:ext cx="54988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8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3C247B-8085-0087-BB95-0ED95D614C32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6C09150E-DD30-09FF-036F-5FAF189456A8}"/>
              </a:ext>
            </a:extLst>
          </p:cNvPr>
          <p:cNvGraphicFramePr>
            <a:graphicFrameLocks noGrp="1"/>
          </p:cNvGraphicFramePr>
          <p:nvPr/>
        </p:nvGraphicFramePr>
        <p:xfrm>
          <a:off x="3333594" y="6384626"/>
          <a:ext cx="8766216" cy="218225"/>
        </p:xfrm>
        <a:graphic>
          <a:graphicData uri="http://schemas.openxmlformats.org/drawingml/2006/table">
            <a:tbl>
              <a:tblPr firstRow="1" bandRow="1"/>
              <a:tblGrid>
                <a:gridCol w="219155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19155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19155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19155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F294B694-2534-E502-BACD-E6BC07107680}"/>
              </a:ext>
            </a:extLst>
          </p:cNvPr>
          <p:cNvGraphicFramePr/>
          <p:nvPr/>
        </p:nvGraphicFramePr>
        <p:xfrm>
          <a:off x="3372471" y="2376880"/>
          <a:ext cx="2098244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4FF779C-87AF-C2E1-1F5C-7E17C9A11ED6}"/>
              </a:ext>
            </a:extLst>
          </p:cNvPr>
          <p:cNvGraphicFramePr>
            <a:graphicFrameLocks noGrp="1"/>
          </p:cNvGraphicFramePr>
          <p:nvPr/>
        </p:nvGraphicFramePr>
        <p:xfrm>
          <a:off x="3362632" y="2142991"/>
          <a:ext cx="8737468" cy="339852"/>
        </p:xfrm>
        <a:graphic>
          <a:graphicData uri="http://schemas.openxmlformats.org/drawingml/2006/table">
            <a:tbl>
              <a:tblPr firstRow="1" bandRow="1"/>
              <a:tblGrid>
                <a:gridCol w="2184367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184367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84367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84367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04826380-BBCD-A2B2-5AEA-E60D1579F233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 lIns="3708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Можливість досягти цілей у місті Вінниця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D40B31D-BDF4-E25E-6E69-B34605109191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F1E816B9-68AB-2FBE-193E-B47ADB98D46A}"/>
              </a:ext>
            </a:extLst>
          </p:cNvPr>
          <p:cNvGraphicFramePr/>
          <p:nvPr/>
        </p:nvGraphicFramePr>
        <p:xfrm>
          <a:off x="8367252" y="1799302"/>
          <a:ext cx="3757450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E387E2C-FA39-13D0-6361-6BA657093171}"/>
              </a:ext>
            </a:extLst>
          </p:cNvPr>
          <p:cNvSpPr txBox="1">
            <a:spLocks/>
          </p:cNvSpPr>
          <p:nvPr/>
        </p:nvSpPr>
        <p:spPr>
          <a:xfrm>
            <a:off x="314631" y="750971"/>
            <a:ext cx="11562738" cy="9045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що планують виїзд за кордон, загалом гірше оцінюють можливості досягнення своїх цілей у Вінниці.</a:t>
            </a:r>
          </a:p>
          <a:p>
            <a:r>
              <a:rPr lang="uk-UA" sz="1600" dirty="0"/>
              <a:t>Ті, що планують залишатися у Вінниці, найвище оцінюють перспективу мати кохану людину та створити сім’ю.</a:t>
            </a:r>
          </a:p>
          <a:p>
            <a:r>
              <a:rPr lang="uk-UA" sz="1600" noProof="0" dirty="0"/>
              <a:t>Ті, що не визначились, відзначають можливості бути працевлаштованим, фінансово незалежним і заробити багато грошей. </a:t>
            </a:r>
          </a:p>
        </p:txBody>
      </p:sp>
      <p:graphicFrame>
        <p:nvGraphicFramePr>
          <p:cNvPr id="27" name="Диаграмма 16">
            <a:extLst>
              <a:ext uri="{FF2B5EF4-FFF2-40B4-BE49-F238E27FC236}">
                <a16:creationId xmlns:a16="http://schemas.microsoft.com/office/drawing/2014/main" id="{73D601EE-6EB6-7E98-38A2-65B53BBAF385}"/>
              </a:ext>
            </a:extLst>
          </p:cNvPr>
          <p:cNvGraphicFramePr/>
          <p:nvPr/>
        </p:nvGraphicFramePr>
        <p:xfrm>
          <a:off x="5545748" y="2382926"/>
          <a:ext cx="2098244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778FFE9D-FEB1-2801-692A-4E4D6F9B2793}"/>
              </a:ext>
            </a:extLst>
          </p:cNvPr>
          <p:cNvGraphicFramePr/>
          <p:nvPr/>
        </p:nvGraphicFramePr>
        <p:xfrm>
          <a:off x="7727440" y="2382713"/>
          <a:ext cx="2098244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38646B74-FCFC-43C1-1A52-980086CE43AC}"/>
              </a:ext>
            </a:extLst>
          </p:cNvPr>
          <p:cNvGraphicFramePr/>
          <p:nvPr/>
        </p:nvGraphicFramePr>
        <p:xfrm>
          <a:off x="9910877" y="2388759"/>
          <a:ext cx="2098244" cy="41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7" name="TextBox 56">
            <a:extLst>
              <a:ext uri="{FF2B5EF4-FFF2-40B4-BE49-F238E27FC236}">
                <a16:creationId xmlns:a16="http://schemas.microsoft.com/office/drawing/2014/main" id="{CCAF30F5-A99F-AF4F-9D90-E8F8BAA1B20E}"/>
              </a:ext>
            </a:extLst>
          </p:cNvPr>
          <p:cNvSpPr txBox="1"/>
          <p:nvPr/>
        </p:nvSpPr>
        <p:spPr>
          <a:xfrm>
            <a:off x="8587307" y="3612404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9383140-21B6-C251-236D-2FA0437EE89E}"/>
              </a:ext>
            </a:extLst>
          </p:cNvPr>
          <p:cNvSpPr txBox="1"/>
          <p:nvPr/>
        </p:nvSpPr>
        <p:spPr>
          <a:xfrm>
            <a:off x="8584394" y="267322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D32E6E70-D1BF-C763-4307-9DB9AC440F08}"/>
              </a:ext>
            </a:extLst>
          </p:cNvPr>
          <p:cNvSpPr txBox="1"/>
          <p:nvPr/>
        </p:nvSpPr>
        <p:spPr>
          <a:xfrm>
            <a:off x="6940404" y="267191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860FBDB-DB99-7D52-7BBF-7A4B3BD948D3}"/>
              </a:ext>
            </a:extLst>
          </p:cNvPr>
          <p:cNvSpPr txBox="1"/>
          <p:nvPr/>
        </p:nvSpPr>
        <p:spPr>
          <a:xfrm>
            <a:off x="7175994" y="324430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550C10A0-2CAE-33F4-6A86-83BADD280616}"/>
              </a:ext>
            </a:extLst>
          </p:cNvPr>
          <p:cNvSpPr txBox="1"/>
          <p:nvPr/>
        </p:nvSpPr>
        <p:spPr>
          <a:xfrm>
            <a:off x="10792817" y="287053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D270EAD4-9841-7E7D-197A-36D14A5532A8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7B3A15-7EAA-6F20-89F7-0D12E0DDE0BF}"/>
              </a:ext>
            </a:extLst>
          </p:cNvPr>
          <p:cNvSpPr txBox="1"/>
          <p:nvPr/>
        </p:nvSpPr>
        <p:spPr>
          <a:xfrm>
            <a:off x="8579478" y="286494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272D02-ED93-BDAC-72EA-7A40AE2629C6}"/>
              </a:ext>
            </a:extLst>
          </p:cNvPr>
          <p:cNvSpPr txBox="1"/>
          <p:nvPr/>
        </p:nvSpPr>
        <p:spPr>
          <a:xfrm>
            <a:off x="8525400" y="322382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9885E6-E24A-B43E-D3AE-51727F02B675}"/>
              </a:ext>
            </a:extLst>
          </p:cNvPr>
          <p:cNvSpPr txBox="1"/>
          <p:nvPr/>
        </p:nvSpPr>
        <p:spPr>
          <a:xfrm>
            <a:off x="8540149" y="34253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1D9D26-0D52-9B4F-BBA1-8C5B96D37B17}"/>
              </a:ext>
            </a:extLst>
          </p:cNvPr>
          <p:cNvSpPr txBox="1"/>
          <p:nvPr/>
        </p:nvSpPr>
        <p:spPr>
          <a:xfrm>
            <a:off x="8543062" y="4000778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FFB459C-61F2-252F-721E-AD90D3B7E7FF}"/>
              </a:ext>
            </a:extLst>
          </p:cNvPr>
          <p:cNvSpPr txBox="1"/>
          <p:nvPr/>
        </p:nvSpPr>
        <p:spPr>
          <a:xfrm>
            <a:off x="8429991" y="492992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43101A-8972-367D-2E36-0107F04119B7}"/>
              </a:ext>
            </a:extLst>
          </p:cNvPr>
          <p:cNvSpPr txBox="1"/>
          <p:nvPr/>
        </p:nvSpPr>
        <p:spPr>
          <a:xfrm>
            <a:off x="8346417" y="5682094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C663354-7EC2-342B-09AC-E537725B2328}"/>
              </a:ext>
            </a:extLst>
          </p:cNvPr>
          <p:cNvSpPr txBox="1"/>
          <p:nvPr/>
        </p:nvSpPr>
        <p:spPr>
          <a:xfrm>
            <a:off x="8370998" y="5873823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0FCAF9-9CFC-39C2-79AE-EDC23A024BA4}"/>
              </a:ext>
            </a:extLst>
          </p:cNvPr>
          <p:cNvSpPr txBox="1"/>
          <p:nvPr/>
        </p:nvSpPr>
        <p:spPr>
          <a:xfrm>
            <a:off x="8257927" y="6055720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4A7CA8-F474-C260-DA60-665D2211A917}"/>
              </a:ext>
            </a:extLst>
          </p:cNvPr>
          <p:cNvSpPr txBox="1"/>
          <p:nvPr/>
        </p:nvSpPr>
        <p:spPr>
          <a:xfrm>
            <a:off x="8164521" y="6257281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A533FC3-5482-C34A-5E77-9CD66B205E31}"/>
              </a:ext>
            </a:extLst>
          </p:cNvPr>
          <p:cNvSpPr txBox="1"/>
          <p:nvPr/>
        </p:nvSpPr>
        <p:spPr>
          <a:xfrm>
            <a:off x="8486072" y="380393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8D95D5-91C4-2E0F-C807-F0D4FDBC66B9}"/>
              </a:ext>
            </a:extLst>
          </p:cNvPr>
          <p:cNvSpPr txBox="1"/>
          <p:nvPr/>
        </p:nvSpPr>
        <p:spPr>
          <a:xfrm>
            <a:off x="8441827" y="418247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E6AE1B6-BE5D-3C61-067B-40049BA1EF8B}"/>
              </a:ext>
            </a:extLst>
          </p:cNvPr>
          <p:cNvSpPr txBox="1"/>
          <p:nvPr/>
        </p:nvSpPr>
        <p:spPr>
          <a:xfrm>
            <a:off x="8446743" y="43643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217EB68-0F0B-547F-8EF0-085ACE99250E}"/>
              </a:ext>
            </a:extLst>
          </p:cNvPr>
          <p:cNvSpPr txBox="1"/>
          <p:nvPr/>
        </p:nvSpPr>
        <p:spPr>
          <a:xfrm>
            <a:off x="8441827" y="455609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231640-E7FB-742E-CD4A-9A362E4F2899}"/>
              </a:ext>
            </a:extLst>
          </p:cNvPr>
          <p:cNvSpPr txBox="1"/>
          <p:nvPr/>
        </p:nvSpPr>
        <p:spPr>
          <a:xfrm>
            <a:off x="8456575" y="473799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434840D-BDF1-F067-4985-B361C5EA4176}"/>
              </a:ext>
            </a:extLst>
          </p:cNvPr>
          <p:cNvSpPr txBox="1"/>
          <p:nvPr/>
        </p:nvSpPr>
        <p:spPr>
          <a:xfrm>
            <a:off x="8402497" y="511653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B8D2FB2-36AF-3C64-E753-150AF0CD449A}"/>
              </a:ext>
            </a:extLst>
          </p:cNvPr>
          <p:cNvSpPr txBox="1"/>
          <p:nvPr/>
        </p:nvSpPr>
        <p:spPr>
          <a:xfrm>
            <a:off x="8348420" y="529843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EB65667-20E2-A968-84A1-660A1EDECFC1}"/>
              </a:ext>
            </a:extLst>
          </p:cNvPr>
          <p:cNvSpPr txBox="1"/>
          <p:nvPr/>
        </p:nvSpPr>
        <p:spPr>
          <a:xfrm>
            <a:off x="8353337" y="549999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175DE80-931B-4641-60C3-89FF7BADE52C}"/>
              </a:ext>
            </a:extLst>
          </p:cNvPr>
          <p:cNvSpPr txBox="1"/>
          <p:nvPr/>
        </p:nvSpPr>
        <p:spPr>
          <a:xfrm>
            <a:off x="10806486" y="266338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138C9C6-37E7-2E80-E3AF-2FA5D101ADA2}"/>
              </a:ext>
            </a:extLst>
          </p:cNvPr>
          <p:cNvSpPr txBox="1"/>
          <p:nvPr/>
        </p:nvSpPr>
        <p:spPr>
          <a:xfrm>
            <a:off x="10822208" y="2491278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11F9E45-E6DD-3EFB-C2D9-AFF60E21BA3E}"/>
              </a:ext>
            </a:extLst>
          </p:cNvPr>
          <p:cNvSpPr txBox="1"/>
          <p:nvPr/>
        </p:nvSpPr>
        <p:spPr>
          <a:xfrm>
            <a:off x="10777962" y="3056633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99D2B90-B754-9060-AFE8-3A660CF39137}"/>
              </a:ext>
            </a:extLst>
          </p:cNvPr>
          <p:cNvSpPr txBox="1"/>
          <p:nvPr/>
        </p:nvSpPr>
        <p:spPr>
          <a:xfrm>
            <a:off x="10699410" y="324908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5726FF4-2FFE-21DC-62B2-D71BAB43E3B3}"/>
              </a:ext>
            </a:extLst>
          </p:cNvPr>
          <p:cNvSpPr txBox="1"/>
          <p:nvPr/>
        </p:nvSpPr>
        <p:spPr>
          <a:xfrm>
            <a:off x="10684661" y="343097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2BB2536-B614-F22F-213D-A62F916CBC27}"/>
              </a:ext>
            </a:extLst>
          </p:cNvPr>
          <p:cNvSpPr txBox="1"/>
          <p:nvPr/>
        </p:nvSpPr>
        <p:spPr>
          <a:xfrm>
            <a:off x="10650248" y="362270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10CDAA8-243C-4503-38DC-48DB050DC419}"/>
              </a:ext>
            </a:extLst>
          </p:cNvPr>
          <p:cNvSpPr txBox="1"/>
          <p:nvPr/>
        </p:nvSpPr>
        <p:spPr>
          <a:xfrm>
            <a:off x="10645332" y="381443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626BF9E-4BB0-2381-2C33-503026D47C7D}"/>
              </a:ext>
            </a:extLst>
          </p:cNvPr>
          <p:cNvSpPr txBox="1"/>
          <p:nvPr/>
        </p:nvSpPr>
        <p:spPr>
          <a:xfrm>
            <a:off x="10610919" y="400616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D7A5831-38E5-7567-AFCD-C32E6DD256AB}"/>
              </a:ext>
            </a:extLst>
          </p:cNvPr>
          <p:cNvSpPr txBox="1"/>
          <p:nvPr/>
        </p:nvSpPr>
        <p:spPr>
          <a:xfrm>
            <a:off x="10606003" y="417823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BBBFCA6-1618-D5BC-40B2-3546B0B5E76A}"/>
              </a:ext>
            </a:extLst>
          </p:cNvPr>
          <p:cNvSpPr txBox="1"/>
          <p:nvPr/>
        </p:nvSpPr>
        <p:spPr>
          <a:xfrm>
            <a:off x="10601086" y="437979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B4F2A0C-79B6-66DE-ED49-C92DAF7FE1AB}"/>
              </a:ext>
            </a:extLst>
          </p:cNvPr>
          <p:cNvSpPr txBox="1"/>
          <p:nvPr/>
        </p:nvSpPr>
        <p:spPr>
          <a:xfrm>
            <a:off x="10615835" y="45616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10F7E72-68DE-A48F-250D-F48ED6092536}"/>
              </a:ext>
            </a:extLst>
          </p:cNvPr>
          <p:cNvSpPr txBox="1"/>
          <p:nvPr/>
        </p:nvSpPr>
        <p:spPr>
          <a:xfrm>
            <a:off x="10610919" y="475341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B63748A-4320-6919-D496-B6A8C4C499EC}"/>
              </a:ext>
            </a:extLst>
          </p:cNvPr>
          <p:cNvSpPr txBox="1"/>
          <p:nvPr/>
        </p:nvSpPr>
        <p:spPr>
          <a:xfrm>
            <a:off x="10527344" y="493531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38504F0-2A35-3C1E-C8E5-8238D720E02E}"/>
              </a:ext>
            </a:extLst>
          </p:cNvPr>
          <p:cNvSpPr txBox="1"/>
          <p:nvPr/>
        </p:nvSpPr>
        <p:spPr>
          <a:xfrm>
            <a:off x="10532260" y="513687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F944C86-E978-A27A-B20B-A85543286F81}"/>
              </a:ext>
            </a:extLst>
          </p:cNvPr>
          <p:cNvSpPr txBox="1"/>
          <p:nvPr/>
        </p:nvSpPr>
        <p:spPr>
          <a:xfrm>
            <a:off x="10507679" y="530893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82A9838-74AD-25A8-5F09-A237A7A1CF3B}"/>
              </a:ext>
            </a:extLst>
          </p:cNvPr>
          <p:cNvSpPr txBox="1"/>
          <p:nvPr/>
        </p:nvSpPr>
        <p:spPr>
          <a:xfrm>
            <a:off x="10453601" y="55006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C56701D-3729-27B0-B497-5DF81EFA4973}"/>
              </a:ext>
            </a:extLst>
          </p:cNvPr>
          <p:cNvSpPr txBox="1"/>
          <p:nvPr/>
        </p:nvSpPr>
        <p:spPr>
          <a:xfrm>
            <a:off x="10458518" y="569239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7D989D7-FCB2-88E8-C7B6-3ECF95D00010}"/>
              </a:ext>
            </a:extLst>
          </p:cNvPr>
          <p:cNvSpPr txBox="1"/>
          <p:nvPr/>
        </p:nvSpPr>
        <p:spPr>
          <a:xfrm>
            <a:off x="10355280" y="587429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2C61355-BECF-9439-58E7-341356A93389}"/>
              </a:ext>
            </a:extLst>
          </p:cNvPr>
          <p:cNvSpPr txBox="1"/>
          <p:nvPr/>
        </p:nvSpPr>
        <p:spPr>
          <a:xfrm>
            <a:off x="10232377" y="624300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6A5FB92-AC3B-E7E8-492D-9420B92F0FFE}"/>
              </a:ext>
            </a:extLst>
          </p:cNvPr>
          <p:cNvSpPr txBox="1"/>
          <p:nvPr/>
        </p:nvSpPr>
        <p:spPr>
          <a:xfrm>
            <a:off x="7112084" y="362284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DA71CE53-8584-EE1B-DD85-DC1C0D0FECC9}"/>
              </a:ext>
            </a:extLst>
          </p:cNvPr>
          <p:cNvSpPr txBox="1"/>
          <p:nvPr/>
        </p:nvSpPr>
        <p:spPr>
          <a:xfrm>
            <a:off x="6723710" y="586951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82FC629-3EB0-6FFF-F838-6DA73AB41B58}"/>
              </a:ext>
            </a:extLst>
          </p:cNvPr>
          <p:cNvSpPr txBox="1"/>
          <p:nvPr/>
        </p:nvSpPr>
        <p:spPr>
          <a:xfrm>
            <a:off x="6482820" y="624805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8669A3-5162-81E8-77B7-5FA2A2FAE06A}"/>
              </a:ext>
            </a:extLst>
          </p:cNvPr>
          <p:cNvSpPr txBox="1"/>
          <p:nvPr/>
        </p:nvSpPr>
        <p:spPr>
          <a:xfrm>
            <a:off x="11630007" y="362776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372AF0-110D-1E40-25A8-5329AE9674A3}"/>
              </a:ext>
            </a:extLst>
          </p:cNvPr>
          <p:cNvSpPr txBox="1"/>
          <p:nvPr/>
        </p:nvSpPr>
        <p:spPr>
          <a:xfrm>
            <a:off x="11585762" y="400630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4969516-8FD3-E256-C0A4-75D066E37B6D}"/>
              </a:ext>
            </a:extLst>
          </p:cNvPr>
          <p:cNvSpPr txBox="1"/>
          <p:nvPr/>
        </p:nvSpPr>
        <p:spPr>
          <a:xfrm>
            <a:off x="11148227" y="606616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2F66903-DBD9-24A2-DB9B-9A24BF6CE469}"/>
              </a:ext>
            </a:extLst>
          </p:cNvPr>
          <p:cNvSpPr txBox="1"/>
          <p:nvPr/>
        </p:nvSpPr>
        <p:spPr>
          <a:xfrm>
            <a:off x="11310460" y="588426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36B52E52-DE4B-F832-21B6-51526089C306}"/>
              </a:ext>
            </a:extLst>
          </p:cNvPr>
          <p:cNvSpPr txBox="1"/>
          <p:nvPr/>
        </p:nvSpPr>
        <p:spPr>
          <a:xfrm>
            <a:off x="11423531" y="568270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AF95418C-1278-3D11-6EC1-23D259031F7F}"/>
              </a:ext>
            </a:extLst>
          </p:cNvPr>
          <p:cNvSpPr txBox="1"/>
          <p:nvPr/>
        </p:nvSpPr>
        <p:spPr>
          <a:xfrm>
            <a:off x="11428447" y="550080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B7E99C0-78CD-3781-A857-673AA86E331D}"/>
              </a:ext>
            </a:extLst>
          </p:cNvPr>
          <p:cNvSpPr txBox="1"/>
          <p:nvPr/>
        </p:nvSpPr>
        <p:spPr>
          <a:xfrm>
            <a:off x="7262289" y="249370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21219C2-0801-C18E-7CBB-A3C12AA7EF71}"/>
              </a:ext>
            </a:extLst>
          </p:cNvPr>
          <p:cNvSpPr txBox="1"/>
          <p:nvPr/>
        </p:nvSpPr>
        <p:spPr>
          <a:xfrm>
            <a:off x="7178715" y="305905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0E9369DA-9BE7-06C2-B52C-EDB9785C35FE}"/>
              </a:ext>
            </a:extLst>
          </p:cNvPr>
          <p:cNvSpPr txBox="1"/>
          <p:nvPr/>
        </p:nvSpPr>
        <p:spPr>
          <a:xfrm>
            <a:off x="9425386" y="249370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66E6FF80-7BF7-32B9-9061-A5B3E26DCB54}"/>
              </a:ext>
            </a:extLst>
          </p:cNvPr>
          <p:cNvSpPr txBox="1"/>
          <p:nvPr/>
        </p:nvSpPr>
        <p:spPr>
          <a:xfrm>
            <a:off x="7112469" y="2863646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C9D0F38-ADF4-6B00-6F7E-C2D8B222488E}"/>
              </a:ext>
            </a:extLst>
          </p:cNvPr>
          <p:cNvSpPr txBox="1"/>
          <p:nvPr/>
        </p:nvSpPr>
        <p:spPr>
          <a:xfrm>
            <a:off x="6969901" y="3429001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6DD3B4F3-386E-C94A-05B6-8FA26F916161}"/>
              </a:ext>
            </a:extLst>
          </p:cNvPr>
          <p:cNvSpPr txBox="1"/>
          <p:nvPr/>
        </p:nvSpPr>
        <p:spPr>
          <a:xfrm>
            <a:off x="7112468" y="3807542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DD3E1F83-0504-9EAB-0040-9F6E1EE6179D}"/>
              </a:ext>
            </a:extLst>
          </p:cNvPr>
          <p:cNvSpPr txBox="1"/>
          <p:nvPr/>
        </p:nvSpPr>
        <p:spPr>
          <a:xfrm>
            <a:off x="6920739" y="3989439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C3E96CA2-ECF0-F73A-859B-AED8DB5B8D20}"/>
              </a:ext>
            </a:extLst>
          </p:cNvPr>
          <p:cNvSpPr txBox="1"/>
          <p:nvPr/>
        </p:nvSpPr>
        <p:spPr>
          <a:xfrm>
            <a:off x="6974816" y="4181168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0312391-AE8C-607B-6DAA-A69851ED3F28}"/>
              </a:ext>
            </a:extLst>
          </p:cNvPr>
          <p:cNvSpPr txBox="1"/>
          <p:nvPr/>
        </p:nvSpPr>
        <p:spPr>
          <a:xfrm>
            <a:off x="6999397" y="437289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7071B2F-5E10-113D-D766-4D2C1BF9FF92}"/>
              </a:ext>
            </a:extLst>
          </p:cNvPr>
          <p:cNvSpPr txBox="1"/>
          <p:nvPr/>
        </p:nvSpPr>
        <p:spPr>
          <a:xfrm>
            <a:off x="6896158" y="4554794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ED1D36F-D667-A864-6B35-16EE9E3B98B7}"/>
              </a:ext>
            </a:extLst>
          </p:cNvPr>
          <p:cNvSpPr txBox="1"/>
          <p:nvPr/>
        </p:nvSpPr>
        <p:spPr>
          <a:xfrm>
            <a:off x="6822416" y="4746523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090CED7-D444-EDD3-D2CB-3C0A89A387CA}"/>
              </a:ext>
            </a:extLst>
          </p:cNvPr>
          <p:cNvSpPr txBox="1"/>
          <p:nvPr/>
        </p:nvSpPr>
        <p:spPr>
          <a:xfrm>
            <a:off x="6807668" y="4938252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0670AA0C-58EF-99B4-1136-FFF1EC330019}"/>
              </a:ext>
            </a:extLst>
          </p:cNvPr>
          <p:cNvSpPr txBox="1"/>
          <p:nvPr/>
        </p:nvSpPr>
        <p:spPr>
          <a:xfrm>
            <a:off x="6901075" y="5120149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9F1F7F9-F122-1E9C-BECC-21835277AF30}"/>
              </a:ext>
            </a:extLst>
          </p:cNvPr>
          <p:cNvSpPr txBox="1"/>
          <p:nvPr/>
        </p:nvSpPr>
        <p:spPr>
          <a:xfrm>
            <a:off x="6788004" y="5508523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17615BB0-F9D1-2DAB-0405-B489D3F98373}"/>
              </a:ext>
            </a:extLst>
          </p:cNvPr>
          <p:cNvSpPr txBox="1"/>
          <p:nvPr/>
        </p:nvSpPr>
        <p:spPr>
          <a:xfrm>
            <a:off x="6655269" y="568058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46B9E559-EDDB-32E9-E565-52F206A58D37}"/>
              </a:ext>
            </a:extLst>
          </p:cNvPr>
          <p:cNvSpPr txBox="1"/>
          <p:nvPr/>
        </p:nvSpPr>
        <p:spPr>
          <a:xfrm>
            <a:off x="9425328" y="304780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3E4993F-6900-2586-D0C9-B46CC0D18A77}"/>
              </a:ext>
            </a:extLst>
          </p:cNvPr>
          <p:cNvSpPr txBox="1"/>
          <p:nvPr/>
        </p:nvSpPr>
        <p:spPr>
          <a:xfrm>
            <a:off x="7404857" y="267560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CE037E6-EA71-4811-1C34-5B2C131BF794}"/>
              </a:ext>
            </a:extLst>
          </p:cNvPr>
          <p:cNvSpPr txBox="1"/>
          <p:nvPr/>
        </p:nvSpPr>
        <p:spPr>
          <a:xfrm>
            <a:off x="7380277" y="369323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E60352B-84D5-B662-04DE-DCEE624A608D}"/>
              </a:ext>
            </a:extLst>
          </p:cNvPr>
          <p:cNvSpPr txBox="1"/>
          <p:nvPr/>
        </p:nvSpPr>
        <p:spPr>
          <a:xfrm>
            <a:off x="9548290" y="274442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BBC7A419-ED80-107F-5604-30345B8A2A47}"/>
              </a:ext>
            </a:extLst>
          </p:cNvPr>
          <p:cNvSpPr txBox="1"/>
          <p:nvPr/>
        </p:nvSpPr>
        <p:spPr>
          <a:xfrm>
            <a:off x="11762742" y="625789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C28555A9-4B79-50B2-E5A6-69645A352BD4}"/>
              </a:ext>
            </a:extLst>
          </p:cNvPr>
          <p:cNvSpPr txBox="1"/>
          <p:nvPr/>
        </p:nvSpPr>
        <p:spPr>
          <a:xfrm>
            <a:off x="7402135" y="330329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9C39DFF2-5316-01A3-E847-93117ECF17BC}"/>
              </a:ext>
            </a:extLst>
          </p:cNvPr>
          <p:cNvSpPr txBox="1"/>
          <p:nvPr/>
        </p:nvSpPr>
        <p:spPr>
          <a:xfrm>
            <a:off x="7407051" y="493053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39B9FE1C-0541-706C-B70A-E1A9F8CB6A8F}"/>
              </a:ext>
            </a:extLst>
          </p:cNvPr>
          <p:cNvSpPr txBox="1"/>
          <p:nvPr/>
        </p:nvSpPr>
        <p:spPr>
          <a:xfrm>
            <a:off x="7372639" y="625297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613C9B4-1555-7E3B-EFEB-0F868EA0816A}"/>
              </a:ext>
            </a:extLst>
          </p:cNvPr>
          <p:cNvSpPr txBox="1"/>
          <p:nvPr/>
        </p:nvSpPr>
        <p:spPr>
          <a:xfrm>
            <a:off x="7250120" y="3512575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A9B15AD2-FE0D-134D-598B-E896CC9B0BA5}"/>
              </a:ext>
            </a:extLst>
          </p:cNvPr>
          <p:cNvSpPr txBox="1"/>
          <p:nvPr/>
        </p:nvSpPr>
        <p:spPr>
          <a:xfrm>
            <a:off x="7304198" y="4628536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70E75592-6521-DE06-631F-716D2547FF19}"/>
              </a:ext>
            </a:extLst>
          </p:cNvPr>
          <p:cNvSpPr txBox="1"/>
          <p:nvPr/>
        </p:nvSpPr>
        <p:spPr>
          <a:xfrm>
            <a:off x="7259953" y="4820265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801380F2-3257-9068-4D92-957A70457F12}"/>
              </a:ext>
            </a:extLst>
          </p:cNvPr>
          <p:cNvSpPr txBox="1"/>
          <p:nvPr/>
        </p:nvSpPr>
        <p:spPr>
          <a:xfrm>
            <a:off x="7235372" y="5375787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E0DB4509-8595-BB09-2175-6EE162496687}"/>
              </a:ext>
            </a:extLst>
          </p:cNvPr>
          <p:cNvSpPr txBox="1"/>
          <p:nvPr/>
        </p:nvSpPr>
        <p:spPr>
          <a:xfrm>
            <a:off x="7289449" y="5567516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B6E50DD-9680-1A39-A769-F166CD2B8968}"/>
              </a:ext>
            </a:extLst>
          </p:cNvPr>
          <p:cNvSpPr txBox="1"/>
          <p:nvPr/>
        </p:nvSpPr>
        <p:spPr>
          <a:xfrm>
            <a:off x="7255036" y="5739581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78C24B9B-5732-C58F-36A3-0B2CFE374F5E}"/>
              </a:ext>
            </a:extLst>
          </p:cNvPr>
          <p:cNvSpPr txBox="1"/>
          <p:nvPr/>
        </p:nvSpPr>
        <p:spPr>
          <a:xfrm>
            <a:off x="7220623" y="5941142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D9642B43-CD47-B08D-2BB0-21A572522DA9}"/>
              </a:ext>
            </a:extLst>
          </p:cNvPr>
          <p:cNvSpPr txBox="1"/>
          <p:nvPr/>
        </p:nvSpPr>
        <p:spPr>
          <a:xfrm>
            <a:off x="7274700" y="6064045"/>
            <a:ext cx="43939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62C4C934-4ADD-490E-0114-25941E4D52C9}"/>
              </a:ext>
            </a:extLst>
          </p:cNvPr>
          <p:cNvSpPr txBox="1"/>
          <p:nvPr/>
        </p:nvSpPr>
        <p:spPr>
          <a:xfrm>
            <a:off x="7395025" y="424876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72120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9BD74B0-5BA7-9B15-6CE2-5C6A48F506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067FBF6-D0BB-8E28-5E6F-35FDCE85B9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67FBF6-D0BB-8E28-5E6F-35FDCE85B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23231A-17C3-6855-1F18-8F4D583C1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 fontScale="90000"/>
          </a:bodyPr>
          <a:lstStyle/>
          <a:p>
            <a:r>
              <a:rPr lang="uk-UA" sz="2400" dirty="0"/>
              <a:t>Наміри переїзду за кордон: вираженість за оцінкою можливостей </a:t>
            </a:r>
            <a:r>
              <a:rPr lang="ru-RU" sz="2400" dirty="0" err="1"/>
              <a:t>досягти</a:t>
            </a:r>
            <a:r>
              <a:rPr lang="ru-RU" sz="2400" dirty="0"/>
              <a:t> </a:t>
            </a:r>
            <a:r>
              <a:rPr lang="ru-RU" sz="2400" dirty="0" err="1"/>
              <a:t>цілей</a:t>
            </a:r>
            <a:r>
              <a:rPr lang="ru-RU" sz="2400" dirty="0"/>
              <a:t> у </a:t>
            </a:r>
            <a:r>
              <a:rPr lang="ru-RU" sz="2400" dirty="0" err="1"/>
              <a:t>місті</a:t>
            </a:r>
            <a:r>
              <a:rPr lang="ru-RU" sz="2400" dirty="0"/>
              <a:t> </a:t>
            </a:r>
            <a:r>
              <a:rPr lang="ru-RU" sz="2400" dirty="0" err="1"/>
              <a:t>Вінниця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B34C80-124B-EBDE-8F31-36944D8BD7E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1462DAA7-C698-58A9-1F6E-A0CF4A7BCDA4}"/>
              </a:ext>
            </a:extLst>
          </p:cNvPr>
          <p:cNvSpPr txBox="1">
            <a:spLocks/>
          </p:cNvSpPr>
          <p:nvPr/>
        </p:nvSpPr>
        <p:spPr>
          <a:xfrm>
            <a:off x="1" y="1543032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Можливість досягти цілей у місті Вінниця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5F72CAC-790B-224F-C617-1857E3282D40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900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що планують переїзд за кордон, погоджуються, що у Вінниці можна знайти кохану людину, створити сім’ю і бути працевлаштованим. Проте вони гірші оцінюють можливості стати фінансово незалежними, зробити кар’єру, створити власний бізнес. Ті, що мають наміри залишатися в Україні, найбільш критично оцінюють можливості бути працевлаштованим і заробити багато грошей, однак для них ці цілі не є найбільш важливими</a:t>
            </a:r>
          </a:p>
        </p:txBody>
      </p:sp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27F191D2-68AC-1FDE-6B2A-540382281E36}"/>
              </a:ext>
            </a:extLst>
          </p:cNvPr>
          <p:cNvGraphicFramePr>
            <a:graphicFrameLocks noGrp="1"/>
          </p:cNvGraphicFramePr>
          <p:nvPr/>
        </p:nvGraphicFramePr>
        <p:xfrm>
          <a:off x="855407" y="2203335"/>
          <a:ext cx="10451688" cy="46446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54243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659744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кохану люд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ростити і виховати дитин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44744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приємному, привабливом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726291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сім'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622399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омагати іншим людям, які цього потребую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ий автомобіл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працевлаштова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вивати 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фінансово незалежн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у безпеці, не боятися за власне життя і життя роди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різноманітне і цікаве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цікаву роботу, що дає відчуття сенсу і надихає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римати якісну вищу осві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ти у місті, де є багато можливос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ати участь у громадських ініціативах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робити успішну кар'єру, досягти високої посади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ворити і розвивати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ти багатим, заробляти багато грош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ти відоми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21176">
                <a:tc>
                  <a:txBody>
                    <a:bodyPr/>
                    <a:lstStyle/>
                    <a:p>
                      <a:pPr algn="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и владу і впли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9A9519E7-37A1-9E98-2070-30CCBBA3B0A5}"/>
              </a:ext>
            </a:extLst>
          </p:cNvPr>
          <p:cNvGraphicFramePr>
            <a:graphicFrameLocks noGrp="1"/>
          </p:cNvGraphicFramePr>
          <p:nvPr/>
        </p:nvGraphicFramePr>
        <p:xfrm>
          <a:off x="4768640" y="1838196"/>
          <a:ext cx="6454329" cy="339852"/>
        </p:xfrm>
        <a:graphic>
          <a:graphicData uri="http://schemas.openxmlformats.org/drawingml/2006/table">
            <a:tbl>
              <a:tblPr firstRow="1" bandRow="1"/>
              <a:tblGrid>
                <a:gridCol w="2151443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51443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51443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graphicFrame>
        <p:nvGraphicFramePr>
          <p:cNvPr id="11" name="Таблиця 10">
            <a:extLst>
              <a:ext uri="{FF2B5EF4-FFF2-40B4-BE49-F238E27FC236}">
                <a16:creationId xmlns:a16="http://schemas.microsoft.com/office/drawing/2014/main" id="{809CC8DF-870C-5883-54B3-9757E15974FC}"/>
              </a:ext>
            </a:extLst>
          </p:cNvPr>
          <p:cNvGraphicFramePr>
            <a:graphicFrameLocks noGrp="1"/>
          </p:cNvGraphicFramePr>
          <p:nvPr/>
        </p:nvGraphicFramePr>
        <p:xfrm>
          <a:off x="4764569" y="2203335"/>
          <a:ext cx="6458400" cy="4640400"/>
        </p:xfrm>
        <a:graphic>
          <a:graphicData uri="http://schemas.openxmlformats.org/drawingml/2006/table">
            <a:tbl>
              <a:tblPr/>
              <a:tblGrid>
                <a:gridCol w="2152800">
                  <a:extLst>
                    <a:ext uri="{9D8B030D-6E8A-4147-A177-3AD203B41FA5}">
                      <a16:colId xmlns:a16="http://schemas.microsoft.com/office/drawing/2014/main" val="1133180822"/>
                    </a:ext>
                  </a:extLst>
                </a:gridCol>
                <a:gridCol w="2152800">
                  <a:extLst>
                    <a:ext uri="{9D8B030D-6E8A-4147-A177-3AD203B41FA5}">
                      <a16:colId xmlns:a16="http://schemas.microsoft.com/office/drawing/2014/main" val="490085130"/>
                    </a:ext>
                  </a:extLst>
                </a:gridCol>
                <a:gridCol w="2152800">
                  <a:extLst>
                    <a:ext uri="{9D8B030D-6E8A-4147-A177-3AD203B41FA5}">
                      <a16:colId xmlns:a16="http://schemas.microsoft.com/office/drawing/2014/main" val="840220177"/>
                    </a:ext>
                  </a:extLst>
                </a:gridCol>
              </a:tblGrid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9C0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837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99875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304773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98825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988743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50859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56652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4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588780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0542316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8D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550975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16192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7367329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896508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6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59243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3254430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6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499255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406656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8409510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381331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9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400" b="1" i="0" u="none" strike="noStrike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1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2380987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2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C87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6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0137020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1,4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897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C97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100" b="0" i="0" u="none" strike="noStrike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0,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98703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142026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809C69-8BB3-175C-9C0D-53EA69CA12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9E26973-C102-2C00-6D7C-72B84C7E8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26973-C102-2C00-6D7C-72B84C7E8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3DA123-742E-7CC2-A1A3-030789988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орівняння важливості цілей і можливостей їх досягти у Вінниці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CA007-6557-9552-573C-D1B58B6D64C5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C88781-C257-BBE8-3D63-C45D03578292}"/>
              </a:ext>
            </a:extLst>
          </p:cNvPr>
          <p:cNvSpPr txBox="1"/>
          <p:nvPr/>
        </p:nvSpPr>
        <p:spPr>
          <a:xfrm>
            <a:off x="6292644" y="6237489"/>
            <a:ext cx="54546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7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.</a:t>
            </a:r>
          </a:p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8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.</a:t>
            </a:r>
          </a:p>
        </p:txBody>
      </p:sp>
      <p:graphicFrame>
        <p:nvGraphicFramePr>
          <p:cNvPr id="8" name="Chart 1">
            <a:extLst>
              <a:ext uri="{FF2B5EF4-FFF2-40B4-BE49-F238E27FC236}">
                <a16:creationId xmlns:a16="http://schemas.microsoft.com/office/drawing/2014/main" id="{45CB5E05-C2E9-7B4A-67D6-205D1CE464CE}"/>
              </a:ext>
            </a:extLst>
          </p:cNvPr>
          <p:cNvGraphicFramePr/>
          <p:nvPr/>
        </p:nvGraphicFramePr>
        <p:xfrm>
          <a:off x="2106125" y="1771758"/>
          <a:ext cx="9249927" cy="4048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CBECC7A-7424-6787-AAA7-34EF1409CA10}"/>
              </a:ext>
            </a:extLst>
          </p:cNvPr>
          <p:cNvSpPr txBox="1"/>
          <p:nvPr/>
        </p:nvSpPr>
        <p:spPr>
          <a:xfrm rot="16200000">
            <a:off x="-125677" y="3621392"/>
            <a:ext cx="40686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Важливість ці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E83F1E-F892-D65D-42A7-152659264FB8}"/>
              </a:ext>
            </a:extLst>
          </p:cNvPr>
          <p:cNvSpPr txBox="1"/>
          <p:nvPr/>
        </p:nvSpPr>
        <p:spPr>
          <a:xfrm>
            <a:off x="2106125" y="5858862"/>
            <a:ext cx="92499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400" i="1" kern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Можливість досягти цілей у місті Вінниц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10D4D2-6508-2FC4-4ADC-3E161A9FF492}"/>
              </a:ext>
            </a:extLst>
          </p:cNvPr>
          <p:cNvSpPr txBox="1"/>
          <p:nvPr/>
        </p:nvSpPr>
        <p:spPr>
          <a:xfrm>
            <a:off x="94500" y="1736436"/>
            <a:ext cx="154748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600" b="1" noProof="0">
                <a:solidFill>
                  <a:srgbClr val="FF0000"/>
                </a:solidFill>
                <a:latin typeface="Aptos" panose="02110004020202020204"/>
              </a:rPr>
              <a:t>Планують переїзд у інше місто України в майбутньому 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EDAAC6E-9CAE-BF3C-49B4-23FABDDA80C7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600" dirty="0">
                <a:solidFill>
                  <a:prstClr val="black"/>
                </a:solidFill>
                <a:latin typeface="Aptos Display" panose="02110004020202020204"/>
              </a:rPr>
              <a:t>Ті, хто планує переїзд у інше місто, дають низькі оцінки можливостям досягнення таких найважливіших для них цілей у Вінниці: мати цікаву роботу, зробити успішну кар’єру, бути багатим, мати власне житло і цікаве дозвілля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8B189D-F6AA-2C01-E538-E7DFB174FF78}"/>
              </a:ext>
            </a:extLst>
          </p:cNvPr>
          <p:cNvSpPr txBox="1"/>
          <p:nvPr/>
        </p:nvSpPr>
        <p:spPr>
          <a:xfrm>
            <a:off x="94500" y="6049591"/>
            <a:ext cx="2855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900" b="0" i="1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itchFamily="34" charset="0"/>
              </a:rPr>
              <a:t>показано оцінки 6+7, де 7 - найбільш важлива ціль / повністю зможете досягти цих цілей у місті Вінниця</a:t>
            </a:r>
          </a:p>
        </p:txBody>
      </p:sp>
    </p:spTree>
    <p:extLst>
      <p:ext uri="{BB962C8B-B14F-4D97-AF65-F5344CB8AC3E}">
        <p14:creationId xmlns:p14="http://schemas.microsoft.com/office/powerpoint/2010/main" val="839452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D799DA0-558A-B80E-2038-22F068CAA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ED24F32-E097-B4B9-7D2D-7AAC49802E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D24F32-E097-B4B9-7D2D-7AAC49802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773960-6F4C-D176-30F8-05535BC28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Наявність дітей до 16-ти років та сімейний статус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71CE26-A90E-993A-BF4F-E81326654623}"/>
              </a:ext>
            </a:extLst>
          </p:cNvPr>
          <p:cNvSpPr txBox="1"/>
          <p:nvPr/>
        </p:nvSpPr>
        <p:spPr>
          <a:xfrm>
            <a:off x="8003458" y="6620951"/>
            <a:ext cx="37438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S7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Чи маєте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дітей віком до 16 років?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 </a:t>
            </a: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S8.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Який Ваш сімейний статус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F07E55-31A4-0733-7A34-312F375A2C4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DE18D8AF-AB40-055F-C4BA-6378F1A75E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4655094"/>
              </p:ext>
            </p:extLst>
          </p:nvPr>
        </p:nvGraphicFramePr>
        <p:xfrm>
          <a:off x="4041058" y="3866274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3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5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0A1BBD32-ED33-A2D0-B6E5-AF46179626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1484580"/>
              </p:ext>
            </p:extLst>
          </p:nvPr>
        </p:nvGraphicFramePr>
        <p:xfrm>
          <a:off x="39329" y="2821265"/>
          <a:ext cx="12142312" cy="10664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дошкільного в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шкільного в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шкільного та дошкільного ві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5F837D3F-7627-BBAF-2B58-631A67772F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4907666"/>
              </p:ext>
            </p:extLst>
          </p:nvPr>
        </p:nvGraphicFramePr>
        <p:xfrm>
          <a:off x="4043234" y="2778585"/>
          <a:ext cx="1548000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CFF9F2D0-BB0F-F1E4-1A47-AF64DCEDE0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175488"/>
              </p:ext>
            </p:extLst>
          </p:nvPr>
        </p:nvGraphicFramePr>
        <p:xfrm>
          <a:off x="4041058" y="2536281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D1DF7E0B-9A2E-F8D8-D4FD-CD3A6D43C9D9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наявністю дітей до 16-ти років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EAD82FA0-AF04-0940-1A03-7AB441E291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3366826"/>
              </p:ext>
            </p:extLst>
          </p:nvPr>
        </p:nvGraphicFramePr>
        <p:xfrm>
          <a:off x="5654368" y="2781437"/>
          <a:ext cx="1548000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49B830E6-9E45-5ABA-A680-710BA9203B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7066166"/>
              </p:ext>
            </p:extLst>
          </p:nvPr>
        </p:nvGraphicFramePr>
        <p:xfrm>
          <a:off x="7285848" y="2775733"/>
          <a:ext cx="1548000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1DF7332D-25EB-66A5-34DC-11B088413D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1830778"/>
              </p:ext>
            </p:extLst>
          </p:nvPr>
        </p:nvGraphicFramePr>
        <p:xfrm>
          <a:off x="8916644" y="2778585"/>
          <a:ext cx="1548000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1B136038-0B78-FE1D-9222-1A5E4058BE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7313672"/>
              </p:ext>
            </p:extLst>
          </p:nvPr>
        </p:nvGraphicFramePr>
        <p:xfrm>
          <a:off x="10530361" y="2775733"/>
          <a:ext cx="1548000" cy="1122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1873CD87-859A-DF3F-DC93-B8A83F4A99F1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92E2A6-6FC7-4E05-7155-03E1FB462F55}"/>
              </a:ext>
            </a:extLst>
          </p:cNvPr>
          <p:cNvSpPr txBox="1"/>
          <p:nvPr/>
        </p:nvSpPr>
        <p:spPr bwMode="gray">
          <a:xfrm>
            <a:off x="70089" y="2598297"/>
            <a:ext cx="18177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 віком від 18 років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AEA9DA6-4CD2-EB5F-766D-A24AB41BAE80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Загалом у цільовій аудиторії 38% мають дітей. Молоді люди з дітьми сконцентровані у віковій групі 30-35 років. Серед опитаних віком 30-35 років 64% мають дітей. У цій віковій групі також зосереджено найбільший відсоток опитаних, які перебувають в офіційно зареєстрованому шлюбі. Частка цивільних (незареєстрованих) </a:t>
            </a:r>
            <a:r>
              <a:rPr lang="uk-UA" sz="1600" noProof="0" dirty="0" err="1"/>
              <a:t>партнерств</a:t>
            </a:r>
            <a:r>
              <a:rPr lang="uk-UA" sz="1600" noProof="0" dirty="0"/>
              <a:t> є найбільшою у віковій групі 20-24 роки.  </a:t>
            </a:r>
          </a:p>
          <a:p>
            <a:endParaRPr lang="uk-UA" sz="1600" noProof="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810028A-60FB-AE96-DF30-FC54E572A984}"/>
              </a:ext>
            </a:extLst>
          </p:cNvPr>
          <p:cNvSpPr txBox="1"/>
          <p:nvPr/>
        </p:nvSpPr>
        <p:spPr>
          <a:xfrm>
            <a:off x="11206575" y="308712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E47054-61A0-1D06-3E93-1B540647F960}"/>
              </a:ext>
            </a:extLst>
          </p:cNvPr>
          <p:cNvSpPr txBox="1"/>
          <p:nvPr/>
        </p:nvSpPr>
        <p:spPr>
          <a:xfrm>
            <a:off x="9490846" y="31117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F653D1C-1E8D-4E99-216B-F99EB8C59BE6}"/>
              </a:ext>
            </a:extLst>
          </p:cNvPr>
          <p:cNvSpPr txBox="1"/>
          <p:nvPr/>
        </p:nvSpPr>
        <p:spPr>
          <a:xfrm>
            <a:off x="10016872" y="283148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8E0B5BC-0581-CB57-1563-ADDD13BEEBE9}"/>
              </a:ext>
            </a:extLst>
          </p:cNvPr>
          <p:cNvSpPr txBox="1"/>
          <p:nvPr/>
        </p:nvSpPr>
        <p:spPr>
          <a:xfrm>
            <a:off x="11073839" y="33870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BB314E2-1DBF-7588-F4E6-D9A0D43C4DB2}"/>
              </a:ext>
            </a:extLst>
          </p:cNvPr>
          <p:cNvSpPr txBox="1"/>
          <p:nvPr/>
        </p:nvSpPr>
        <p:spPr>
          <a:xfrm>
            <a:off x="11000098" y="364756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347CCD-6C51-B977-B0ED-FC4B4638499B}"/>
              </a:ext>
            </a:extLst>
          </p:cNvPr>
          <p:cNvSpPr txBox="1"/>
          <p:nvPr/>
        </p:nvSpPr>
        <p:spPr>
          <a:xfrm>
            <a:off x="6749677" y="2961616"/>
            <a:ext cx="58518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15B015D-53A1-F0CC-3204-79E8EBDCE57A}"/>
              </a:ext>
            </a:extLst>
          </p:cNvPr>
          <p:cNvSpPr txBox="1"/>
          <p:nvPr/>
        </p:nvSpPr>
        <p:spPr>
          <a:xfrm>
            <a:off x="8320807" y="2954389"/>
            <a:ext cx="515627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41" name="Table 9">
            <a:extLst>
              <a:ext uri="{FF2B5EF4-FFF2-40B4-BE49-F238E27FC236}">
                <a16:creationId xmlns:a16="http://schemas.microsoft.com/office/drawing/2014/main" id="{8E8C3479-D34D-8492-6ED3-2AF5EE6392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7988947"/>
              </p:ext>
            </p:extLst>
          </p:nvPr>
        </p:nvGraphicFramePr>
        <p:xfrm>
          <a:off x="4032950" y="6275374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3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5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42" name="Table 7">
            <a:extLst>
              <a:ext uri="{FF2B5EF4-FFF2-40B4-BE49-F238E27FC236}">
                <a16:creationId xmlns:a16="http://schemas.microsoft.com/office/drawing/2014/main" id="{3FA24C9D-590E-0B3E-2244-F047D1290F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93670"/>
              </p:ext>
            </p:extLst>
          </p:nvPr>
        </p:nvGraphicFramePr>
        <p:xfrm>
          <a:off x="31221" y="4955064"/>
          <a:ext cx="12142312" cy="1333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дружений / незаміж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офіційно зареєстрованому шлюб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4940905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ивемо разом, але без реєстра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лучений /на, не живемо разо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43" name="Диаграмма 16">
            <a:extLst>
              <a:ext uri="{FF2B5EF4-FFF2-40B4-BE49-F238E27FC236}">
                <a16:creationId xmlns:a16="http://schemas.microsoft.com/office/drawing/2014/main" id="{CC62D6EE-CA1D-92E7-47CB-ADE1AE9B61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0297413"/>
              </p:ext>
            </p:extLst>
          </p:nvPr>
        </p:nvGraphicFramePr>
        <p:xfrm>
          <a:off x="4035126" y="4912383"/>
          <a:ext cx="1548000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4" name="Table 2">
            <a:extLst>
              <a:ext uri="{FF2B5EF4-FFF2-40B4-BE49-F238E27FC236}">
                <a16:creationId xmlns:a16="http://schemas.microsoft.com/office/drawing/2014/main" id="{7921983F-ECFC-532A-DA26-709B9783A8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9285625"/>
              </p:ext>
            </p:extLst>
          </p:nvPr>
        </p:nvGraphicFramePr>
        <p:xfrm>
          <a:off x="4032950" y="4670080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45" name="Title 1">
            <a:extLst>
              <a:ext uri="{FF2B5EF4-FFF2-40B4-BE49-F238E27FC236}">
                <a16:creationId xmlns:a16="http://schemas.microsoft.com/office/drawing/2014/main" id="{9070F66B-54CF-A5A8-8EF7-AC74E29ED761}"/>
              </a:ext>
            </a:extLst>
          </p:cNvPr>
          <p:cNvSpPr txBox="1">
            <a:spLocks/>
          </p:cNvSpPr>
          <p:nvPr/>
        </p:nvSpPr>
        <p:spPr>
          <a:xfrm>
            <a:off x="-8107" y="433558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Розподіл опитаних за сімейним статусом</a:t>
            </a:r>
          </a:p>
        </p:txBody>
      </p:sp>
      <p:graphicFrame>
        <p:nvGraphicFramePr>
          <p:cNvPr id="46" name="Диаграмма 16">
            <a:extLst>
              <a:ext uri="{FF2B5EF4-FFF2-40B4-BE49-F238E27FC236}">
                <a16:creationId xmlns:a16="http://schemas.microsoft.com/office/drawing/2014/main" id="{4949C799-B64F-FDAF-53AD-E268FF088F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8484834"/>
              </p:ext>
            </p:extLst>
          </p:nvPr>
        </p:nvGraphicFramePr>
        <p:xfrm>
          <a:off x="5646260" y="4915235"/>
          <a:ext cx="1548000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7" name="Диаграмма 16">
            <a:extLst>
              <a:ext uri="{FF2B5EF4-FFF2-40B4-BE49-F238E27FC236}">
                <a16:creationId xmlns:a16="http://schemas.microsoft.com/office/drawing/2014/main" id="{1DFFE18A-171F-65DE-AB6B-E722F25EFB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2418492"/>
              </p:ext>
            </p:extLst>
          </p:nvPr>
        </p:nvGraphicFramePr>
        <p:xfrm>
          <a:off x="7277740" y="4909531"/>
          <a:ext cx="1548000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8" name="Диаграмма 16">
            <a:extLst>
              <a:ext uri="{FF2B5EF4-FFF2-40B4-BE49-F238E27FC236}">
                <a16:creationId xmlns:a16="http://schemas.microsoft.com/office/drawing/2014/main" id="{9E382BBC-B5E7-E815-D111-10131314CF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9345948"/>
              </p:ext>
            </p:extLst>
          </p:nvPr>
        </p:nvGraphicFramePr>
        <p:xfrm>
          <a:off x="8908536" y="4912383"/>
          <a:ext cx="1548000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57" name="Диаграмма 16">
            <a:extLst>
              <a:ext uri="{FF2B5EF4-FFF2-40B4-BE49-F238E27FC236}">
                <a16:creationId xmlns:a16="http://schemas.microsoft.com/office/drawing/2014/main" id="{994C456E-6CBF-7D99-4482-AF5B16E222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2339309"/>
              </p:ext>
            </p:extLst>
          </p:nvPr>
        </p:nvGraphicFramePr>
        <p:xfrm>
          <a:off x="10522253" y="4909531"/>
          <a:ext cx="1548000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4692D7F3-D53E-446B-059A-A78496A09B0A}"/>
              </a:ext>
            </a:extLst>
          </p:cNvPr>
          <p:cNvSpPr txBox="1"/>
          <p:nvPr/>
        </p:nvSpPr>
        <p:spPr bwMode="gray">
          <a:xfrm>
            <a:off x="61981" y="4732096"/>
            <a:ext cx="18177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 віком від 18 років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8387D6E-CEEC-0769-788D-E2A174C8079C}"/>
              </a:ext>
            </a:extLst>
          </p:cNvPr>
          <p:cNvSpPr txBox="1"/>
          <p:nvPr/>
        </p:nvSpPr>
        <p:spPr>
          <a:xfrm>
            <a:off x="6725096" y="5090300"/>
            <a:ext cx="58518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3E5AB94-683F-8E75-9A37-C0B2756CEBF4}"/>
              </a:ext>
            </a:extLst>
          </p:cNvPr>
          <p:cNvSpPr txBox="1"/>
          <p:nvPr/>
        </p:nvSpPr>
        <p:spPr>
          <a:xfrm>
            <a:off x="8325723" y="4965086"/>
            <a:ext cx="515627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9BF8322-31AD-5A01-5B86-ADD3E972A0A2}"/>
              </a:ext>
            </a:extLst>
          </p:cNvPr>
          <p:cNvSpPr txBox="1"/>
          <p:nvPr/>
        </p:nvSpPr>
        <p:spPr>
          <a:xfrm>
            <a:off x="7789865" y="5500944"/>
            <a:ext cx="515627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1010F4F-675A-853A-A3C9-A48463B49A83}"/>
              </a:ext>
            </a:extLst>
          </p:cNvPr>
          <p:cNvSpPr txBox="1"/>
          <p:nvPr/>
        </p:nvSpPr>
        <p:spPr>
          <a:xfrm>
            <a:off x="9736653" y="497983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DD44D-0619-4112-310E-6A9C0E1AED47}"/>
              </a:ext>
            </a:extLst>
          </p:cNvPr>
          <p:cNvSpPr txBox="1"/>
          <p:nvPr/>
        </p:nvSpPr>
        <p:spPr>
          <a:xfrm>
            <a:off x="9721904" y="524039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B516EEC-7B44-0F15-13D0-3072CECB2FE1}"/>
              </a:ext>
            </a:extLst>
          </p:cNvPr>
          <p:cNvSpPr txBox="1"/>
          <p:nvPr/>
        </p:nvSpPr>
        <p:spPr>
          <a:xfrm>
            <a:off x="10828033" y="577624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87DB540-E45C-FC06-4907-B735CDC34B00}"/>
              </a:ext>
            </a:extLst>
          </p:cNvPr>
          <p:cNvSpPr txBox="1"/>
          <p:nvPr/>
        </p:nvSpPr>
        <p:spPr>
          <a:xfrm>
            <a:off x="11599865" y="5230558"/>
            <a:ext cx="47738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814619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725042-0F9F-AF54-E35C-2014FE8176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04E5BA-DC23-5C1F-3592-6D7323DA8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04E5BA-DC23-5C1F-3592-6D7323DA8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CE6519E-92B1-DDA7-BCD0-AB63DEDAE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Порівняння важливості цілей і можливостей їх досягти у Вінниці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624634-04CD-D547-6A1F-0C64273AB77A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2BC495-06C0-F9B7-D89B-739D198B7CE7}"/>
              </a:ext>
            </a:extLst>
          </p:cNvPr>
          <p:cNvSpPr txBox="1"/>
          <p:nvPr/>
        </p:nvSpPr>
        <p:spPr>
          <a:xfrm>
            <a:off x="6292644" y="6237489"/>
            <a:ext cx="54546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7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.</a:t>
            </a:r>
          </a:p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8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.</a:t>
            </a:r>
          </a:p>
        </p:txBody>
      </p:sp>
      <p:graphicFrame>
        <p:nvGraphicFramePr>
          <p:cNvPr id="8" name="Chart 1">
            <a:extLst>
              <a:ext uri="{FF2B5EF4-FFF2-40B4-BE49-F238E27FC236}">
                <a16:creationId xmlns:a16="http://schemas.microsoft.com/office/drawing/2014/main" id="{50D81057-FEA3-C016-FF0D-0010BA9BE0DD}"/>
              </a:ext>
            </a:extLst>
          </p:cNvPr>
          <p:cNvGraphicFramePr/>
          <p:nvPr/>
        </p:nvGraphicFramePr>
        <p:xfrm>
          <a:off x="2106125" y="1771758"/>
          <a:ext cx="9249927" cy="4048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9279A2D-C1D7-33E4-8B0F-77A72B861B4C}"/>
              </a:ext>
            </a:extLst>
          </p:cNvPr>
          <p:cNvSpPr txBox="1"/>
          <p:nvPr/>
        </p:nvSpPr>
        <p:spPr>
          <a:xfrm rot="16200000">
            <a:off x="-125677" y="3621392"/>
            <a:ext cx="40686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Важливість ці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00992C-0D92-E732-FCA6-D707B9DCDB08}"/>
              </a:ext>
            </a:extLst>
          </p:cNvPr>
          <p:cNvSpPr txBox="1"/>
          <p:nvPr/>
        </p:nvSpPr>
        <p:spPr>
          <a:xfrm>
            <a:off x="2106125" y="5858862"/>
            <a:ext cx="92499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400" i="1" kern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Можливість досягти цілей у місті Вінниц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AEA9543-CC31-AB8E-F00F-FE1AA1F96EB3}"/>
              </a:ext>
            </a:extLst>
          </p:cNvPr>
          <p:cNvSpPr txBox="1"/>
          <p:nvPr/>
        </p:nvSpPr>
        <p:spPr>
          <a:xfrm>
            <a:off x="94500" y="1736436"/>
            <a:ext cx="151799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prstClr val="black"/>
                </a:solidFill>
                <a:latin typeface="Aptos" panose="02110004020202020204"/>
              </a:defRPr>
            </a:lvl1pPr>
          </a:lstStyle>
          <a:p>
            <a:r>
              <a:rPr lang="ru-RU" dirty="0">
                <a:solidFill>
                  <a:schemeClr val="accent6"/>
                </a:solidFill>
              </a:rPr>
              <a:t>Не </a:t>
            </a:r>
            <a:r>
              <a:rPr lang="ru-RU" dirty="0" err="1">
                <a:solidFill>
                  <a:schemeClr val="accent6"/>
                </a:solidFill>
              </a:rPr>
              <a:t>планують</a:t>
            </a:r>
            <a:r>
              <a:rPr lang="ru-RU" dirty="0">
                <a:solidFill>
                  <a:schemeClr val="accent6"/>
                </a:solidFill>
              </a:rPr>
              <a:t> </a:t>
            </a:r>
            <a:r>
              <a:rPr lang="ru-RU" dirty="0" err="1">
                <a:solidFill>
                  <a:schemeClr val="accent6"/>
                </a:solidFill>
              </a:rPr>
              <a:t>переїзд</a:t>
            </a:r>
            <a:r>
              <a:rPr lang="ru-RU" dirty="0">
                <a:solidFill>
                  <a:schemeClr val="accent6"/>
                </a:solidFill>
              </a:rPr>
              <a:t> у інше місто України в майбутньому </a:t>
            </a:r>
            <a:endParaRPr lang="uk-UA" dirty="0">
              <a:solidFill>
                <a:schemeClr val="accent6"/>
              </a:solidFill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6D31472-45E1-6241-FA09-449FDE9FF171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Ті, хто не планує переїзд у інше місто, позитивно оцінюють можливості досягти важливі для них цінності у Вінниці, зокрема бути фінансово незалежним, працевлаштуватись і мати цікаву роботу, розвивати професійні навички, жити у привабливому місті, мати цікаве дозвілля і створити сім’ю. Проте головними слабкими сторонами Вінниці для тих, хто залишається, є безпека, можливість мати власне житло і жити у місті, де є багато можливосте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D25984-1E4B-949F-834F-122C4D955910}"/>
              </a:ext>
            </a:extLst>
          </p:cNvPr>
          <p:cNvSpPr txBox="1"/>
          <p:nvPr/>
        </p:nvSpPr>
        <p:spPr>
          <a:xfrm>
            <a:off x="94500" y="6049591"/>
            <a:ext cx="2855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900" b="0" i="1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itchFamily="34" charset="0"/>
              </a:rPr>
              <a:t>показано оцінки 6+7, де 7 - найбільш важлива ціль / повністю зможете досягти цих цілей у місті Вінниця</a:t>
            </a:r>
          </a:p>
        </p:txBody>
      </p:sp>
    </p:spTree>
    <p:extLst>
      <p:ext uri="{BB962C8B-B14F-4D97-AF65-F5344CB8AC3E}">
        <p14:creationId xmlns:p14="http://schemas.microsoft.com/office/powerpoint/2010/main" val="7207477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6613EF-DD0F-87F7-9B01-509AA4155D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4FD6AC2-E441-F3F9-19B2-6939945679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D6AC2-E441-F3F9-19B2-693994567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EE5BB8-CB56-C8AF-DA8E-FBA177ED3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Порівняння важливості цілей і можливостей їх досягти у Вінниці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9FE9CE-0946-E82B-FF0C-230AE8F6E8B1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CAC490-C811-F121-077C-FDEC49E711F8}"/>
              </a:ext>
            </a:extLst>
          </p:cNvPr>
          <p:cNvSpPr txBox="1"/>
          <p:nvPr/>
        </p:nvSpPr>
        <p:spPr>
          <a:xfrm>
            <a:off x="6292644" y="6237489"/>
            <a:ext cx="54546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7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.</a:t>
            </a:r>
          </a:p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8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.</a:t>
            </a:r>
          </a:p>
        </p:txBody>
      </p:sp>
      <p:graphicFrame>
        <p:nvGraphicFramePr>
          <p:cNvPr id="8" name="Chart 1">
            <a:extLst>
              <a:ext uri="{FF2B5EF4-FFF2-40B4-BE49-F238E27FC236}">
                <a16:creationId xmlns:a16="http://schemas.microsoft.com/office/drawing/2014/main" id="{5FCFEA5D-666C-1B28-0B92-E5680E6CA5DD}"/>
              </a:ext>
            </a:extLst>
          </p:cNvPr>
          <p:cNvGraphicFramePr/>
          <p:nvPr/>
        </p:nvGraphicFramePr>
        <p:xfrm>
          <a:off x="2106125" y="1771758"/>
          <a:ext cx="9249927" cy="4048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9FF91BD-1E53-0B4F-1BC3-292766F1FF63}"/>
              </a:ext>
            </a:extLst>
          </p:cNvPr>
          <p:cNvSpPr txBox="1"/>
          <p:nvPr/>
        </p:nvSpPr>
        <p:spPr>
          <a:xfrm rot="16200000">
            <a:off x="-125677" y="3621392"/>
            <a:ext cx="40686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Важливість ці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7FF28C-B206-1C9F-74E9-C708476ACD0B}"/>
              </a:ext>
            </a:extLst>
          </p:cNvPr>
          <p:cNvSpPr txBox="1"/>
          <p:nvPr/>
        </p:nvSpPr>
        <p:spPr>
          <a:xfrm>
            <a:off x="2106125" y="5858862"/>
            <a:ext cx="92499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400" i="1" kern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Можливість досягти цілей у місті Вінниц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316491-E6F1-C4A2-C579-E78EFB6BD4D3}"/>
              </a:ext>
            </a:extLst>
          </p:cNvPr>
          <p:cNvSpPr txBox="1"/>
          <p:nvPr/>
        </p:nvSpPr>
        <p:spPr>
          <a:xfrm>
            <a:off x="94500" y="1736436"/>
            <a:ext cx="154748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 err="1">
                <a:solidFill>
                  <a:srgbClr val="FF0000"/>
                </a:solidFill>
                <a:latin typeface="Aptos" panose="02110004020202020204"/>
              </a:rPr>
              <a:t>Планують</a:t>
            </a:r>
            <a:r>
              <a:rPr lang="ru-RU" sz="1600" b="1" dirty="0">
                <a:solidFill>
                  <a:srgbClr val="FF0000"/>
                </a:solidFill>
                <a:latin typeface="Aptos" panose="02110004020202020204"/>
              </a:rPr>
              <a:t> </a:t>
            </a:r>
            <a:r>
              <a:rPr lang="ru-RU" sz="1600" b="1" dirty="0" err="1">
                <a:solidFill>
                  <a:srgbClr val="FF0000"/>
                </a:solidFill>
                <a:latin typeface="Aptos" panose="02110004020202020204"/>
              </a:rPr>
              <a:t>переїзд</a:t>
            </a:r>
            <a:r>
              <a:rPr lang="ru-RU" sz="1600" b="1" dirty="0">
                <a:solidFill>
                  <a:srgbClr val="FF0000"/>
                </a:solidFill>
                <a:latin typeface="Aptos" panose="02110004020202020204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FF0000"/>
                </a:solidFill>
                <a:latin typeface="Aptos" panose="02110004020202020204"/>
              </a:rPr>
              <a:t>за кордон в майбутньому</a:t>
            </a:r>
            <a:endParaRPr lang="uk-UA" sz="1600" b="1" dirty="0">
              <a:solidFill>
                <a:srgbClr val="FF0000"/>
              </a:solidFill>
              <a:latin typeface="Aptos" panose="02110004020202020204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5EC65A8-09D2-A16D-880B-394C168AE5E1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uk-UA" sz="1600" dirty="0">
                <a:solidFill>
                  <a:prstClr val="black"/>
                </a:solidFill>
              </a:rPr>
              <a:t>Ті, хто планує переїзд за кордон, дають низькі оцінки можливостям досягнення таких найважливіших для них цілей у Вінниці: бути фінансово незалежним, мати цікаву роботу, зробити успішну кар’єру, мати власне житло, бути багатим і розвивати власний бізнес, жити у місті, де є багато можливостей і мати різноманітне і цікаве дозвілля. Також ті, хто планує виїзд за кордон, нижче оцінюють можливість бути у безпеці порівняно до тих, хто планує виїзд в інше міст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807BEA-2E2A-5065-3750-313E20570603}"/>
              </a:ext>
            </a:extLst>
          </p:cNvPr>
          <p:cNvSpPr txBox="1"/>
          <p:nvPr/>
        </p:nvSpPr>
        <p:spPr>
          <a:xfrm>
            <a:off x="94500" y="6049591"/>
            <a:ext cx="2855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900" b="0" i="1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itchFamily="34" charset="0"/>
              </a:rPr>
              <a:t>показано оцінки 6+7, де 7 - найбільш важлива ціль / повністю зможете досягти цих цілей у місті Вінниця</a:t>
            </a:r>
          </a:p>
        </p:txBody>
      </p:sp>
    </p:spTree>
    <p:extLst>
      <p:ext uri="{BB962C8B-B14F-4D97-AF65-F5344CB8AC3E}">
        <p14:creationId xmlns:p14="http://schemas.microsoft.com/office/powerpoint/2010/main" val="78136412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B6FF9B4-5E2B-4F2E-4135-474BC7EEB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2226B86-3A8D-BB1A-2349-8FFB802476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226B86-3A8D-BB1A-2349-8FFB80247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DAB94F-2BEF-9FF6-13E9-B581C481A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Порівняння важливості цілей і можливостей їх досягти у Вінниці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DD43A0-AE7A-530F-F552-7F0C5A24C59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2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274F4F-965B-E48F-6E60-8B0CB876BC6D}"/>
              </a:ext>
            </a:extLst>
          </p:cNvPr>
          <p:cNvSpPr txBox="1"/>
          <p:nvPr/>
        </p:nvSpPr>
        <p:spPr>
          <a:xfrm>
            <a:off x="6292644" y="6237489"/>
            <a:ext cx="54546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7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.</a:t>
            </a:r>
          </a:p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8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.</a:t>
            </a:r>
          </a:p>
        </p:txBody>
      </p:sp>
      <p:graphicFrame>
        <p:nvGraphicFramePr>
          <p:cNvPr id="8" name="Chart 1">
            <a:extLst>
              <a:ext uri="{FF2B5EF4-FFF2-40B4-BE49-F238E27FC236}">
                <a16:creationId xmlns:a16="http://schemas.microsoft.com/office/drawing/2014/main" id="{D01DA0AE-DAA8-A02F-0D9C-DE580A2D45D1}"/>
              </a:ext>
            </a:extLst>
          </p:cNvPr>
          <p:cNvGraphicFramePr/>
          <p:nvPr/>
        </p:nvGraphicFramePr>
        <p:xfrm>
          <a:off x="2106125" y="1771758"/>
          <a:ext cx="9249927" cy="4048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9C95D6B-6642-9DBC-0E5B-333CC1000A3E}"/>
              </a:ext>
            </a:extLst>
          </p:cNvPr>
          <p:cNvSpPr txBox="1"/>
          <p:nvPr/>
        </p:nvSpPr>
        <p:spPr>
          <a:xfrm rot="16200000">
            <a:off x="-125677" y="3621392"/>
            <a:ext cx="40686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Важливість ці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57B265-29B2-B894-9F49-759D97563240}"/>
              </a:ext>
            </a:extLst>
          </p:cNvPr>
          <p:cNvSpPr txBox="1"/>
          <p:nvPr/>
        </p:nvSpPr>
        <p:spPr>
          <a:xfrm>
            <a:off x="2106125" y="5858862"/>
            <a:ext cx="92499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400" i="1" kern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Можливість досягти цілей у місті Вінниц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3E1985C-10C3-1781-2887-DD506B4D8EA6}"/>
              </a:ext>
            </a:extLst>
          </p:cNvPr>
          <p:cNvSpPr txBox="1"/>
          <p:nvPr/>
        </p:nvSpPr>
        <p:spPr>
          <a:xfrm>
            <a:off x="94500" y="1736436"/>
            <a:ext cx="150815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prstClr val="black"/>
                </a:solidFill>
                <a:latin typeface="Aptos" panose="02110004020202020204"/>
              </a:defRPr>
            </a:lvl1pPr>
          </a:lstStyle>
          <a:p>
            <a:r>
              <a:rPr lang="uk-UA" dirty="0">
                <a:solidFill>
                  <a:schemeClr val="accent2"/>
                </a:solidFill>
              </a:rPr>
              <a:t>Невпевнені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uk-UA" dirty="0">
                <a:solidFill>
                  <a:schemeClr val="accent2"/>
                </a:solidFill>
              </a:rPr>
              <a:t>щодо </a:t>
            </a:r>
            <a:r>
              <a:rPr lang="ru-RU" dirty="0" err="1">
                <a:solidFill>
                  <a:schemeClr val="accent2"/>
                </a:solidFill>
              </a:rPr>
              <a:t>переїзду</a:t>
            </a:r>
            <a:r>
              <a:rPr lang="ru-RU" dirty="0">
                <a:solidFill>
                  <a:schemeClr val="accent2"/>
                </a:solidFill>
              </a:rPr>
              <a:t> у інше місто України в майбутньому </a:t>
            </a:r>
            <a:r>
              <a:rPr lang="uk-UA" dirty="0">
                <a:solidFill>
                  <a:schemeClr val="accent2"/>
                </a:solidFill>
              </a:rPr>
              <a:t> 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41F1204-A592-B496-183E-836ACA713BBD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600" dirty="0">
                <a:solidFill>
                  <a:prstClr val="black"/>
                </a:solidFill>
                <a:latin typeface="Aptos Display" panose="02110004020202020204"/>
              </a:rPr>
              <a:t>Невпевнені щодо переїзду в інше місто не вбачають достатньо можливостей, щоб досягти у Вінниці таких важливих для себе цілей як мати різноманітне і цікаве дозвілля, жити у місті, де є багато можливостей, зробити успішну кар’єру та/або створити власний бізнес 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059F62-6952-4F63-ACC9-07B811BE3E5B}"/>
              </a:ext>
            </a:extLst>
          </p:cNvPr>
          <p:cNvSpPr txBox="1"/>
          <p:nvPr/>
        </p:nvSpPr>
        <p:spPr>
          <a:xfrm>
            <a:off x="94500" y="6049591"/>
            <a:ext cx="2855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900" b="0" i="1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itchFamily="34" charset="0"/>
              </a:rPr>
              <a:t>показано оцінки 6+7, де 7 - найбільш важлива ціль / повністю зможете досягти цих цілей у місті Вінниця</a:t>
            </a:r>
          </a:p>
        </p:txBody>
      </p:sp>
    </p:spTree>
    <p:extLst>
      <p:ext uri="{BB962C8B-B14F-4D97-AF65-F5344CB8AC3E}">
        <p14:creationId xmlns:p14="http://schemas.microsoft.com/office/powerpoint/2010/main" val="377241573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E8D71D7-706F-FA84-43CB-CE75A795BB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F35E75-7F23-4ABF-39E9-83554EFAE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F35E75-7F23-4ABF-39E9-83554EFAE8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E24505-1188-91DC-7257-E98549B54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Порівняння важливості цілей і можливостей їх досягти у Вінниці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48D8B2-D5B9-2E5C-3D24-97AA7C441D49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8F92B3-9BD1-0097-E1E5-55B2BB87CCC1}"/>
              </a:ext>
            </a:extLst>
          </p:cNvPr>
          <p:cNvSpPr txBox="1"/>
          <p:nvPr/>
        </p:nvSpPr>
        <p:spPr>
          <a:xfrm>
            <a:off x="6292644" y="6237489"/>
            <a:ext cx="54546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7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.</a:t>
            </a:r>
          </a:p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8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.</a:t>
            </a:r>
          </a:p>
        </p:txBody>
      </p:sp>
      <p:graphicFrame>
        <p:nvGraphicFramePr>
          <p:cNvPr id="8" name="Chart 1">
            <a:extLst>
              <a:ext uri="{FF2B5EF4-FFF2-40B4-BE49-F238E27FC236}">
                <a16:creationId xmlns:a16="http://schemas.microsoft.com/office/drawing/2014/main" id="{48E8090F-1584-9962-DAB9-DE5945A5C640}"/>
              </a:ext>
            </a:extLst>
          </p:cNvPr>
          <p:cNvGraphicFramePr/>
          <p:nvPr/>
        </p:nvGraphicFramePr>
        <p:xfrm>
          <a:off x="2106125" y="1771758"/>
          <a:ext cx="9249927" cy="4048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71870C-E3D7-82A0-D5D9-02B5B96EDA83}"/>
              </a:ext>
            </a:extLst>
          </p:cNvPr>
          <p:cNvSpPr txBox="1"/>
          <p:nvPr/>
        </p:nvSpPr>
        <p:spPr>
          <a:xfrm rot="16200000">
            <a:off x="-125677" y="3621392"/>
            <a:ext cx="40686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Важливість ці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11E2A54-A0F5-01CE-9629-74DA57E2F6CE}"/>
              </a:ext>
            </a:extLst>
          </p:cNvPr>
          <p:cNvSpPr txBox="1"/>
          <p:nvPr/>
        </p:nvSpPr>
        <p:spPr>
          <a:xfrm>
            <a:off x="2106125" y="5858862"/>
            <a:ext cx="92499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400" i="1" kern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Можливість досягти цілей у місті Вінниц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0AF842-AB9C-3305-EFF2-A9A64DD77954}"/>
              </a:ext>
            </a:extLst>
          </p:cNvPr>
          <p:cNvSpPr txBox="1"/>
          <p:nvPr/>
        </p:nvSpPr>
        <p:spPr>
          <a:xfrm>
            <a:off x="94500" y="1736436"/>
            <a:ext cx="150815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prstClr val="black"/>
                </a:solidFill>
                <a:latin typeface="Aptos" panose="02110004020202020204"/>
              </a:defRPr>
            </a:lvl1pPr>
          </a:lstStyle>
          <a:p>
            <a:r>
              <a:rPr lang="uk-UA" dirty="0">
                <a:solidFill>
                  <a:schemeClr val="accent2"/>
                </a:solidFill>
              </a:rPr>
              <a:t>Невпевнені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uk-UA" dirty="0">
                <a:solidFill>
                  <a:schemeClr val="accent2"/>
                </a:solidFill>
              </a:rPr>
              <a:t>щодо </a:t>
            </a:r>
            <a:r>
              <a:rPr lang="ru-RU" dirty="0" err="1">
                <a:solidFill>
                  <a:schemeClr val="accent2"/>
                </a:solidFill>
              </a:rPr>
              <a:t>переїзду</a:t>
            </a:r>
            <a:r>
              <a:rPr lang="ru-RU" dirty="0">
                <a:solidFill>
                  <a:schemeClr val="accent2"/>
                </a:solidFill>
              </a:rPr>
              <a:t> </a:t>
            </a:r>
          </a:p>
          <a:p>
            <a:r>
              <a:rPr lang="ru-RU" dirty="0">
                <a:solidFill>
                  <a:schemeClr val="accent2"/>
                </a:solidFill>
              </a:rPr>
              <a:t>за кордон в майбутньому</a:t>
            </a:r>
            <a:endParaRPr lang="uk-UA" dirty="0">
              <a:solidFill>
                <a:schemeClr val="accent2"/>
              </a:solidFill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1A44E22C-AA77-51D6-09EC-37EE72CB3A3B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600" dirty="0">
                <a:solidFill>
                  <a:prstClr val="black"/>
                </a:solidFill>
                <a:latin typeface="Aptos Display" panose="02110004020202020204"/>
              </a:rPr>
              <a:t>Невпевнені щодо переїзду за кордон не вбачають достатньо можливостей досягти у Вінниці таких важливих цілей, як бути у безпеці, мати цікаву роботу і власне житло, мати багато можливостей, зробити успішну кар’єру і створити власний бізнес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B3EBF6-8762-16FB-057D-839A80B7634A}"/>
              </a:ext>
            </a:extLst>
          </p:cNvPr>
          <p:cNvSpPr txBox="1"/>
          <p:nvPr/>
        </p:nvSpPr>
        <p:spPr>
          <a:xfrm>
            <a:off x="94500" y="6049591"/>
            <a:ext cx="2855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900" b="0" i="1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itchFamily="34" charset="0"/>
              </a:rPr>
              <a:t>показано оцінки 6+7, де 7 - найбільш важлива ціль / повністю зможете досягти цих цілей у місті Вінниця</a:t>
            </a:r>
          </a:p>
        </p:txBody>
      </p:sp>
    </p:spTree>
    <p:extLst>
      <p:ext uri="{BB962C8B-B14F-4D97-AF65-F5344CB8AC3E}">
        <p14:creationId xmlns:p14="http://schemas.microsoft.com/office/powerpoint/2010/main" val="179347367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57E3D4-363B-7B15-B898-20CCFF2BFD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45FCB7-5205-1DF7-8B68-1B8BEAA5A0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45FCB7-5205-1DF7-8B68-1B8BEAA5A0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02D6EB-B64F-9A6A-A54D-A3F717CE5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Порівняння важливості цілей і можливостей їх досягти у Вінниці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547D33-2AC7-1A5A-E378-728F49C92D81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94FC91-8411-85ED-AA18-B8987FC7740C}"/>
              </a:ext>
            </a:extLst>
          </p:cNvPr>
          <p:cNvSpPr txBox="1"/>
          <p:nvPr/>
        </p:nvSpPr>
        <p:spPr>
          <a:xfrm>
            <a:off x="6292644" y="6237489"/>
            <a:ext cx="54546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7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Чого Ви найбільше прагнете досягти у наступні кілька років? Оцініть важливість таких цілей особисто для Вас за шкалою від 1 до 7, де 1 – найменш важлива ціль, 4 – середня оцінка, 7 – найбільш важлива ціль.</a:t>
            </a:r>
          </a:p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A8.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ptos" panose="02110004020202020204"/>
                <a:ea typeface="Times New Roman" panose="02020603050405020304" pitchFamily="18" charset="0"/>
                <a:cs typeface="+mn-cs"/>
              </a:rPr>
              <a:t>Подумайте про місто Вінниця. Наскільки Ви можете досягти цих цілей у місті Вінниця? Оцініть за шкалою від 1 до 7, де 1 – зовсім не зможете, 4 – середня оцінка, 7 – повністю зможете досягти цих цілей у місті Вінниця.</a:t>
            </a:r>
          </a:p>
        </p:txBody>
      </p:sp>
      <p:graphicFrame>
        <p:nvGraphicFramePr>
          <p:cNvPr id="8" name="Chart 1">
            <a:extLst>
              <a:ext uri="{FF2B5EF4-FFF2-40B4-BE49-F238E27FC236}">
                <a16:creationId xmlns:a16="http://schemas.microsoft.com/office/drawing/2014/main" id="{C725A359-EE80-62BA-909A-E929E1C5FD6E}"/>
              </a:ext>
            </a:extLst>
          </p:cNvPr>
          <p:cNvGraphicFramePr/>
          <p:nvPr/>
        </p:nvGraphicFramePr>
        <p:xfrm>
          <a:off x="2106125" y="1771758"/>
          <a:ext cx="9249927" cy="4048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DC3C43D-C22D-DFC5-5031-BB0284F424D6}"/>
              </a:ext>
            </a:extLst>
          </p:cNvPr>
          <p:cNvSpPr txBox="1"/>
          <p:nvPr/>
        </p:nvSpPr>
        <p:spPr>
          <a:xfrm rot="16200000">
            <a:off x="-125677" y="3621392"/>
            <a:ext cx="40686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Важливість ці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13F0A8-2D5B-43D9-0AEF-5768FB2C0831}"/>
              </a:ext>
            </a:extLst>
          </p:cNvPr>
          <p:cNvSpPr txBox="1"/>
          <p:nvPr/>
        </p:nvSpPr>
        <p:spPr>
          <a:xfrm>
            <a:off x="2106125" y="5858862"/>
            <a:ext cx="92499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400" i="1" kern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1" u="none" strike="noStrike" kern="0" cap="none" spc="0" normalizeH="0" baseline="0" noProof="0" dirty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Можливість досягти цілей у місті Вінниц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332271-6049-7DA3-CE77-486A4722C6E6}"/>
              </a:ext>
            </a:extLst>
          </p:cNvPr>
          <p:cNvSpPr txBox="1"/>
          <p:nvPr/>
        </p:nvSpPr>
        <p:spPr>
          <a:xfrm>
            <a:off x="94500" y="1736436"/>
            <a:ext cx="151799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prstClr val="black"/>
                </a:solidFill>
                <a:latin typeface="Aptos" panose="02110004020202020204"/>
              </a:defRPr>
            </a:lvl1pPr>
          </a:lstStyle>
          <a:p>
            <a:r>
              <a:rPr lang="ru-RU" dirty="0">
                <a:solidFill>
                  <a:schemeClr val="accent6"/>
                </a:solidFill>
              </a:rPr>
              <a:t>Не </a:t>
            </a:r>
            <a:r>
              <a:rPr lang="ru-RU" dirty="0" err="1">
                <a:solidFill>
                  <a:schemeClr val="accent6"/>
                </a:solidFill>
              </a:rPr>
              <a:t>планують</a:t>
            </a:r>
            <a:r>
              <a:rPr lang="ru-RU" dirty="0">
                <a:solidFill>
                  <a:schemeClr val="accent6"/>
                </a:solidFill>
              </a:rPr>
              <a:t> </a:t>
            </a:r>
            <a:r>
              <a:rPr lang="ru-RU" dirty="0" err="1">
                <a:solidFill>
                  <a:schemeClr val="accent6"/>
                </a:solidFill>
              </a:rPr>
              <a:t>переїзд</a:t>
            </a:r>
            <a:r>
              <a:rPr lang="ru-RU" dirty="0">
                <a:solidFill>
                  <a:schemeClr val="accent6"/>
                </a:solidFill>
              </a:rPr>
              <a:t> </a:t>
            </a:r>
          </a:p>
          <a:p>
            <a:r>
              <a:rPr lang="ru-RU" dirty="0">
                <a:solidFill>
                  <a:schemeClr val="accent6"/>
                </a:solidFill>
              </a:rPr>
              <a:t>за кордон в майбутньому</a:t>
            </a:r>
            <a:endParaRPr lang="uk-UA" dirty="0">
              <a:solidFill>
                <a:schemeClr val="accent6"/>
              </a:solidFill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3CB5FF1-44C2-9767-E904-8EB9843379AC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600" dirty="0">
                <a:solidFill>
                  <a:prstClr val="black"/>
                </a:solidFill>
                <a:latin typeface="Aptos Display" panose="02110004020202020204"/>
              </a:rPr>
              <a:t>Ті, що не планують переїзду за кордон, позитивно оцінюють можливості досягти своїх головних цілей у Вінниці, зокрема цілі бути у безпеці. Водночас слабкими сторонами Вінниці є наявність можливостей та власного житла. 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BFE264-1DD4-A72B-966C-654801DD4975}"/>
              </a:ext>
            </a:extLst>
          </p:cNvPr>
          <p:cNvSpPr txBox="1"/>
          <p:nvPr/>
        </p:nvSpPr>
        <p:spPr>
          <a:xfrm>
            <a:off x="94500" y="6049591"/>
            <a:ext cx="2855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900" b="0" i="1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Aptos Display" panose="02110004020202020204"/>
                <a:ea typeface="+mn-ea"/>
                <a:cs typeface="Arial" pitchFamily="34" charset="0"/>
              </a:rPr>
              <a:t>показано оцінки 6+7, де 7 - найбільш важлива ціль / повністю зможете досягти цих цілей у місті Вінниця</a:t>
            </a:r>
          </a:p>
        </p:txBody>
      </p:sp>
    </p:spTree>
    <p:extLst>
      <p:ext uri="{BB962C8B-B14F-4D97-AF65-F5344CB8AC3E}">
        <p14:creationId xmlns:p14="http://schemas.microsoft.com/office/powerpoint/2010/main" val="84342600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D4FA3BE-CD4B-B0DF-3BFB-282708949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3FE4E3-E61D-995A-C94E-DECF289BC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3FE4E3-E61D-995A-C94E-DECF289BC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6348F0-F36A-38AA-79F0-DC822CE29F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Цільовий індекс сприйняття Вінниці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815800B5-76C2-AB4C-D035-A7280A956982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476733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0652963-FE29-C55C-0227-32B212622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2B4524B7-235D-34C2-9221-67904103E070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899923"/>
          <a:ext cx="12160800" cy="32771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4753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913263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почуваю себе безпечно і спокійно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задоволений/на життям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відчуваю гордість за місто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бачу себе щасливою людиною у Вінниці через 10 років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b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Я бачу своїх дітей щасливими у Вінниці через 10 років</a:t>
                      </a:r>
                      <a:r>
                        <a:rPr lang="ru-RU" sz="103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**</a:t>
                      </a:r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відчуваю оптимізм щодо свого майбутнього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планую протягом наступних десяти років жити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можу повністю реалізувати себе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готовий/ва долучатися до громадських ініціатив для розвитк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5E7725-8BBF-5DD9-6D6B-F8247D384D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E7725-8BBF-5DD9-6D6B-F8247D384D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DE1D31-E5C5-D99E-1A1B-38D470718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Наміри переїзду в інше місто</a:t>
            </a:r>
            <a:r>
              <a:rPr lang="uk-UA" sz="2400" dirty="0"/>
              <a:t> та</a:t>
            </a:r>
            <a:r>
              <a:rPr lang="uk-UA" sz="2400" noProof="0" dirty="0"/>
              <a:t> лояльність до Вінниці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2ABE16-9930-DCCF-9015-1994E9C2D566}"/>
              </a:ext>
            </a:extLst>
          </p:cNvPr>
          <p:cNvSpPr txBox="1"/>
          <p:nvPr/>
        </p:nvSpPr>
        <p:spPr>
          <a:xfrm>
            <a:off x="7246374" y="6473465"/>
            <a:ext cx="45008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1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5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скільки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згодні з такими твердженнями щодо міста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я? Оцініть за шкалою від 1 до 7, де 1 - де 1 – абсолютно не згодні, 4 – нейтральна оцінка, 7 – повністю згодні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6EEE75-36A8-8A49-99BD-C9B56ED628EB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C9B6A4E7-FADD-94FC-55E9-4C46E43329AB}"/>
              </a:ext>
            </a:extLst>
          </p:cNvPr>
          <p:cNvGraphicFramePr>
            <a:graphicFrameLocks noGrp="1"/>
          </p:cNvGraphicFramePr>
          <p:nvPr/>
        </p:nvGraphicFramePr>
        <p:xfrm>
          <a:off x="4251003" y="6166719"/>
          <a:ext cx="7873496" cy="335280"/>
        </p:xfrm>
        <a:graphic>
          <a:graphicData uri="http://schemas.openxmlformats.org/drawingml/2006/table">
            <a:tbl>
              <a:tblPr firstRow="1" bandRow="1"/>
              <a:tblGrid>
                <a:gridCol w="196837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6837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6837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6837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214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73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16</a:t>
                      </a:r>
                      <a:r>
                        <a:rPr lang="en-US" sz="800" noProof="0" dirty="0">
                          <a:solidFill>
                            <a:srgbClr val="FF0000"/>
                          </a:solidFill>
                          <a:latin typeface="+mn-lt"/>
                        </a:rPr>
                        <a:t>*</a:t>
                      </a:r>
                      <a:endParaRPr lang="uk-UA" sz="800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66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34</a:t>
                      </a:r>
                      <a:endParaRPr lang="uk-UA" sz="800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63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164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A553EB69-8F48-57EA-A0E9-824E0959465D}"/>
              </a:ext>
            </a:extLst>
          </p:cNvPr>
          <p:cNvGraphicFramePr/>
          <p:nvPr/>
        </p:nvGraphicFramePr>
        <p:xfrm>
          <a:off x="4286874" y="2806535"/>
          <a:ext cx="1887784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10E7A26D-9B09-0FF9-0FFD-E034D3CB9151}"/>
              </a:ext>
            </a:extLst>
          </p:cNvPr>
          <p:cNvGraphicFramePr>
            <a:graphicFrameLocks noGrp="1"/>
          </p:cNvGraphicFramePr>
          <p:nvPr/>
        </p:nvGraphicFramePr>
        <p:xfrm>
          <a:off x="4277032" y="2575611"/>
          <a:ext cx="7847668" cy="327660"/>
        </p:xfrm>
        <a:graphic>
          <a:graphicData uri="http://schemas.openxmlformats.org/drawingml/2006/table">
            <a:tbl>
              <a:tblPr firstRow="1" bandRow="1"/>
              <a:tblGrid>
                <a:gridCol w="1961917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0807495A-C503-5447-F7CE-7B9E85D77F25}"/>
              </a:ext>
            </a:extLst>
          </p:cNvPr>
          <p:cNvSpPr txBox="1">
            <a:spLocks/>
          </p:cNvSpPr>
          <p:nvPr/>
        </p:nvSpPr>
        <p:spPr>
          <a:xfrm>
            <a:off x="1" y="2231287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Згода з  твердженнями про місто Вінниця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3543096-6A59-7961-E8B1-D232344A540E}"/>
              </a:ext>
            </a:extLst>
          </p:cNvPr>
          <p:cNvSpPr txBox="1"/>
          <p:nvPr/>
        </p:nvSpPr>
        <p:spPr bwMode="gray">
          <a:xfrm>
            <a:off x="180218" y="261589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F87D612A-5E96-5D72-763C-138E2E7358BE}"/>
              </a:ext>
            </a:extLst>
          </p:cNvPr>
          <p:cNvGraphicFramePr/>
          <p:nvPr/>
        </p:nvGraphicFramePr>
        <p:xfrm>
          <a:off x="8485239" y="2231922"/>
          <a:ext cx="3639463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D301821-503D-DB5D-48A4-D749C3184EBD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11602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Лояльність до Вінниці залежить від намірів переїзду у інше місто: ті, що мають намір залишатися, є більше лояльними до Вінниці і більше впевнені у можливості реалізувати себе у Вінниці, порівняно до тих, хто має намір переїхати в інше місто. </a:t>
            </a:r>
          </a:p>
          <a:p>
            <a:r>
              <a:rPr lang="uk-UA" sz="1600" dirty="0"/>
              <a:t>Особливістю тих, хто не визначився щодо переїзду, є більше виражена готовність залучатися до громадських ініціатив.</a:t>
            </a:r>
          </a:p>
          <a:p>
            <a:endParaRPr lang="uk-UA" sz="1600" noProof="0" dirty="0"/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500B7FDC-7A0E-01F8-20F9-B529D709D4FB}"/>
              </a:ext>
            </a:extLst>
          </p:cNvPr>
          <p:cNvGraphicFramePr/>
          <p:nvPr/>
        </p:nvGraphicFramePr>
        <p:xfrm>
          <a:off x="6237990" y="2807701"/>
          <a:ext cx="1887784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6">
            <a:extLst>
              <a:ext uri="{FF2B5EF4-FFF2-40B4-BE49-F238E27FC236}">
                <a16:creationId xmlns:a16="http://schemas.microsoft.com/office/drawing/2014/main" id="{89ED10F3-2AF4-4AB9-27A3-EDCD2517D55B}"/>
              </a:ext>
            </a:extLst>
          </p:cNvPr>
          <p:cNvGraphicFramePr/>
          <p:nvPr/>
        </p:nvGraphicFramePr>
        <p:xfrm>
          <a:off x="8198936" y="2805369"/>
          <a:ext cx="1887784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Диаграмма 16">
            <a:extLst>
              <a:ext uri="{FF2B5EF4-FFF2-40B4-BE49-F238E27FC236}">
                <a16:creationId xmlns:a16="http://schemas.microsoft.com/office/drawing/2014/main" id="{E72E7114-03CE-2E79-CE4C-FB964DAEF230}"/>
              </a:ext>
            </a:extLst>
          </p:cNvPr>
          <p:cNvGraphicFramePr/>
          <p:nvPr/>
        </p:nvGraphicFramePr>
        <p:xfrm>
          <a:off x="10159885" y="2806535"/>
          <a:ext cx="1887784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0DC25322-7D1D-C5C7-0FC7-C727FD44B00E}"/>
              </a:ext>
            </a:extLst>
          </p:cNvPr>
          <p:cNvSpPr txBox="1"/>
          <p:nvPr/>
        </p:nvSpPr>
        <p:spPr>
          <a:xfrm>
            <a:off x="8307" y="6154000"/>
            <a:ext cx="38160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твердження задавалось лише тим респондентам, які мають дітей до 16-ти років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851C58-56D3-81F7-E5DA-AAE1C7F1C3B9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4689B75-AF97-2825-A2BE-22705ECD88FA}"/>
              </a:ext>
            </a:extLst>
          </p:cNvPr>
          <p:cNvSpPr txBox="1"/>
          <p:nvPr/>
        </p:nvSpPr>
        <p:spPr>
          <a:xfrm>
            <a:off x="6922374" y="517806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17461AE-B201-B6A7-22E2-2DA892FFB5D0}"/>
              </a:ext>
            </a:extLst>
          </p:cNvPr>
          <p:cNvSpPr txBox="1"/>
          <p:nvPr/>
        </p:nvSpPr>
        <p:spPr>
          <a:xfrm>
            <a:off x="8880584" y="333892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1535A87-901A-D65B-0670-A88D9DDFE7A1}"/>
              </a:ext>
            </a:extLst>
          </p:cNvPr>
          <p:cNvSpPr txBox="1"/>
          <p:nvPr/>
        </p:nvSpPr>
        <p:spPr>
          <a:xfrm>
            <a:off x="8787641" y="589114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2B59A4-7669-2734-326B-6BF2CE31DEEB}"/>
              </a:ext>
            </a:extLst>
          </p:cNvPr>
          <p:cNvSpPr txBox="1"/>
          <p:nvPr/>
        </p:nvSpPr>
        <p:spPr>
          <a:xfrm>
            <a:off x="8836339" y="370763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FA93D7-D3E3-5488-CBD7-3BC10ADB11B1}"/>
              </a:ext>
            </a:extLst>
          </p:cNvPr>
          <p:cNvSpPr txBox="1"/>
          <p:nvPr/>
        </p:nvSpPr>
        <p:spPr>
          <a:xfrm>
            <a:off x="8747848" y="407142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2FB21A2-66EE-7DC9-16AA-24AFF731D8FA}"/>
              </a:ext>
            </a:extLst>
          </p:cNvPr>
          <p:cNvSpPr txBox="1"/>
          <p:nvPr/>
        </p:nvSpPr>
        <p:spPr>
          <a:xfrm>
            <a:off x="8792093" y="48039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641E70D-DF20-BE91-C1EE-BE5A3DFF3713}"/>
              </a:ext>
            </a:extLst>
          </p:cNvPr>
          <p:cNvSpPr txBox="1"/>
          <p:nvPr/>
        </p:nvSpPr>
        <p:spPr>
          <a:xfrm>
            <a:off x="8659357" y="516280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78646D8-8F28-73DC-74B2-3D3C28829866}"/>
              </a:ext>
            </a:extLst>
          </p:cNvPr>
          <p:cNvSpPr txBox="1"/>
          <p:nvPr/>
        </p:nvSpPr>
        <p:spPr>
          <a:xfrm>
            <a:off x="8703603" y="554134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496B27-A2D4-8D57-79EB-D72D8D2ADE1E}"/>
              </a:ext>
            </a:extLst>
          </p:cNvPr>
          <p:cNvSpPr txBox="1"/>
          <p:nvPr/>
        </p:nvSpPr>
        <p:spPr>
          <a:xfrm>
            <a:off x="10918526" y="3352677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6D91EA1-9988-7CA3-FD81-E2E359D53EEF}"/>
              </a:ext>
            </a:extLst>
          </p:cNvPr>
          <p:cNvSpPr txBox="1"/>
          <p:nvPr/>
        </p:nvSpPr>
        <p:spPr>
          <a:xfrm>
            <a:off x="10893946" y="3721386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4A4F2A2-021A-8F94-DB8A-37B39080C0EB}"/>
              </a:ext>
            </a:extLst>
          </p:cNvPr>
          <p:cNvSpPr txBox="1"/>
          <p:nvPr/>
        </p:nvSpPr>
        <p:spPr>
          <a:xfrm>
            <a:off x="10889030" y="408026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E23605C-5D5E-FE7A-AA63-AE5156B03851}"/>
              </a:ext>
            </a:extLst>
          </p:cNvPr>
          <p:cNvSpPr txBox="1"/>
          <p:nvPr/>
        </p:nvSpPr>
        <p:spPr>
          <a:xfrm>
            <a:off x="10884114" y="443914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956A8BB-A154-2457-AAFE-8F3FA46EA161}"/>
              </a:ext>
            </a:extLst>
          </p:cNvPr>
          <p:cNvSpPr txBox="1"/>
          <p:nvPr/>
        </p:nvSpPr>
        <p:spPr>
          <a:xfrm>
            <a:off x="10889031" y="5161811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2B628EA-9D08-9D86-2FA1-6B4C917D7F5C}"/>
              </a:ext>
            </a:extLst>
          </p:cNvPr>
          <p:cNvSpPr txBox="1"/>
          <p:nvPr/>
        </p:nvSpPr>
        <p:spPr>
          <a:xfrm>
            <a:off x="10746464" y="554035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EDA2AA0-EAFD-62A2-8BE3-15AA6298732A}"/>
              </a:ext>
            </a:extLst>
          </p:cNvPr>
          <p:cNvSpPr txBox="1"/>
          <p:nvPr/>
        </p:nvSpPr>
        <p:spPr>
          <a:xfrm>
            <a:off x="10812622" y="479901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28B7866-9749-5B2A-E4F4-A0AC5881B3D2}"/>
              </a:ext>
            </a:extLst>
          </p:cNvPr>
          <p:cNvSpPr txBox="1"/>
          <p:nvPr/>
        </p:nvSpPr>
        <p:spPr>
          <a:xfrm>
            <a:off x="7505290" y="334435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1B5796D-C20E-0ECF-1088-FCA2C2FCAE35}"/>
              </a:ext>
            </a:extLst>
          </p:cNvPr>
          <p:cNvSpPr txBox="1"/>
          <p:nvPr/>
        </p:nvSpPr>
        <p:spPr>
          <a:xfrm>
            <a:off x="7470877" y="371306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AA3BFE4-7C0F-6936-6BED-0F73029DAFBF}"/>
              </a:ext>
            </a:extLst>
          </p:cNvPr>
          <p:cNvSpPr txBox="1"/>
          <p:nvPr/>
        </p:nvSpPr>
        <p:spPr>
          <a:xfrm>
            <a:off x="7210323" y="4071938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9434F3F-BDEC-B026-2685-8A00C5EED20D}"/>
              </a:ext>
            </a:extLst>
          </p:cNvPr>
          <p:cNvSpPr txBox="1"/>
          <p:nvPr/>
        </p:nvSpPr>
        <p:spPr>
          <a:xfrm>
            <a:off x="7303730" y="4824106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A3A7780-AAD2-180E-F226-ED98B9090078}"/>
              </a:ext>
            </a:extLst>
          </p:cNvPr>
          <p:cNvSpPr txBox="1"/>
          <p:nvPr/>
        </p:nvSpPr>
        <p:spPr>
          <a:xfrm>
            <a:off x="7279149" y="553694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6B09BF0-4AA7-1B89-C598-20B6BCB6D4DB}"/>
              </a:ext>
            </a:extLst>
          </p:cNvPr>
          <p:cNvSpPr txBox="1"/>
          <p:nvPr/>
        </p:nvSpPr>
        <p:spPr>
          <a:xfrm>
            <a:off x="11480175" y="590097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4579420-F53A-9F7A-13D1-D56C46A293A7}"/>
              </a:ext>
            </a:extLst>
          </p:cNvPr>
          <p:cNvSpPr txBox="1"/>
          <p:nvPr/>
        </p:nvSpPr>
        <p:spPr>
          <a:xfrm>
            <a:off x="7173097" y="444556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3D31835-ABAB-312E-9350-CA903C7FB434}"/>
              </a:ext>
            </a:extLst>
          </p:cNvPr>
          <p:cNvSpPr txBox="1"/>
          <p:nvPr/>
        </p:nvSpPr>
        <p:spPr>
          <a:xfrm>
            <a:off x="9567252" y="334926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31464D5-1516-9ADE-FECC-662391A224C5}"/>
              </a:ext>
            </a:extLst>
          </p:cNvPr>
          <p:cNvSpPr txBox="1"/>
          <p:nvPr/>
        </p:nvSpPr>
        <p:spPr>
          <a:xfrm>
            <a:off x="9621329" y="369831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DFE62DD-4E6C-1260-8BDB-186D894DB445}"/>
              </a:ext>
            </a:extLst>
          </p:cNvPr>
          <p:cNvSpPr txBox="1"/>
          <p:nvPr/>
        </p:nvSpPr>
        <p:spPr>
          <a:xfrm>
            <a:off x="9626245" y="407685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3E576B7-D0EB-F2BC-CF6B-900AFCC29093}"/>
              </a:ext>
            </a:extLst>
          </p:cNvPr>
          <p:cNvSpPr txBox="1"/>
          <p:nvPr/>
        </p:nvSpPr>
        <p:spPr>
          <a:xfrm>
            <a:off x="9336193" y="442589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B6A6764-8628-6137-1DC7-094BFADBD5AC}"/>
              </a:ext>
            </a:extLst>
          </p:cNvPr>
          <p:cNvSpPr txBox="1"/>
          <p:nvPr/>
        </p:nvSpPr>
        <p:spPr>
          <a:xfrm>
            <a:off x="9498425" y="51682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1FFA106-CC20-91FF-5888-68A6342382DE}"/>
              </a:ext>
            </a:extLst>
          </p:cNvPr>
          <p:cNvSpPr txBox="1"/>
          <p:nvPr/>
        </p:nvSpPr>
        <p:spPr>
          <a:xfrm>
            <a:off x="9562335" y="552711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0323A6E-E794-D168-B0ED-C4831F3E235D}"/>
              </a:ext>
            </a:extLst>
          </p:cNvPr>
          <p:cNvSpPr txBox="1"/>
          <p:nvPr/>
        </p:nvSpPr>
        <p:spPr>
          <a:xfrm>
            <a:off x="7770761" y="3413176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3084DCF-5A64-E366-B8E7-FE9ADC27C9D5}"/>
              </a:ext>
            </a:extLst>
          </p:cNvPr>
          <p:cNvSpPr txBox="1"/>
          <p:nvPr/>
        </p:nvSpPr>
        <p:spPr>
          <a:xfrm>
            <a:off x="7785510" y="3811382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7CB62DD-0BF5-4B76-0EB9-FE70EFFDD953}"/>
              </a:ext>
            </a:extLst>
          </p:cNvPr>
          <p:cNvSpPr txBox="1"/>
          <p:nvPr/>
        </p:nvSpPr>
        <p:spPr>
          <a:xfrm>
            <a:off x="7741265" y="4170259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0722465-3E96-8B02-A283-FC15DEEB15CB}"/>
              </a:ext>
            </a:extLst>
          </p:cNvPr>
          <p:cNvSpPr txBox="1"/>
          <p:nvPr/>
        </p:nvSpPr>
        <p:spPr>
          <a:xfrm>
            <a:off x="7756013" y="4883098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B81035A-11CD-2F79-A2B9-CCDD818E7FE1}"/>
              </a:ext>
            </a:extLst>
          </p:cNvPr>
          <p:cNvSpPr txBox="1"/>
          <p:nvPr/>
        </p:nvSpPr>
        <p:spPr>
          <a:xfrm>
            <a:off x="7731433" y="517315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A279FA2-71AF-8EF2-5F62-7DDD7F2A0061}"/>
              </a:ext>
            </a:extLst>
          </p:cNvPr>
          <p:cNvSpPr txBox="1"/>
          <p:nvPr/>
        </p:nvSpPr>
        <p:spPr>
          <a:xfrm>
            <a:off x="7756014" y="5620518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DF21E29-A3EA-8529-F3AA-292E3C3D6B91}"/>
              </a:ext>
            </a:extLst>
          </p:cNvPr>
          <p:cNvSpPr txBox="1"/>
          <p:nvPr/>
        </p:nvSpPr>
        <p:spPr>
          <a:xfrm>
            <a:off x="7770762" y="596956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E2721E5-6DB5-09CF-CE16-B31F05A3B071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354438817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9F24B0F-67FE-CEEB-6EED-FA2D3F1981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FF9BB5D7-4A79-B83D-58A8-2E3D26FB36FD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899923"/>
          <a:ext cx="12160800" cy="32771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4753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913263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почуваю себе безпечно і спокійно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задоволений/на життям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відчуваю гордість за місто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бачу себе щасливою людиною у Вінниці через 10 років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b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Я бачу своїх дітей щасливими у Вінниці через 10 років</a:t>
                      </a:r>
                      <a:r>
                        <a:rPr lang="ru-RU" sz="103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**</a:t>
                      </a:r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відчуваю оптимізм щодо свого майбутнього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планую протягом наступних десяти років жити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можу повністю реалізувати себе 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36412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3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Я готовий/ва долучатися до громадських ініціатив для розвитку Вінниці</a:t>
                      </a:r>
                      <a:endParaRPr lang="ru-RU" sz="103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9502ED-074B-8C96-EBEE-57CF3C3EE8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9502ED-074B-8C96-EBEE-57CF3C3EE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CAD131-AA2E-29F2-4490-B4618682D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 та лояльність до Вінниц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4464C2-C231-1FDD-D89C-BD4784ABA2AD}"/>
              </a:ext>
            </a:extLst>
          </p:cNvPr>
          <p:cNvSpPr txBox="1"/>
          <p:nvPr/>
        </p:nvSpPr>
        <p:spPr>
          <a:xfrm>
            <a:off x="7246374" y="6473465"/>
            <a:ext cx="45008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1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5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скільки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згодні з такими твердженнями щодо міста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я? Оцініть за шкалою від 1 до 7, де 1 - де 1 – абсолютно не згодні, 4 – нейтральна оцінка, 7 – повністю згодні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46D4E2-1F8D-B14F-B667-833A738BDE53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77AABC85-8363-AD13-40B1-BB4D95D6A968}"/>
              </a:ext>
            </a:extLst>
          </p:cNvPr>
          <p:cNvGraphicFramePr>
            <a:graphicFrameLocks noGrp="1"/>
          </p:cNvGraphicFramePr>
          <p:nvPr/>
        </p:nvGraphicFramePr>
        <p:xfrm>
          <a:off x="4251003" y="6166719"/>
          <a:ext cx="7873496" cy="335280"/>
        </p:xfrm>
        <a:graphic>
          <a:graphicData uri="http://schemas.openxmlformats.org/drawingml/2006/table">
            <a:tbl>
              <a:tblPr firstRow="1" bandRow="1"/>
              <a:tblGrid>
                <a:gridCol w="196837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6837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6837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6837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214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7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17</a:t>
                      </a:r>
                      <a:r>
                        <a:rPr lang="en-US" sz="800" noProof="0" dirty="0">
                          <a:solidFill>
                            <a:srgbClr val="FF0000"/>
                          </a:solidFill>
                          <a:latin typeface="+mn-lt"/>
                        </a:rPr>
                        <a:t>*</a:t>
                      </a:r>
                      <a:endParaRPr lang="uk-UA" sz="800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6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39</a:t>
                      </a:r>
                      <a:endParaRPr lang="uk-UA" sz="800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66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rgbClr val="C00000"/>
                          </a:solidFill>
                          <a:latin typeface="+mn-lt"/>
                        </a:rPr>
                        <a:t>**</a:t>
                      </a: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158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EEC2023E-4248-3E6D-8D47-87BC69FFC6E1}"/>
              </a:ext>
            </a:extLst>
          </p:cNvPr>
          <p:cNvGraphicFramePr/>
          <p:nvPr/>
        </p:nvGraphicFramePr>
        <p:xfrm>
          <a:off x="4286874" y="2806535"/>
          <a:ext cx="1887784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B7157CEA-9802-5540-E75F-721EBA07337F}"/>
              </a:ext>
            </a:extLst>
          </p:cNvPr>
          <p:cNvGraphicFramePr>
            <a:graphicFrameLocks noGrp="1"/>
          </p:cNvGraphicFramePr>
          <p:nvPr/>
        </p:nvGraphicFramePr>
        <p:xfrm>
          <a:off x="4277032" y="2575611"/>
          <a:ext cx="7847668" cy="339852"/>
        </p:xfrm>
        <a:graphic>
          <a:graphicData uri="http://schemas.openxmlformats.org/drawingml/2006/table">
            <a:tbl>
              <a:tblPr firstRow="1" bandRow="1"/>
              <a:tblGrid>
                <a:gridCol w="1961917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CB216BCC-7F88-E830-BC73-9504246E6DAB}"/>
              </a:ext>
            </a:extLst>
          </p:cNvPr>
          <p:cNvSpPr txBox="1">
            <a:spLocks/>
          </p:cNvSpPr>
          <p:nvPr/>
        </p:nvSpPr>
        <p:spPr>
          <a:xfrm>
            <a:off x="1" y="2231287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Згода з  твердженнями про місто Вінниця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CF46336-966B-D092-ACA2-92AB9037FFAF}"/>
              </a:ext>
            </a:extLst>
          </p:cNvPr>
          <p:cNvSpPr txBox="1"/>
          <p:nvPr/>
        </p:nvSpPr>
        <p:spPr bwMode="gray">
          <a:xfrm>
            <a:off x="180218" y="261589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0F1D487D-9909-CC46-8291-231939042421}"/>
              </a:ext>
            </a:extLst>
          </p:cNvPr>
          <p:cNvGraphicFramePr/>
          <p:nvPr/>
        </p:nvGraphicFramePr>
        <p:xfrm>
          <a:off x="8485239" y="2231922"/>
          <a:ext cx="3639463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332D890-30A7-0F0F-9BBF-686D552F2EE2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Особливістю тих, хто планує переїзд за кордон, порівняно до тих, хто планує виїзд в інше місто, є гірша оцінка відчуття безпеки у Вінниці (43% порівняно до 65%). 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830794F7-733D-D558-C388-DB15CF3445EE}"/>
              </a:ext>
            </a:extLst>
          </p:cNvPr>
          <p:cNvGraphicFramePr/>
          <p:nvPr/>
        </p:nvGraphicFramePr>
        <p:xfrm>
          <a:off x="6237990" y="2807701"/>
          <a:ext cx="1887784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6">
            <a:extLst>
              <a:ext uri="{FF2B5EF4-FFF2-40B4-BE49-F238E27FC236}">
                <a16:creationId xmlns:a16="http://schemas.microsoft.com/office/drawing/2014/main" id="{2A7091D8-4B9A-72B0-5460-2137E6A22CA8}"/>
              </a:ext>
            </a:extLst>
          </p:cNvPr>
          <p:cNvGraphicFramePr/>
          <p:nvPr/>
        </p:nvGraphicFramePr>
        <p:xfrm>
          <a:off x="8198936" y="2805369"/>
          <a:ext cx="1887784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Диаграмма 16">
            <a:extLst>
              <a:ext uri="{FF2B5EF4-FFF2-40B4-BE49-F238E27FC236}">
                <a16:creationId xmlns:a16="http://schemas.microsoft.com/office/drawing/2014/main" id="{03584CCE-03D3-6600-FA4E-8E2337A4C3E9}"/>
              </a:ext>
            </a:extLst>
          </p:cNvPr>
          <p:cNvGraphicFramePr/>
          <p:nvPr/>
        </p:nvGraphicFramePr>
        <p:xfrm>
          <a:off x="10159885" y="2806535"/>
          <a:ext cx="1887784" cy="342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1804205A-8062-9DD6-05AB-937858C90B7D}"/>
              </a:ext>
            </a:extLst>
          </p:cNvPr>
          <p:cNvSpPr txBox="1"/>
          <p:nvPr/>
        </p:nvSpPr>
        <p:spPr>
          <a:xfrm>
            <a:off x="8307" y="6154000"/>
            <a:ext cx="38160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твердження задавалось лише тим респондентам, які мають дітей до 16-ти років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2862AC-1E77-0E49-749D-00E06BC55DBC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6A35F79-E976-42FE-24BC-EC2EE8BC7665}"/>
              </a:ext>
            </a:extLst>
          </p:cNvPr>
          <p:cNvSpPr txBox="1"/>
          <p:nvPr/>
        </p:nvSpPr>
        <p:spPr>
          <a:xfrm>
            <a:off x="8876183" y="297512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E14D6D8-C941-7ACB-A34B-5B54FA472669}"/>
              </a:ext>
            </a:extLst>
          </p:cNvPr>
          <p:cNvSpPr txBox="1"/>
          <p:nvPr/>
        </p:nvSpPr>
        <p:spPr>
          <a:xfrm>
            <a:off x="7539704" y="2976279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EFF539D-AB71-BD10-65C4-4EF44DC44FDA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DBC92F-B539-B1B3-F6B3-789FE7C744AF}"/>
              </a:ext>
            </a:extLst>
          </p:cNvPr>
          <p:cNvSpPr txBox="1"/>
          <p:nvPr/>
        </p:nvSpPr>
        <p:spPr>
          <a:xfrm>
            <a:off x="8910596" y="334383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1D9032B-2E82-65FF-F1FD-D62D20B306EB}"/>
              </a:ext>
            </a:extLst>
          </p:cNvPr>
          <p:cNvSpPr txBox="1"/>
          <p:nvPr/>
        </p:nvSpPr>
        <p:spPr>
          <a:xfrm>
            <a:off x="8856517" y="370271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6004A9-A9A0-8060-E242-1B799D846920}"/>
              </a:ext>
            </a:extLst>
          </p:cNvPr>
          <p:cNvSpPr txBox="1"/>
          <p:nvPr/>
        </p:nvSpPr>
        <p:spPr>
          <a:xfrm>
            <a:off x="8802440" y="407142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ED85E3-6EEE-7D9A-1B55-3D39BA8AD771}"/>
              </a:ext>
            </a:extLst>
          </p:cNvPr>
          <p:cNvSpPr txBox="1"/>
          <p:nvPr/>
        </p:nvSpPr>
        <p:spPr>
          <a:xfrm>
            <a:off x="8782777" y="480884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6B255C-0956-BBBB-6675-BF4F41AFBE66}"/>
              </a:ext>
            </a:extLst>
          </p:cNvPr>
          <p:cNvSpPr txBox="1"/>
          <p:nvPr/>
        </p:nvSpPr>
        <p:spPr>
          <a:xfrm>
            <a:off x="8689371" y="517755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D66226-409E-BE46-A8E4-CD8CFF5CFDBF}"/>
              </a:ext>
            </a:extLst>
          </p:cNvPr>
          <p:cNvSpPr txBox="1"/>
          <p:nvPr/>
        </p:nvSpPr>
        <p:spPr>
          <a:xfrm>
            <a:off x="8772945" y="552660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1A876CF-EC2C-A113-47F7-98187AE3FBF6}"/>
              </a:ext>
            </a:extLst>
          </p:cNvPr>
          <p:cNvSpPr txBox="1"/>
          <p:nvPr/>
        </p:nvSpPr>
        <p:spPr>
          <a:xfrm>
            <a:off x="8709035" y="589531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2169101-E240-5202-4A12-5844983167BD}"/>
              </a:ext>
            </a:extLst>
          </p:cNvPr>
          <p:cNvSpPr txBox="1"/>
          <p:nvPr/>
        </p:nvSpPr>
        <p:spPr>
          <a:xfrm>
            <a:off x="10877048" y="297021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B32128B-06BD-924F-9F2E-F49CDDBACB3F}"/>
              </a:ext>
            </a:extLst>
          </p:cNvPr>
          <p:cNvSpPr txBox="1"/>
          <p:nvPr/>
        </p:nvSpPr>
        <p:spPr>
          <a:xfrm>
            <a:off x="10881964" y="334875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7EA6363-0982-B638-28E1-546E0109BD9C}"/>
              </a:ext>
            </a:extLst>
          </p:cNvPr>
          <p:cNvSpPr txBox="1"/>
          <p:nvPr/>
        </p:nvSpPr>
        <p:spPr>
          <a:xfrm>
            <a:off x="10847551" y="370763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5B747C5-9A28-C15E-2730-E383B1407B0A}"/>
              </a:ext>
            </a:extLst>
          </p:cNvPr>
          <p:cNvSpPr txBox="1"/>
          <p:nvPr/>
        </p:nvSpPr>
        <p:spPr>
          <a:xfrm>
            <a:off x="10714816" y="553151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48C47DD-15AA-182B-9307-ED9BE2233810}"/>
              </a:ext>
            </a:extLst>
          </p:cNvPr>
          <p:cNvSpPr txBox="1"/>
          <p:nvPr/>
        </p:nvSpPr>
        <p:spPr>
          <a:xfrm>
            <a:off x="10670571" y="589039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D385BA2-35D0-D072-FB56-1C1D23A357DB}"/>
              </a:ext>
            </a:extLst>
          </p:cNvPr>
          <p:cNvSpPr txBox="1"/>
          <p:nvPr/>
        </p:nvSpPr>
        <p:spPr>
          <a:xfrm>
            <a:off x="10846545" y="407955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D232D80-4379-5C19-D457-DBEED5AEFB9E}"/>
              </a:ext>
            </a:extLst>
          </p:cNvPr>
          <p:cNvSpPr txBox="1"/>
          <p:nvPr/>
        </p:nvSpPr>
        <p:spPr>
          <a:xfrm>
            <a:off x="10861294" y="443843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AFA68C7-642E-FCB9-C0C5-7ED0F83043A1}"/>
              </a:ext>
            </a:extLst>
          </p:cNvPr>
          <p:cNvSpPr txBox="1"/>
          <p:nvPr/>
        </p:nvSpPr>
        <p:spPr>
          <a:xfrm>
            <a:off x="10836714" y="4797308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AB12A96-52C1-2144-5831-8146795DECC6}"/>
              </a:ext>
            </a:extLst>
          </p:cNvPr>
          <p:cNvSpPr txBox="1"/>
          <p:nvPr/>
        </p:nvSpPr>
        <p:spPr>
          <a:xfrm>
            <a:off x="10871127" y="5185682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5F65792-076D-77A8-DA85-11E1383F7932}"/>
              </a:ext>
            </a:extLst>
          </p:cNvPr>
          <p:cNvSpPr txBox="1"/>
          <p:nvPr/>
        </p:nvSpPr>
        <p:spPr>
          <a:xfrm>
            <a:off x="7544620" y="3344989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4056EFC-AA87-562F-66DF-281A64392648}"/>
              </a:ext>
            </a:extLst>
          </p:cNvPr>
          <p:cNvSpPr txBox="1"/>
          <p:nvPr/>
        </p:nvSpPr>
        <p:spPr>
          <a:xfrm>
            <a:off x="7549537" y="3713699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C063176-D46C-3ADE-E1E8-9190ABEB8023}"/>
              </a:ext>
            </a:extLst>
          </p:cNvPr>
          <p:cNvSpPr txBox="1"/>
          <p:nvPr/>
        </p:nvSpPr>
        <p:spPr>
          <a:xfrm>
            <a:off x="7397137" y="4062744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F8435C2-0C4E-B833-482D-7E7D7C6EA58E}"/>
              </a:ext>
            </a:extLst>
          </p:cNvPr>
          <p:cNvSpPr txBox="1"/>
          <p:nvPr/>
        </p:nvSpPr>
        <p:spPr>
          <a:xfrm>
            <a:off x="7271737" y="44381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CE0CAB-0936-E9D8-D050-4ED15818F1B5}"/>
              </a:ext>
            </a:extLst>
          </p:cNvPr>
          <p:cNvSpPr txBox="1"/>
          <p:nvPr/>
        </p:nvSpPr>
        <p:spPr>
          <a:xfrm>
            <a:off x="7293898" y="4814912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93B0F63-514C-FF14-A209-7FDBC0A2E07B}"/>
              </a:ext>
            </a:extLst>
          </p:cNvPr>
          <p:cNvSpPr txBox="1"/>
          <p:nvPr/>
        </p:nvSpPr>
        <p:spPr>
          <a:xfrm>
            <a:off x="7053008" y="5163957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BA4E384-22B2-C9D6-A11B-4F44A1F965E2}"/>
              </a:ext>
            </a:extLst>
          </p:cNvPr>
          <p:cNvSpPr txBox="1"/>
          <p:nvPr/>
        </p:nvSpPr>
        <p:spPr>
          <a:xfrm>
            <a:off x="7215241" y="5542499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6430E72-5587-5124-F7AC-652E75A56132}"/>
              </a:ext>
            </a:extLst>
          </p:cNvPr>
          <p:cNvSpPr txBox="1"/>
          <p:nvPr/>
        </p:nvSpPr>
        <p:spPr>
          <a:xfrm>
            <a:off x="7436466" y="5891544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4872D2B-48D3-B2A1-571B-95E803AC250D}"/>
              </a:ext>
            </a:extLst>
          </p:cNvPr>
          <p:cNvSpPr txBox="1"/>
          <p:nvPr/>
        </p:nvSpPr>
        <p:spPr>
          <a:xfrm>
            <a:off x="9646227" y="406944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F9CE3B4-7D05-3A28-ECCA-57BA6D5B1DA6}"/>
              </a:ext>
            </a:extLst>
          </p:cNvPr>
          <p:cNvSpPr txBox="1"/>
          <p:nvPr/>
        </p:nvSpPr>
        <p:spPr>
          <a:xfrm>
            <a:off x="9454498" y="44381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573D975-FC91-9D4F-E45C-111B1603A2F9}"/>
              </a:ext>
            </a:extLst>
          </p:cNvPr>
          <p:cNvSpPr txBox="1"/>
          <p:nvPr/>
        </p:nvSpPr>
        <p:spPr>
          <a:xfrm>
            <a:off x="9508575" y="516082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4CB000F-F16E-2313-EE0B-FD69993E7AE8}"/>
              </a:ext>
            </a:extLst>
          </p:cNvPr>
          <p:cNvSpPr txBox="1"/>
          <p:nvPr/>
        </p:nvSpPr>
        <p:spPr>
          <a:xfrm>
            <a:off x="9813376" y="524931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404641D-8AB7-FDB1-79C3-827C68DA70E1}"/>
              </a:ext>
            </a:extLst>
          </p:cNvPr>
          <p:cNvSpPr txBox="1"/>
          <p:nvPr/>
        </p:nvSpPr>
        <p:spPr>
          <a:xfrm>
            <a:off x="7881337" y="306163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0892978-7F11-ED49-B872-BEFDB84C75EC}"/>
              </a:ext>
            </a:extLst>
          </p:cNvPr>
          <p:cNvSpPr txBox="1"/>
          <p:nvPr/>
        </p:nvSpPr>
        <p:spPr>
          <a:xfrm>
            <a:off x="7866589" y="37843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4D40131-A373-45A8-C47F-A4DCF65503E2}"/>
              </a:ext>
            </a:extLst>
          </p:cNvPr>
          <p:cNvSpPr txBox="1"/>
          <p:nvPr/>
        </p:nvSpPr>
        <p:spPr>
          <a:xfrm>
            <a:off x="7891170" y="44381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ADED52C5-2E45-2A97-A449-1152C41A5FC9}"/>
              </a:ext>
            </a:extLst>
          </p:cNvPr>
          <p:cNvSpPr txBox="1"/>
          <p:nvPr/>
        </p:nvSpPr>
        <p:spPr>
          <a:xfrm>
            <a:off x="7805175" y="343839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45034F8-0FC0-54FD-151D-3AE1E2F29798}"/>
              </a:ext>
            </a:extLst>
          </p:cNvPr>
          <p:cNvSpPr txBox="1"/>
          <p:nvPr/>
        </p:nvSpPr>
        <p:spPr>
          <a:xfrm>
            <a:off x="7760930" y="4161066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2EC5559-628E-0057-F30A-70B7BC4D89FB}"/>
              </a:ext>
            </a:extLst>
          </p:cNvPr>
          <p:cNvSpPr txBox="1"/>
          <p:nvPr/>
        </p:nvSpPr>
        <p:spPr>
          <a:xfrm>
            <a:off x="7756014" y="516887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5E058BA-3773-5B1D-2EF4-18F3C7F751F2}"/>
              </a:ext>
            </a:extLst>
          </p:cNvPr>
          <p:cNvSpPr txBox="1"/>
          <p:nvPr/>
        </p:nvSpPr>
        <p:spPr>
          <a:xfrm>
            <a:off x="7692105" y="5616241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72F701CC-503F-C751-1025-D4188B24EADE}"/>
              </a:ext>
            </a:extLst>
          </p:cNvPr>
          <p:cNvSpPr txBox="1"/>
          <p:nvPr/>
        </p:nvSpPr>
        <p:spPr>
          <a:xfrm>
            <a:off x="7751097" y="4878821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482144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D8B22F-F4F8-15BE-8D77-6798F399E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B6911D-1CEF-5295-21B7-CDDC2434BA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B6911D-1CEF-5295-21B7-CDDC2434BA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43C0F8-3927-CC81-346F-AD2C57CC9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Сприйняття міста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D62C9F02-A3AA-7EEB-5D96-6F56E9E9E424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680638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4B2022D-7F41-5F5C-3F33-3DC653ADE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188A96A3-2D61-B838-4F71-87CE869B985B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368983"/>
          <a:ext cx="12160800" cy="4197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8038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08041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форт / Комфортне / Затиш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 / Безпе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654208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раструктур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386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нспорт (сполучення / розв'язк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17481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те / Доглянут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920824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пактне / Маленьке / Не велике насел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18448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ток / Розвинене / Сучас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459096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окійне / Тих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елене / Зелені зони / Еколог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они відпочинку (парки / водойми / фонтан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жливості (для реалізації / кар'єри / бізнес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омадський транспорт (розвинений / гарний / доглянутий / зручни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у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ографічне розташува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арне / Красиве / Приєм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місць для дозвілля (кафе / магазини) / Різноманітні активно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огісти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(хороші / приємні / добр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навчальних закла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тупне / Помірні ці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різноманіття для ді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агоустрі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клюзія / Безбар'єр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ороша місцева влад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має переваг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811E7DC-76AF-16DC-C033-83659C507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1E7DC-76AF-16DC-C033-83659C507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DB46F0-D4BE-6E19-01F9-C40EFCB78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до іншого міста та </a:t>
            </a:r>
            <a:r>
              <a:rPr lang="uk-UA" sz="2400" noProof="0" dirty="0"/>
              <a:t>оцінка переваг Вінниці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1D9EE6-F933-57B3-F8E0-96D6C4327039}"/>
              </a:ext>
            </a:extLst>
          </p:cNvPr>
          <p:cNvSpPr txBox="1"/>
          <p:nvPr/>
        </p:nvSpPr>
        <p:spPr>
          <a:xfrm>
            <a:off x="7108724" y="6630780"/>
            <a:ext cx="463853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9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 Вашу думку, які є унікальні переваги міста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і порівняно до інших міст України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BE5CDB-9331-1C32-37C7-61022626FD6D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62D52AE0-388F-951E-556F-6D8B3F644075}"/>
              </a:ext>
            </a:extLst>
          </p:cNvPr>
          <p:cNvGraphicFramePr>
            <a:graphicFrameLocks noGrp="1"/>
          </p:cNvGraphicFramePr>
          <p:nvPr/>
        </p:nvGraphicFramePr>
        <p:xfrm>
          <a:off x="4090218" y="6520683"/>
          <a:ext cx="7909448" cy="218225"/>
        </p:xfrm>
        <a:graphic>
          <a:graphicData uri="http://schemas.openxmlformats.org/drawingml/2006/table">
            <a:tbl>
              <a:tblPr firstRow="1" bandRow="1"/>
              <a:tblGrid>
                <a:gridCol w="1977362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77362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77362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77362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7D06AF83-7F81-90E9-BC47-A8C0020391DC}"/>
              </a:ext>
            </a:extLst>
          </p:cNvPr>
          <p:cNvGraphicFramePr>
            <a:graphicFrameLocks noGrp="1"/>
          </p:cNvGraphicFramePr>
          <p:nvPr/>
        </p:nvGraphicFramePr>
        <p:xfrm>
          <a:off x="4090218" y="2015175"/>
          <a:ext cx="8009880" cy="327660"/>
        </p:xfrm>
        <a:graphic>
          <a:graphicData uri="http://schemas.openxmlformats.org/drawingml/2006/table">
            <a:tbl>
              <a:tblPr firstRow="1" bandRow="1"/>
              <a:tblGrid>
                <a:gridCol w="200247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0247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0247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0247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8BBC4436-0970-0FB1-AF86-73779C551C62}"/>
              </a:ext>
            </a:extLst>
          </p:cNvPr>
          <p:cNvSpPr txBox="1">
            <a:spLocks/>
          </p:cNvSpPr>
          <p:nvPr/>
        </p:nvSpPr>
        <p:spPr>
          <a:xfrm>
            <a:off x="1" y="1690515"/>
            <a:ext cx="12192000" cy="352244"/>
          </a:xfrm>
          <a:prstGeom prst="rect">
            <a:avLst/>
          </a:prstGeom>
        </p:spPr>
        <p:txBody>
          <a:bodyPr lIns="90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Унікальні переваги міста Вінниці порівняно до інших міст України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BA14231-EAE4-A01D-A9F6-E09AD015AE48}"/>
              </a:ext>
            </a:extLst>
          </p:cNvPr>
          <p:cNvSpPr txBox="1"/>
          <p:nvPr/>
        </p:nvSpPr>
        <p:spPr bwMode="gray">
          <a:xfrm>
            <a:off x="180218" y="2075124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3B65058-EAEF-ACDB-687D-2B17F47394CF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Комфорт є ознакою Вінниці для всіх груп, але окремо комфорт і безпеку відзначають ті, хто планує залишатися у </a:t>
            </a:r>
            <a:r>
              <a:rPr lang="uk-UA" sz="1600" noProof="0" dirty="0" err="1"/>
              <a:t>Вінниц</a:t>
            </a:r>
            <a:r>
              <a:rPr lang="uk-UA" sz="1600" dirty="0"/>
              <a:t>і. Також ті, хто планує залишатися у Вінниці, вбачають можливості для реалізації у місті. </a:t>
            </a:r>
          </a:p>
          <a:p>
            <a:r>
              <a:rPr lang="uk-UA" sz="1600" noProof="0" dirty="0"/>
              <a:t>Ті, що не визначились щодо переїзду в інше місто, цінують у Вінниці як комфорт, так і розвиток і сучасність. </a:t>
            </a:r>
          </a:p>
          <a:p>
            <a:r>
              <a:rPr lang="uk-UA" sz="1600" dirty="0"/>
              <a:t>Ті, що планують переїзд у інше місто, відзначають Вінницю як спокійне і тихе місце з гарним географічним розташуванням.</a:t>
            </a:r>
            <a:endParaRPr lang="uk-UA" sz="1600" noProof="0" dirty="0"/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C1B43B23-96C7-B04D-5841-E70A0B90199C}"/>
              </a:ext>
            </a:extLst>
          </p:cNvPr>
          <p:cNvGraphicFramePr/>
          <p:nvPr/>
        </p:nvGraphicFramePr>
        <p:xfrm>
          <a:off x="4112058" y="2247645"/>
          <a:ext cx="1944754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0" name="Диаграмма 16">
            <a:extLst>
              <a:ext uri="{FF2B5EF4-FFF2-40B4-BE49-F238E27FC236}">
                <a16:creationId xmlns:a16="http://schemas.microsoft.com/office/drawing/2014/main" id="{97A5BBB8-8831-4D08-3950-564AAEEE15E0}"/>
              </a:ext>
            </a:extLst>
          </p:cNvPr>
          <p:cNvGraphicFramePr/>
          <p:nvPr/>
        </p:nvGraphicFramePr>
        <p:xfrm>
          <a:off x="6094849" y="2250024"/>
          <a:ext cx="1944754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Диаграмма 16">
            <a:extLst>
              <a:ext uri="{FF2B5EF4-FFF2-40B4-BE49-F238E27FC236}">
                <a16:creationId xmlns:a16="http://schemas.microsoft.com/office/drawing/2014/main" id="{9F2106A0-E4CD-231F-9E76-705D085BA7CF}"/>
              </a:ext>
            </a:extLst>
          </p:cNvPr>
          <p:cNvGraphicFramePr/>
          <p:nvPr/>
        </p:nvGraphicFramePr>
        <p:xfrm>
          <a:off x="8087474" y="2252560"/>
          <a:ext cx="1944754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7A6C0EA5-F09D-D952-26CE-36E902948717}"/>
              </a:ext>
            </a:extLst>
          </p:cNvPr>
          <p:cNvGraphicFramePr/>
          <p:nvPr/>
        </p:nvGraphicFramePr>
        <p:xfrm>
          <a:off x="10089930" y="2254939"/>
          <a:ext cx="1944754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707A8E35-263B-0461-675C-F9171FDB8039}"/>
              </a:ext>
            </a:extLst>
          </p:cNvPr>
          <p:cNvSpPr txBox="1"/>
          <p:nvPr/>
        </p:nvSpPr>
        <p:spPr>
          <a:xfrm>
            <a:off x="6681730" y="622561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0BD392F-4313-636B-1B8A-3F4DAC35A302}"/>
              </a:ext>
            </a:extLst>
          </p:cNvPr>
          <p:cNvSpPr txBox="1"/>
          <p:nvPr/>
        </p:nvSpPr>
        <p:spPr>
          <a:xfrm>
            <a:off x="8608603" y="605912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B7BC18F-832F-6126-E2A2-9C52DF0EAB29}"/>
              </a:ext>
            </a:extLst>
          </p:cNvPr>
          <p:cNvSpPr txBox="1"/>
          <p:nvPr/>
        </p:nvSpPr>
        <p:spPr>
          <a:xfrm>
            <a:off x="10594037" y="3899214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21664E-9A1D-83D7-86AC-01DDF430B474}"/>
              </a:ext>
            </a:extLst>
          </p:cNvPr>
          <p:cNvSpPr txBox="1"/>
          <p:nvPr/>
        </p:nvSpPr>
        <p:spPr>
          <a:xfrm>
            <a:off x="6687355" y="343353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F974E9-8650-1EE2-95DC-EC721B3160FF}"/>
              </a:ext>
            </a:extLst>
          </p:cNvPr>
          <p:cNvSpPr txBox="1"/>
          <p:nvPr/>
        </p:nvSpPr>
        <p:spPr>
          <a:xfrm>
            <a:off x="6642462" y="436268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BABA22-AB1D-12EB-EFAB-C63436C06C1C}"/>
              </a:ext>
            </a:extLst>
          </p:cNvPr>
          <p:cNvSpPr txBox="1"/>
          <p:nvPr/>
        </p:nvSpPr>
        <p:spPr>
          <a:xfrm>
            <a:off x="8582543" y="622729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E064897-E220-64A7-EF74-AE11D3F7A85B}"/>
              </a:ext>
            </a:extLst>
          </p:cNvPr>
          <p:cNvSpPr txBox="1"/>
          <p:nvPr/>
        </p:nvSpPr>
        <p:spPr>
          <a:xfrm>
            <a:off x="8676476" y="3277891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536CC6E-74EB-6EB6-D576-41BBF6FFDE12}"/>
              </a:ext>
            </a:extLst>
          </p:cNvPr>
          <p:cNvSpPr txBox="1"/>
          <p:nvPr/>
        </p:nvSpPr>
        <p:spPr>
          <a:xfrm>
            <a:off x="10894590" y="234463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C0692F-106A-0DD2-59E8-5132CF1B732E}"/>
              </a:ext>
            </a:extLst>
          </p:cNvPr>
          <p:cNvSpPr txBox="1"/>
          <p:nvPr/>
        </p:nvSpPr>
        <p:spPr>
          <a:xfrm>
            <a:off x="10725443" y="250708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EBA954-7D57-9322-4726-59A9C492B9E4}"/>
              </a:ext>
            </a:extLst>
          </p:cNvPr>
          <p:cNvSpPr txBox="1"/>
          <p:nvPr/>
        </p:nvSpPr>
        <p:spPr>
          <a:xfrm>
            <a:off x="10686925" y="313175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3E4F750-0D53-0B97-5CB2-E4C05570ECFE}"/>
              </a:ext>
            </a:extLst>
          </p:cNvPr>
          <p:cNvSpPr txBox="1"/>
          <p:nvPr/>
        </p:nvSpPr>
        <p:spPr>
          <a:xfrm>
            <a:off x="10658455" y="343488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11607A-18C1-BA67-878C-3B390D48A4B9}"/>
              </a:ext>
            </a:extLst>
          </p:cNvPr>
          <p:cNvSpPr txBox="1"/>
          <p:nvPr/>
        </p:nvSpPr>
        <p:spPr>
          <a:xfrm>
            <a:off x="10650082" y="358728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E99C3F-55D1-0278-3FC8-6E909165B9DD}"/>
              </a:ext>
            </a:extLst>
          </p:cNvPr>
          <p:cNvSpPr txBox="1"/>
          <p:nvPr/>
        </p:nvSpPr>
        <p:spPr>
          <a:xfrm>
            <a:off x="10641708" y="373968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14B9F46-BCCF-1976-8355-395C80314F41}"/>
              </a:ext>
            </a:extLst>
          </p:cNvPr>
          <p:cNvSpPr txBox="1"/>
          <p:nvPr/>
        </p:nvSpPr>
        <p:spPr>
          <a:xfrm>
            <a:off x="10472561" y="482657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002181D-DB7A-9899-2489-7B5F21E4B2E7}"/>
              </a:ext>
            </a:extLst>
          </p:cNvPr>
          <p:cNvSpPr txBox="1"/>
          <p:nvPr/>
        </p:nvSpPr>
        <p:spPr>
          <a:xfrm>
            <a:off x="10403898" y="560219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16F9708-A042-CEEE-2F2B-8B4614F09067}"/>
              </a:ext>
            </a:extLst>
          </p:cNvPr>
          <p:cNvSpPr txBox="1"/>
          <p:nvPr/>
        </p:nvSpPr>
        <p:spPr>
          <a:xfrm>
            <a:off x="10589803" y="607085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8FE93E-35E8-9DA7-968B-361CE6BC08DF}"/>
              </a:ext>
            </a:extLst>
          </p:cNvPr>
          <p:cNvSpPr txBox="1"/>
          <p:nvPr/>
        </p:nvSpPr>
        <p:spPr>
          <a:xfrm>
            <a:off x="10561333" y="498687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40BBC4B-A373-2E2F-C39E-B67D7BB88DE0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1018365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DD38-9D80-4DB2-6F67-61DE7F7472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DC3AC43-DB7D-5302-A286-4EFE32CB22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C3AC43-DB7D-5302-A286-4EFE32CB22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88445A-5D7D-A8D5-5D29-C8EC5D570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Розподіл опитаних за статусом зайнятості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99CDEB-BE54-FAC4-879B-E6BA4507DBBD}"/>
              </a:ext>
            </a:extLst>
          </p:cNvPr>
          <p:cNvSpPr txBox="1"/>
          <p:nvPr/>
        </p:nvSpPr>
        <p:spPr>
          <a:xfrm>
            <a:off x="9851923" y="6620950"/>
            <a:ext cx="1895335" cy="218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1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е Ваше основне заняття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119FD5-5CF4-ED7E-02A9-BE8171AE8A1E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0A4F4701-2A57-3440-D177-117C154AB4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9229868"/>
              </p:ext>
            </p:extLst>
          </p:nvPr>
        </p:nvGraphicFramePr>
        <p:xfrm>
          <a:off x="39329" y="2821266"/>
          <a:ext cx="12142312" cy="3086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ацюєте за </a:t>
                      </a:r>
                      <a:r>
                        <a:rPr lang="uk-UA" sz="1100" b="0" i="0" u="none" strike="noStrike" kern="1200" cap="non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ймом</a:t>
                      </a: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на повний або неповний робочий ден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дете бізнес, </a:t>
                      </a:r>
                      <a:r>
                        <a:rPr lang="uk-UA" sz="1100" b="0" i="0" u="none" strike="noStrike" kern="1200" cap="non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мозайнятий</a:t>
                      </a:r>
                      <a:endParaRPr lang="uk-UA" sz="1100" b="0" i="0" u="none" strike="noStrike" kern="1200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єтесь у закладі вищої освіти </a:t>
                      </a:r>
                      <a:r>
                        <a:rPr lang="uk-UA" sz="8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університет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єтесь у коледжі, училищі, іншому професійно-технічному заклад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196628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працюєте і не шукаєте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49021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вчаєтесь у середній школ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раз не працюєте, але активно шукаєте роботу </a:t>
                      </a:r>
                      <a:r>
                        <a:rPr lang="uk-UA" sz="8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переглядаєте оголошення, запитуєте про роботу у знайомих, надсилаєте інформацію про себе)</a:t>
                      </a:r>
                      <a:endParaRPr lang="uk-UA" sz="850" b="0" i="0" u="none" strike="noStrike" kern="1200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8047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військовій служб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131673D5-C856-174A-4734-AE42941100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9733148"/>
              </p:ext>
            </p:extLst>
          </p:nvPr>
        </p:nvGraphicFramePr>
        <p:xfrm>
          <a:off x="4043234" y="2729424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0B0B1C72-2F81-50F1-E8F8-9A02FE9AB2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8441952"/>
              </p:ext>
            </p:extLst>
          </p:nvPr>
        </p:nvGraphicFramePr>
        <p:xfrm>
          <a:off x="4041058" y="2536281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C8515191-7A5B-E73F-5A7D-1C22A9DD05E1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Статус зайнятості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976801DA-06DB-A5E1-3AA1-8A8524B20D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5086957"/>
              </p:ext>
            </p:extLst>
          </p:nvPr>
        </p:nvGraphicFramePr>
        <p:xfrm>
          <a:off x="5654368" y="2732276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57FE4494-3BD1-4EEA-3F49-E94B3CBD90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3346048"/>
              </p:ext>
            </p:extLst>
          </p:nvPr>
        </p:nvGraphicFramePr>
        <p:xfrm>
          <a:off x="7285848" y="2726572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A14DD1B3-230C-9A46-8634-F3B0B3D6C8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5351917"/>
              </p:ext>
            </p:extLst>
          </p:nvPr>
        </p:nvGraphicFramePr>
        <p:xfrm>
          <a:off x="8916644" y="2729424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6E437D21-8C95-538E-E7E3-E520C650DE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9724762"/>
              </p:ext>
            </p:extLst>
          </p:nvPr>
        </p:nvGraphicFramePr>
        <p:xfrm>
          <a:off x="10530361" y="2726572"/>
          <a:ext cx="1548000" cy="322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8220FFB5-C614-2065-291D-310200B88710}"/>
              </a:ext>
            </a:extLst>
          </p:cNvPr>
          <p:cNvSpPr txBox="1"/>
          <p:nvPr/>
        </p:nvSpPr>
        <p:spPr bwMode="gray">
          <a:xfrm>
            <a:off x="70090" y="2598297"/>
            <a:ext cx="1008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202B7C5-F1F7-A5E2-E0F5-CA039519C591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Навчання (у школі, закладі </a:t>
            </a:r>
            <a:r>
              <a:rPr lang="uk-UA" sz="1600" dirty="0" err="1"/>
              <a:t>проф-тех</a:t>
            </a:r>
            <a:r>
              <a:rPr lang="uk-UA" sz="1600" dirty="0"/>
              <a:t> або вищої освіти) є головним видом зайнятості для молоді у віковій групі 14-19 років. У вікових групах починаючи з 20 років найбільш поширеним видом зайнятості є робота за </a:t>
            </a:r>
            <a:r>
              <a:rPr lang="uk-UA" sz="1600" dirty="0" err="1"/>
              <a:t>наймом</a:t>
            </a:r>
            <a:r>
              <a:rPr lang="uk-UA" sz="1600" dirty="0"/>
              <a:t> або ведення власного бізнесу.</a:t>
            </a:r>
          </a:p>
          <a:p>
            <a:r>
              <a:rPr lang="uk-UA" sz="1600" noProof="0" dirty="0"/>
              <a:t>Частка студентів вищих навчальних закладів складає 18% у групі 14-19 років та 29% у групі 20-24 роки.</a:t>
            </a:r>
          </a:p>
          <a:p>
            <a:r>
              <a:rPr lang="uk-UA" sz="1600" dirty="0"/>
              <a:t>Частка безробітних складає близько 5% у вікових групах 20 років і старше. </a:t>
            </a:r>
          </a:p>
          <a:p>
            <a:r>
              <a:rPr lang="uk-UA" sz="1600" noProof="0" dirty="0"/>
              <a:t>У вікових групах старше 25 років 11-12% опитаних не працюють і не шукають роботу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CC6CACE-2DBE-3E7A-F4E3-3186BE626A9F}"/>
              </a:ext>
            </a:extLst>
          </p:cNvPr>
          <p:cNvSpPr txBox="1"/>
          <p:nvPr/>
        </p:nvSpPr>
        <p:spPr>
          <a:xfrm>
            <a:off x="6433012" y="391648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75EE18-DA48-A75B-AC50-34EF5A70D53A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EF3EC8C6-9113-1D7F-117F-E9BA963EB2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2652899"/>
              </p:ext>
            </p:extLst>
          </p:nvPr>
        </p:nvGraphicFramePr>
        <p:xfrm>
          <a:off x="4041058" y="5901554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33" name="TextBox 32">
            <a:extLst>
              <a:ext uri="{FF2B5EF4-FFF2-40B4-BE49-F238E27FC236}">
                <a16:creationId xmlns:a16="http://schemas.microsoft.com/office/drawing/2014/main" id="{32269070-3085-0183-31BB-34352CB57E69}"/>
              </a:ext>
            </a:extLst>
          </p:cNvPr>
          <p:cNvSpPr txBox="1"/>
          <p:nvPr/>
        </p:nvSpPr>
        <p:spPr>
          <a:xfrm>
            <a:off x="8109412" y="286935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E67FF0C-C4F3-1C0D-1607-F89BD62C6834}"/>
              </a:ext>
            </a:extLst>
          </p:cNvPr>
          <p:cNvSpPr txBox="1"/>
          <p:nvPr/>
        </p:nvSpPr>
        <p:spPr>
          <a:xfrm>
            <a:off x="7760367" y="320856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A4CBB80-241F-2030-A94E-DF92E09D4A2E}"/>
              </a:ext>
            </a:extLst>
          </p:cNvPr>
          <p:cNvSpPr txBox="1"/>
          <p:nvPr/>
        </p:nvSpPr>
        <p:spPr>
          <a:xfrm>
            <a:off x="9859554" y="2879182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5BA457F-6344-982C-607A-782B7103F472}"/>
              </a:ext>
            </a:extLst>
          </p:cNvPr>
          <p:cNvSpPr txBox="1"/>
          <p:nvPr/>
        </p:nvSpPr>
        <p:spPr>
          <a:xfrm>
            <a:off x="9461348" y="322822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C30419C-7F35-2C82-96A0-69C9A68D6E93}"/>
              </a:ext>
            </a:extLst>
          </p:cNvPr>
          <p:cNvSpPr txBox="1"/>
          <p:nvPr/>
        </p:nvSpPr>
        <p:spPr>
          <a:xfrm>
            <a:off x="11068922" y="321347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3B63ACC-4385-1D11-8B8E-B01FE6AD5884}"/>
              </a:ext>
            </a:extLst>
          </p:cNvPr>
          <p:cNvSpPr txBox="1"/>
          <p:nvPr/>
        </p:nvSpPr>
        <p:spPr>
          <a:xfrm>
            <a:off x="10857528" y="4929208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88F94FE-8A8C-70F8-4835-56CE3CA47084}"/>
              </a:ext>
            </a:extLst>
          </p:cNvPr>
          <p:cNvSpPr txBox="1"/>
          <p:nvPr/>
        </p:nvSpPr>
        <p:spPr>
          <a:xfrm>
            <a:off x="6182289" y="356744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3C193BE-BBB3-831C-98CD-2C852B8F3356}"/>
              </a:ext>
            </a:extLst>
          </p:cNvPr>
          <p:cNvSpPr txBox="1"/>
          <p:nvPr/>
        </p:nvSpPr>
        <p:spPr>
          <a:xfrm>
            <a:off x="7932431" y="3557609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365E9D-9F1D-634C-AC5D-989688FAD935}"/>
              </a:ext>
            </a:extLst>
          </p:cNvPr>
          <p:cNvSpPr txBox="1"/>
          <p:nvPr/>
        </p:nvSpPr>
        <p:spPr>
          <a:xfrm>
            <a:off x="9382689" y="4240951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E5E4E90-A0C7-A360-5FE1-A531D156D183}"/>
              </a:ext>
            </a:extLst>
          </p:cNvPr>
          <p:cNvSpPr txBox="1"/>
          <p:nvPr/>
        </p:nvSpPr>
        <p:spPr>
          <a:xfrm>
            <a:off x="11000095" y="4245868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9BCEB3C-572F-44B0-1AB4-758C269F4ADF}"/>
              </a:ext>
            </a:extLst>
          </p:cNvPr>
          <p:cNvSpPr txBox="1"/>
          <p:nvPr/>
        </p:nvSpPr>
        <p:spPr>
          <a:xfrm>
            <a:off x="11526121" y="2874268"/>
            <a:ext cx="444652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600813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9954355-1529-658A-B875-3004BC3BD9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70DDA826-D9DB-2607-BE63-D8B62224BB53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368983"/>
          <a:ext cx="12160800" cy="4197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80389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080411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форт / Комфортне / Затиш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 / Безпе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654208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раструктур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386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нспорт (сполучення / розв'язк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17481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те / Доглянут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920824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пактне / Маленьке / Не велике насел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18448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ток / Розвинене / Сучас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459096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окійне / Тих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елене / Зелені зони / Еколог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они відпочинку (парки / водойми / фонтан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жливості (для реалізації / кар'єри / бізнес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омадський транспорт (розвинений / гарний / доглянутий / зручни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у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ографічне розташува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арне / Красиве / Приєм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місць для дозвілля (кафе / магазини) / Різноманітні активно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огісти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(хороші / приємні / добр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навчальних закла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тупне / Помірні ці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різноманіття для ді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агоустрі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клюзія / Безбар'єр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ороша місцева влад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5466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має переваг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8C7A5D-C460-C516-CF41-138F3A0A6B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8C7A5D-C460-C516-CF41-138F3A0A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8EA734-C316-8E09-109B-B6FE7A048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 та оцінка переваг Вінниц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32CAC-D397-B9B8-2125-B6FB7430AE60}"/>
              </a:ext>
            </a:extLst>
          </p:cNvPr>
          <p:cNvSpPr txBox="1"/>
          <p:nvPr/>
        </p:nvSpPr>
        <p:spPr>
          <a:xfrm>
            <a:off x="7108724" y="6630780"/>
            <a:ext cx="463853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9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 Вашу думку, які є унікальні переваги міста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і порівняно до інших міст України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748897-63A0-505F-A365-3515EC086EDA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33E64991-09A8-E753-437F-D53FFA623295}"/>
              </a:ext>
            </a:extLst>
          </p:cNvPr>
          <p:cNvGraphicFramePr>
            <a:graphicFrameLocks noGrp="1"/>
          </p:cNvGraphicFramePr>
          <p:nvPr/>
        </p:nvGraphicFramePr>
        <p:xfrm>
          <a:off x="4090218" y="6520683"/>
          <a:ext cx="7909448" cy="218225"/>
        </p:xfrm>
        <a:graphic>
          <a:graphicData uri="http://schemas.openxmlformats.org/drawingml/2006/table">
            <a:tbl>
              <a:tblPr firstRow="1" bandRow="1"/>
              <a:tblGrid>
                <a:gridCol w="1977362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77362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77362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77362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6DFA7028-8167-7D66-C0AB-62D048827413}"/>
              </a:ext>
            </a:extLst>
          </p:cNvPr>
          <p:cNvGraphicFramePr>
            <a:graphicFrameLocks noGrp="1"/>
          </p:cNvGraphicFramePr>
          <p:nvPr/>
        </p:nvGraphicFramePr>
        <p:xfrm>
          <a:off x="4090218" y="2015175"/>
          <a:ext cx="8009880" cy="339852"/>
        </p:xfrm>
        <a:graphic>
          <a:graphicData uri="http://schemas.openxmlformats.org/drawingml/2006/table">
            <a:tbl>
              <a:tblPr firstRow="1" bandRow="1"/>
              <a:tblGrid>
                <a:gridCol w="200247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0247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0247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0247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860E95E4-245E-DFD0-22DD-074A2F0779D5}"/>
              </a:ext>
            </a:extLst>
          </p:cNvPr>
          <p:cNvSpPr txBox="1">
            <a:spLocks/>
          </p:cNvSpPr>
          <p:nvPr/>
        </p:nvSpPr>
        <p:spPr>
          <a:xfrm>
            <a:off x="1" y="1690515"/>
            <a:ext cx="12192000" cy="352244"/>
          </a:xfrm>
          <a:prstGeom prst="rect">
            <a:avLst/>
          </a:prstGeom>
        </p:spPr>
        <p:txBody>
          <a:bodyPr lIns="90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Унікальні переваги міста Вінниці порівняно до інших міст України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2033117-E5C5-1960-1494-A1E548C949FA}"/>
              </a:ext>
            </a:extLst>
          </p:cNvPr>
          <p:cNvSpPr txBox="1"/>
          <p:nvPr/>
        </p:nvSpPr>
        <p:spPr bwMode="gray">
          <a:xfrm>
            <a:off x="180218" y="2075124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90CA45E-AA6D-8759-7752-7FB298338ED1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хто планує переїзд за кордон, відзначають безпечність Вінниці, що свідчать про актуальність безпеки для цієї групи молоді. Ті, що не впевнені щодо виїзду за кордон, відзначають розвиток і сучасність міста. Ті, що планують залишатися в Україні, передусім вважають Вінницю комфортним місто та особливо відзначають зони відпочинку і добрих людей у місті. 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B003C0A3-78C6-AC47-9470-85F0768F144C}"/>
              </a:ext>
            </a:extLst>
          </p:cNvPr>
          <p:cNvGraphicFramePr/>
          <p:nvPr/>
        </p:nvGraphicFramePr>
        <p:xfrm>
          <a:off x="4112058" y="2247645"/>
          <a:ext cx="1944754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0" name="Диаграмма 16">
            <a:extLst>
              <a:ext uri="{FF2B5EF4-FFF2-40B4-BE49-F238E27FC236}">
                <a16:creationId xmlns:a16="http://schemas.microsoft.com/office/drawing/2014/main" id="{A096DA56-CF41-2601-B376-EFC2B400C5DB}"/>
              </a:ext>
            </a:extLst>
          </p:cNvPr>
          <p:cNvGraphicFramePr/>
          <p:nvPr/>
        </p:nvGraphicFramePr>
        <p:xfrm>
          <a:off x="6094849" y="2250024"/>
          <a:ext cx="1944754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Диаграмма 16">
            <a:extLst>
              <a:ext uri="{FF2B5EF4-FFF2-40B4-BE49-F238E27FC236}">
                <a16:creationId xmlns:a16="http://schemas.microsoft.com/office/drawing/2014/main" id="{962F7F3D-5705-906B-6FD2-B5B446A4D2BB}"/>
              </a:ext>
            </a:extLst>
          </p:cNvPr>
          <p:cNvGraphicFramePr/>
          <p:nvPr/>
        </p:nvGraphicFramePr>
        <p:xfrm>
          <a:off x="8087474" y="2252560"/>
          <a:ext cx="1944754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44B30E01-454B-32DA-BFED-88B0E29C3F57}"/>
              </a:ext>
            </a:extLst>
          </p:cNvPr>
          <p:cNvGraphicFramePr/>
          <p:nvPr/>
        </p:nvGraphicFramePr>
        <p:xfrm>
          <a:off x="10089930" y="2254939"/>
          <a:ext cx="1944754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B5FC1BB6-6D1D-657E-E985-7B0A05AA1FE6}"/>
              </a:ext>
            </a:extLst>
          </p:cNvPr>
          <p:cNvSpPr txBox="1"/>
          <p:nvPr/>
        </p:nvSpPr>
        <p:spPr>
          <a:xfrm>
            <a:off x="6611633" y="622612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886BD7D7-A558-4932-F0AB-B27932266D63}"/>
              </a:ext>
            </a:extLst>
          </p:cNvPr>
          <p:cNvSpPr txBox="1"/>
          <p:nvPr/>
        </p:nvSpPr>
        <p:spPr>
          <a:xfrm>
            <a:off x="10864926" y="2331629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F90C47-196A-2292-61C6-2820E2A174FA}"/>
              </a:ext>
            </a:extLst>
          </p:cNvPr>
          <p:cNvSpPr txBox="1"/>
          <p:nvPr/>
        </p:nvSpPr>
        <p:spPr>
          <a:xfrm>
            <a:off x="6844464" y="248380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B24D396-C5AB-E1CB-457A-B677F3CDBBDB}"/>
              </a:ext>
            </a:extLst>
          </p:cNvPr>
          <p:cNvSpPr txBox="1"/>
          <p:nvPr/>
        </p:nvSpPr>
        <p:spPr>
          <a:xfrm>
            <a:off x="8717865" y="3262818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A44481-85A4-75FA-AC11-E6659C143944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FE01D1-AA7D-6F45-C331-11BBBC782F05}"/>
              </a:ext>
            </a:extLst>
          </p:cNvPr>
          <p:cNvSpPr txBox="1"/>
          <p:nvPr/>
        </p:nvSpPr>
        <p:spPr>
          <a:xfrm>
            <a:off x="6603573" y="435685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CECFDA-769E-847F-1D44-6293BA9BFDDF}"/>
              </a:ext>
            </a:extLst>
          </p:cNvPr>
          <p:cNvSpPr txBox="1"/>
          <p:nvPr/>
        </p:nvSpPr>
        <p:spPr>
          <a:xfrm>
            <a:off x="10708541" y="250346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9AF44AD-CBB8-18AF-F5E5-FF773C1D548C}"/>
              </a:ext>
            </a:extLst>
          </p:cNvPr>
          <p:cNvSpPr txBox="1"/>
          <p:nvPr/>
        </p:nvSpPr>
        <p:spPr>
          <a:xfrm>
            <a:off x="10723289" y="264603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23D9DD-6E7F-2F31-FBC6-2516F341E1ED}"/>
              </a:ext>
            </a:extLst>
          </p:cNvPr>
          <p:cNvSpPr txBox="1"/>
          <p:nvPr/>
        </p:nvSpPr>
        <p:spPr>
          <a:xfrm>
            <a:off x="10708541" y="296558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333BED-8D60-0297-8C7F-F7FCB19A0CCE}"/>
              </a:ext>
            </a:extLst>
          </p:cNvPr>
          <p:cNvSpPr txBox="1"/>
          <p:nvPr/>
        </p:nvSpPr>
        <p:spPr>
          <a:xfrm>
            <a:off x="10644631" y="358993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F46D361-847F-062E-66B2-5E0AEF050F72}"/>
              </a:ext>
            </a:extLst>
          </p:cNvPr>
          <p:cNvSpPr txBox="1"/>
          <p:nvPr/>
        </p:nvSpPr>
        <p:spPr>
          <a:xfrm>
            <a:off x="10610218" y="404713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3DFDD73-3CEF-1EC2-5031-39354EC7330F}"/>
              </a:ext>
            </a:extLst>
          </p:cNvPr>
          <p:cNvSpPr txBox="1"/>
          <p:nvPr/>
        </p:nvSpPr>
        <p:spPr>
          <a:xfrm>
            <a:off x="10585638" y="420936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E925F45-7D67-D291-7419-FCD665D5AEB5}"/>
              </a:ext>
            </a:extLst>
          </p:cNvPr>
          <p:cNvSpPr txBox="1"/>
          <p:nvPr/>
        </p:nvSpPr>
        <p:spPr>
          <a:xfrm>
            <a:off x="10561058" y="4361765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A62BBB9-4B22-1469-AEDF-3503CF0BCBA1}"/>
              </a:ext>
            </a:extLst>
          </p:cNvPr>
          <p:cNvSpPr txBox="1"/>
          <p:nvPr/>
        </p:nvSpPr>
        <p:spPr>
          <a:xfrm>
            <a:off x="10604371" y="3732726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87E6CD2-EEF3-5C5F-CF7D-14AE41E99051}"/>
              </a:ext>
            </a:extLst>
          </p:cNvPr>
          <p:cNvSpPr txBox="1"/>
          <p:nvPr/>
        </p:nvSpPr>
        <p:spPr>
          <a:xfrm>
            <a:off x="10540461" y="4976506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423765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C8CA69-6C89-4FA6-C8AF-6A627E1CD1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5AED341E-8835-BAA6-B9E8-E986EA98D32D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368983"/>
          <a:ext cx="12160295" cy="4197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5160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00869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раструктура (погана / не розвинена / застаріла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агоустрій (відсутність туалетів / мало смітників / брудно / не доглянуто / мало озелененн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65420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сокі ціни на житло (оренда / купівл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3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дозвілля / Мало розваг / Мало культурних захо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1748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роги (погані / вузьк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92082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тор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1844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паркомісц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4590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івень заробітної плати (низька / середн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машин (великий трафік / завантажені дорог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можливостей (для розвитку / кар'єри / бізнес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нспорт (система / розв'язки / мало громадського транспорт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місць для відпочинку (майданчики / парк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стання цін (продукти / комуналка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населення (багато людей приїхало / переселенц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ток міста (повільний / відсутні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віта / Навчальні заклади (погана якість / мало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бота (відсутня / важко знайти / мало вакансі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задовільна робота міської вла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клюзивність / Безбар'єрність (мало / відсутн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будова міс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задовільна якість водопровідної во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уп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кологія (забруднення водойм / повітр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еньке міст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має недолі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B91083-231E-9EBE-2625-6BD79D414F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B91083-231E-9EBE-2625-6BD79D414F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13BAFF-211F-0E12-2D9F-F34F2FB2A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до іншого міста та </a:t>
            </a:r>
            <a:r>
              <a:rPr lang="uk-UA" sz="2400" noProof="0" dirty="0"/>
              <a:t>недоліки міста Вінниц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A70F9-CBA1-38F0-8B71-D51C0C4843FA}"/>
              </a:ext>
            </a:extLst>
          </p:cNvPr>
          <p:cNvSpPr txBox="1"/>
          <p:nvPr/>
        </p:nvSpPr>
        <p:spPr>
          <a:xfrm>
            <a:off x="7934960" y="6630780"/>
            <a:ext cx="38123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10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 які є суттєві недоліки міста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і порівняно до інших міст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У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країни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9BA07F-8EC3-1ED5-664B-A9660A1954C8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CCE87B21-F674-B2AA-AB57-A366D0507BAC}"/>
              </a:ext>
            </a:extLst>
          </p:cNvPr>
          <p:cNvGraphicFramePr>
            <a:graphicFrameLocks noGrp="1"/>
          </p:cNvGraphicFramePr>
          <p:nvPr/>
        </p:nvGraphicFramePr>
        <p:xfrm>
          <a:off x="5148375" y="6530515"/>
          <a:ext cx="6882948" cy="218225"/>
        </p:xfrm>
        <a:graphic>
          <a:graphicData uri="http://schemas.openxmlformats.org/drawingml/2006/table">
            <a:tbl>
              <a:tblPr firstRow="1" bandRow="1"/>
              <a:tblGrid>
                <a:gridCol w="1720737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720737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720737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720737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6A1DC9A6-09DF-7D33-814D-D1D4848699AF}"/>
              </a:ext>
            </a:extLst>
          </p:cNvPr>
          <p:cNvSpPr txBox="1">
            <a:spLocks/>
          </p:cNvSpPr>
          <p:nvPr/>
        </p:nvSpPr>
        <p:spPr>
          <a:xfrm>
            <a:off x="1" y="1690515"/>
            <a:ext cx="12192000" cy="352244"/>
          </a:xfrm>
          <a:prstGeom prst="rect">
            <a:avLst/>
          </a:prstGeom>
        </p:spPr>
        <p:txBody>
          <a:bodyPr lIns="90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Недоліки міста Вінниці порівняно до інших міст України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B5F71A5-8104-AF0F-63E7-16EF256B1023}"/>
              </a:ext>
            </a:extLst>
          </p:cNvPr>
          <p:cNvSpPr txBox="1"/>
          <p:nvPr/>
        </p:nvSpPr>
        <p:spPr bwMode="gray">
          <a:xfrm>
            <a:off x="180218" y="2075124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7141415-FFD1-60DC-7F8F-983DF3B65EA2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Для тих, хто планує переїзд у інше місто, найбільш часто згадуваним недоліком Вінниці є мало можливостей для розвитку. Далі йдуть причини, що їх називали всі опитані: погана інфраструктура, благоустрій, високі ціни на житло, мало дозвілля. Водночас ті, що планують переїхати в інше місто, частіше за невпевнених і лояльних мешканців, називали серед недоліків низьку зарплату і повільний розвиток міста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145854B7-4CC0-2B0D-89B7-267496353309}"/>
              </a:ext>
            </a:extLst>
          </p:cNvPr>
          <p:cNvGraphicFramePr/>
          <p:nvPr/>
        </p:nvGraphicFramePr>
        <p:xfrm>
          <a:off x="5173941" y="2247645"/>
          <a:ext cx="1639813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0" name="Диаграмма 16">
            <a:extLst>
              <a:ext uri="{FF2B5EF4-FFF2-40B4-BE49-F238E27FC236}">
                <a16:creationId xmlns:a16="http://schemas.microsoft.com/office/drawing/2014/main" id="{35EE268E-A002-B301-BB69-023570BDF635}"/>
              </a:ext>
            </a:extLst>
          </p:cNvPr>
          <p:cNvGraphicFramePr/>
          <p:nvPr/>
        </p:nvGraphicFramePr>
        <p:xfrm>
          <a:off x="6910928" y="2250024"/>
          <a:ext cx="1639813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Диаграмма 16">
            <a:extLst>
              <a:ext uri="{FF2B5EF4-FFF2-40B4-BE49-F238E27FC236}">
                <a16:creationId xmlns:a16="http://schemas.microsoft.com/office/drawing/2014/main" id="{A908240B-5ACE-9C99-2186-24717E9B5224}"/>
              </a:ext>
            </a:extLst>
          </p:cNvPr>
          <p:cNvGraphicFramePr/>
          <p:nvPr/>
        </p:nvGraphicFramePr>
        <p:xfrm>
          <a:off x="8638082" y="2252560"/>
          <a:ext cx="1639813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1CC1E81B-8E44-5F91-E7B1-CD070553BB07}"/>
              </a:ext>
            </a:extLst>
          </p:cNvPr>
          <p:cNvGraphicFramePr/>
          <p:nvPr/>
        </p:nvGraphicFramePr>
        <p:xfrm>
          <a:off x="10365237" y="2254939"/>
          <a:ext cx="1639813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54F52CE4-1CC2-915C-179F-B79137C0E278}"/>
              </a:ext>
            </a:extLst>
          </p:cNvPr>
          <p:cNvSpPr txBox="1"/>
          <p:nvPr/>
        </p:nvSpPr>
        <p:spPr>
          <a:xfrm>
            <a:off x="7389836" y="341116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26C1ABC-DB5A-C2FB-64E8-DE7FF061C8C1}"/>
              </a:ext>
            </a:extLst>
          </p:cNvPr>
          <p:cNvSpPr txBox="1"/>
          <p:nvPr/>
        </p:nvSpPr>
        <p:spPr>
          <a:xfrm>
            <a:off x="10690495" y="389466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F03EB6E-A0DB-E128-AF52-5154FBC2D01C}"/>
              </a:ext>
            </a:extLst>
          </p:cNvPr>
          <p:cNvSpPr txBox="1"/>
          <p:nvPr/>
        </p:nvSpPr>
        <p:spPr>
          <a:xfrm>
            <a:off x="7429005" y="3724933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C0C13F-B942-6B96-C486-078D719B4564}"/>
              </a:ext>
            </a:extLst>
          </p:cNvPr>
          <p:cNvSpPr txBox="1"/>
          <p:nvPr/>
        </p:nvSpPr>
        <p:spPr>
          <a:xfrm>
            <a:off x="7467123" y="621813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1FBEFDE5-AEFF-9647-5C48-028EB6545547}"/>
              </a:ext>
            </a:extLst>
          </p:cNvPr>
          <p:cNvGraphicFramePr>
            <a:graphicFrameLocks noGrp="1"/>
          </p:cNvGraphicFramePr>
          <p:nvPr/>
        </p:nvGraphicFramePr>
        <p:xfrm>
          <a:off x="5171768" y="2034839"/>
          <a:ext cx="6928328" cy="297180"/>
        </p:xfrm>
        <a:graphic>
          <a:graphicData uri="http://schemas.openxmlformats.org/drawingml/2006/table">
            <a:tbl>
              <a:tblPr firstRow="1" bandRow="1"/>
              <a:tblGrid>
                <a:gridCol w="173208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73208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73208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73208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9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9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9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9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9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9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9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9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D8E7654C-81C4-CDA1-CC82-6F14C3D88532}"/>
              </a:ext>
            </a:extLst>
          </p:cNvPr>
          <p:cNvSpPr txBox="1"/>
          <p:nvPr/>
        </p:nvSpPr>
        <p:spPr>
          <a:xfrm>
            <a:off x="7247108" y="4516429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7A08D9-22C1-3F2C-FC61-DDA2C0E516F7}"/>
              </a:ext>
            </a:extLst>
          </p:cNvPr>
          <p:cNvSpPr txBox="1"/>
          <p:nvPr/>
        </p:nvSpPr>
        <p:spPr>
          <a:xfrm>
            <a:off x="7247269" y="421248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BD3063D-B1A6-E7D5-97BF-A3BC7360C00B}"/>
              </a:ext>
            </a:extLst>
          </p:cNvPr>
          <p:cNvSpPr txBox="1"/>
          <p:nvPr/>
        </p:nvSpPr>
        <p:spPr>
          <a:xfrm>
            <a:off x="9281174" y="621322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78D671D-DC30-EDA0-0B8A-2238766B092E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19821147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EB12B8-5340-8C3B-308E-B086C9F104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4975CBA4-9BA8-6E22-5987-DD30F2353DBB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368983"/>
          <a:ext cx="12160295" cy="4197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5160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00869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раструктура (погана / не розвинена / застаріла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агоустрій (відсутність туалетів / мало смітників / брудно / не доглянуто / мало озелененн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65420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сокі ціни на житло (оренда / купівл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3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дозвілля / Мало розваг / Мало культурних захо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1748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роги (погані / вузьк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92082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тор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1844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паркомісц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4590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івень заробітної плати (низька / середн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гато машин (великий трафік / завантажені дорог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можливостей (для розвитку / кар'єри / бізнес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анспорт (система / розв'язки / мало громадського транспорт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о місць для відпочинку (майданчики / парки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остання цін (продукти / комуналка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населення (багато людей приїхало / переселенц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ток міста (повільний / відсутні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віта / Навчальні заклади (погана якість / мало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бота (відсутня / важко знайти / мало вакансій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задовільна робота міської вла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клюзивність / Безбар'єрність (мало / відсутн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будова міс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задовільна якість водопровідної вод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уп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кологія (забруднення водойм / повітря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еньке міст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7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має недолік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6F2E4B4-88A6-CAD6-DC28-41382EB1B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F2E4B4-88A6-CAD6-DC28-41382EB1B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4AFE43-229E-65D9-68E6-9878434D5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 та недоліки міста Вінниця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E3571A3-644D-C710-0F42-7AC263E8052B}"/>
              </a:ext>
            </a:extLst>
          </p:cNvPr>
          <p:cNvSpPr txBox="1"/>
          <p:nvPr/>
        </p:nvSpPr>
        <p:spPr>
          <a:xfrm>
            <a:off x="7934960" y="6630780"/>
            <a:ext cx="38123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10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 які є суттєві недоліки міста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і порівняно до інших міст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У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країни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6D470D-2C42-DE94-B1F3-39B5055724B8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2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08DDB723-16AC-BC29-6761-EB685937E7C3}"/>
              </a:ext>
            </a:extLst>
          </p:cNvPr>
          <p:cNvGraphicFramePr>
            <a:graphicFrameLocks noGrp="1"/>
          </p:cNvGraphicFramePr>
          <p:nvPr/>
        </p:nvGraphicFramePr>
        <p:xfrm>
          <a:off x="5148375" y="6530515"/>
          <a:ext cx="6882948" cy="218225"/>
        </p:xfrm>
        <a:graphic>
          <a:graphicData uri="http://schemas.openxmlformats.org/drawingml/2006/table">
            <a:tbl>
              <a:tblPr firstRow="1" bandRow="1"/>
              <a:tblGrid>
                <a:gridCol w="1720737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720737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720737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720737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5716A6C1-0B8B-6C52-AD4F-3B74BE3FC523}"/>
              </a:ext>
            </a:extLst>
          </p:cNvPr>
          <p:cNvSpPr txBox="1">
            <a:spLocks/>
          </p:cNvSpPr>
          <p:nvPr/>
        </p:nvSpPr>
        <p:spPr>
          <a:xfrm>
            <a:off x="1" y="1690515"/>
            <a:ext cx="12192000" cy="352244"/>
          </a:xfrm>
          <a:prstGeom prst="rect">
            <a:avLst/>
          </a:prstGeom>
        </p:spPr>
        <p:txBody>
          <a:bodyPr lIns="90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Недоліки міста Вінниці порівняно до інших міст України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E1D9EA9-8855-0093-4593-023436CDA368}"/>
              </a:ext>
            </a:extLst>
          </p:cNvPr>
          <p:cNvSpPr txBox="1"/>
          <p:nvPr/>
        </p:nvSpPr>
        <p:spPr bwMode="gray">
          <a:xfrm>
            <a:off x="180218" y="2075124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738763F-D4CB-B4D2-1270-778486A55162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що планують виїхати за кордон, серед головних недоліків Вінниці найчастіше називали брак дозвілля, високі ціни на житло, мало можливостей </a:t>
            </a:r>
            <a:r>
              <a:rPr lang="uk-UA" sz="1600" noProof="0" dirty="0" err="1"/>
              <a:t>дл</a:t>
            </a:r>
            <a:r>
              <a:rPr lang="uk-UA" sz="1600" dirty="0"/>
              <a:t>я кар’єри і бізнесу</a:t>
            </a:r>
            <a:endParaRPr lang="uk-UA" sz="1600" noProof="0" dirty="0"/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3B7E0430-8F67-8C3D-17AA-898ADC119343}"/>
              </a:ext>
            </a:extLst>
          </p:cNvPr>
          <p:cNvGraphicFramePr/>
          <p:nvPr/>
        </p:nvGraphicFramePr>
        <p:xfrm>
          <a:off x="5173941" y="2247645"/>
          <a:ext cx="1639813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0" name="Диаграмма 16">
            <a:extLst>
              <a:ext uri="{FF2B5EF4-FFF2-40B4-BE49-F238E27FC236}">
                <a16:creationId xmlns:a16="http://schemas.microsoft.com/office/drawing/2014/main" id="{BBF1420B-B5D3-8A8C-CCBD-30E74A721D86}"/>
              </a:ext>
            </a:extLst>
          </p:cNvPr>
          <p:cNvGraphicFramePr/>
          <p:nvPr/>
        </p:nvGraphicFramePr>
        <p:xfrm>
          <a:off x="6910928" y="2250024"/>
          <a:ext cx="1639813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Диаграмма 16">
            <a:extLst>
              <a:ext uri="{FF2B5EF4-FFF2-40B4-BE49-F238E27FC236}">
                <a16:creationId xmlns:a16="http://schemas.microsoft.com/office/drawing/2014/main" id="{44286D69-CE5C-8AB7-8702-617D3020B07A}"/>
              </a:ext>
            </a:extLst>
          </p:cNvPr>
          <p:cNvGraphicFramePr/>
          <p:nvPr/>
        </p:nvGraphicFramePr>
        <p:xfrm>
          <a:off x="8638082" y="2252560"/>
          <a:ext cx="1639813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1CF15CA3-F0EB-9A6E-7190-E284696B14CE}"/>
              </a:ext>
            </a:extLst>
          </p:cNvPr>
          <p:cNvGraphicFramePr/>
          <p:nvPr/>
        </p:nvGraphicFramePr>
        <p:xfrm>
          <a:off x="10365237" y="2254939"/>
          <a:ext cx="1639813" cy="438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FA3246A5-18BF-0C42-BA0D-23EAF55471A7}"/>
              </a:ext>
            </a:extLst>
          </p:cNvPr>
          <p:cNvSpPr txBox="1"/>
          <p:nvPr/>
        </p:nvSpPr>
        <p:spPr>
          <a:xfrm>
            <a:off x="7398753" y="264597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184769-FA32-156E-48C3-C292F94EC2EE}"/>
              </a:ext>
            </a:extLst>
          </p:cNvPr>
          <p:cNvSpPr txBox="1"/>
          <p:nvPr/>
        </p:nvSpPr>
        <p:spPr>
          <a:xfrm>
            <a:off x="9266882" y="6214504"/>
            <a:ext cx="5131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7BE98A2-57BC-8987-6850-E899422EEB0B}"/>
              </a:ext>
            </a:extLst>
          </p:cNvPr>
          <p:cNvSpPr txBox="1"/>
          <p:nvPr/>
        </p:nvSpPr>
        <p:spPr>
          <a:xfrm>
            <a:off x="9334765" y="6390767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65055F8-2BDD-5237-4734-E33C8D11352F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956123FA-3119-1C45-C59E-9A9A15BF321C}"/>
              </a:ext>
            </a:extLst>
          </p:cNvPr>
          <p:cNvGraphicFramePr>
            <a:graphicFrameLocks noGrp="1"/>
          </p:cNvGraphicFramePr>
          <p:nvPr/>
        </p:nvGraphicFramePr>
        <p:xfrm>
          <a:off x="5171768" y="2034839"/>
          <a:ext cx="6928328" cy="309372"/>
        </p:xfrm>
        <a:graphic>
          <a:graphicData uri="http://schemas.openxmlformats.org/drawingml/2006/table">
            <a:tbl>
              <a:tblPr firstRow="1" bandRow="1"/>
              <a:tblGrid>
                <a:gridCol w="173208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73208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73208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73208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9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9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9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9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9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F7C53F-E8AB-9410-B604-BAC61F02CD9E}"/>
              </a:ext>
            </a:extLst>
          </p:cNvPr>
          <p:cNvSpPr txBox="1"/>
          <p:nvPr/>
        </p:nvSpPr>
        <p:spPr>
          <a:xfrm>
            <a:off x="7462663" y="280820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F3CA3C5-8911-F236-2BE8-DD1A9787C261}"/>
              </a:ext>
            </a:extLst>
          </p:cNvPr>
          <p:cNvSpPr txBox="1"/>
          <p:nvPr/>
        </p:nvSpPr>
        <p:spPr>
          <a:xfrm>
            <a:off x="7379089" y="3737351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8C566D3-9BF0-0BC3-49D2-69EA2AEBBFFE}"/>
              </a:ext>
            </a:extLst>
          </p:cNvPr>
          <p:cNvSpPr txBox="1"/>
          <p:nvPr/>
        </p:nvSpPr>
        <p:spPr>
          <a:xfrm>
            <a:off x="10854792" y="2346086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81D7DD-F911-A46D-ACE8-002E495F6E72}"/>
              </a:ext>
            </a:extLst>
          </p:cNvPr>
          <p:cNvSpPr txBox="1"/>
          <p:nvPr/>
        </p:nvSpPr>
        <p:spPr>
          <a:xfrm>
            <a:off x="10849875" y="2645970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DB50B8-A976-7AFC-3D63-34D7F083A252}"/>
              </a:ext>
            </a:extLst>
          </p:cNvPr>
          <p:cNvSpPr txBox="1"/>
          <p:nvPr/>
        </p:nvSpPr>
        <p:spPr>
          <a:xfrm>
            <a:off x="10707307" y="3899583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5391BC-D8AD-18C7-9FDB-AC40309789A9}"/>
              </a:ext>
            </a:extLst>
          </p:cNvPr>
          <p:cNvSpPr txBox="1"/>
          <p:nvPr/>
        </p:nvSpPr>
        <p:spPr>
          <a:xfrm>
            <a:off x="10663062" y="4514099"/>
            <a:ext cx="32400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600317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E42E143-085C-1243-6B93-38A0CDA375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85D4607A-8040-AC7C-115A-4162814C4993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477135"/>
          <a:ext cx="12160800" cy="39038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4753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913263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Комфортне, затишне міст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істо дружнє до людей з дітьми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Безпечне міст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для планування майбутньог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привабливе для молодих людей 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вражень та знайомств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сильної громади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з сильними цінностями толерантності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ідей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рівних можливостей для кожног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привабливе для людей креативних професій </a:t>
                      </a:r>
                      <a:r>
                        <a:rPr lang="nl-N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(ІТ, дизайн, реклама, тощо)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для розвитку бізнесу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Інклюзивне, безбар’єрне місто, дружнє для людей з інвалідністю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унікальних можливостей для самореалізації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інновацій та передових технологій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Драйвове міст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із сильною економікою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Провінційне, нецікаве міст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A46AF8-E6DF-D38E-4056-C737A4A32F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46AF8-E6DF-D38E-4056-C737A4A32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587EB1-D1E6-2F20-055C-7D106B277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Наміри переїзду в інше місто і сприйняття візії міст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586C9B-DD36-75EE-DF88-5A75B06244FE}"/>
              </a:ext>
            </a:extLst>
          </p:cNvPr>
          <p:cNvSpPr txBox="1"/>
          <p:nvPr/>
        </p:nvSpPr>
        <p:spPr>
          <a:xfrm>
            <a:off x="7334865" y="6473465"/>
            <a:ext cx="44123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11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скільки Ви згодні з такими твердженнями про місто Вінницю? Оцініть за шкалою від 1 до 7, де 1 – абсолютно не згодні, 4 – нейтральна оцінка, 7 – повністю згодні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F94BD6-440A-D27D-F9A6-7DC404CB272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767E1F88-15F6-3C66-8F14-771F3D2A10FB}"/>
              </a:ext>
            </a:extLst>
          </p:cNvPr>
          <p:cNvGraphicFramePr>
            <a:graphicFrameLocks noGrp="1"/>
          </p:cNvGraphicFramePr>
          <p:nvPr/>
        </p:nvGraphicFramePr>
        <p:xfrm>
          <a:off x="4251002" y="6353534"/>
          <a:ext cx="7879964" cy="218225"/>
        </p:xfrm>
        <a:graphic>
          <a:graphicData uri="http://schemas.openxmlformats.org/drawingml/2006/table">
            <a:tbl>
              <a:tblPr firstRow="1" bandRow="1"/>
              <a:tblGrid>
                <a:gridCol w="1969991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69991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69991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69991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7ACE24B5-96EE-A3B7-2101-17665F976AE4}"/>
              </a:ext>
            </a:extLst>
          </p:cNvPr>
          <p:cNvGraphicFramePr/>
          <p:nvPr/>
        </p:nvGraphicFramePr>
        <p:xfrm>
          <a:off x="4286873" y="2373928"/>
          <a:ext cx="1894461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C4E57F43-A7E4-FDCF-D5E6-257995FF4F1D}"/>
              </a:ext>
            </a:extLst>
          </p:cNvPr>
          <p:cNvGraphicFramePr>
            <a:graphicFrameLocks noGrp="1"/>
          </p:cNvGraphicFramePr>
          <p:nvPr/>
        </p:nvGraphicFramePr>
        <p:xfrm>
          <a:off x="4277032" y="2142991"/>
          <a:ext cx="7847668" cy="327660"/>
        </p:xfrm>
        <a:graphic>
          <a:graphicData uri="http://schemas.openxmlformats.org/drawingml/2006/table">
            <a:tbl>
              <a:tblPr firstRow="1" bandRow="1"/>
              <a:tblGrid>
                <a:gridCol w="1961917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FEA890D9-A69C-211D-0A89-39DA15AC79DF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Згода з  твердженнями про місто Вінниця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046F85B-E551-280A-FBB3-08DD3B0BA6C3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DB3512DC-6FAD-D448-100E-77707CCE44A6}"/>
              </a:ext>
            </a:extLst>
          </p:cNvPr>
          <p:cNvGraphicFramePr/>
          <p:nvPr/>
        </p:nvGraphicFramePr>
        <p:xfrm>
          <a:off x="8485239" y="1799302"/>
          <a:ext cx="3639463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E9A7067-FB2B-4E5A-FCCB-E6B9A7C9C4E5}"/>
              </a:ext>
            </a:extLst>
          </p:cNvPr>
          <p:cNvSpPr txBox="1">
            <a:spLocks/>
          </p:cNvSpPr>
          <p:nvPr/>
        </p:nvSpPr>
        <p:spPr>
          <a:xfrm>
            <a:off x="314631" y="720424"/>
            <a:ext cx="11562738" cy="11823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400" noProof="0" dirty="0"/>
              <a:t>Ті, що планують переїзд у інше місто, мають </a:t>
            </a:r>
            <a:r>
              <a:rPr lang="uk-UA" sz="1400" noProof="0" dirty="0" err="1"/>
              <a:t>вузькоспрямоване</a:t>
            </a:r>
            <a:r>
              <a:rPr lang="uk-UA" sz="1400" noProof="0" dirty="0"/>
              <a:t> бачення міста Вінниця як комфортного, дружнього до людей з дітьми та безпечного. Водночас вони схильні </a:t>
            </a:r>
            <a:r>
              <a:rPr lang="uk-UA" sz="1400" dirty="0"/>
              <a:t>нейтрально-негативно оцінювати Вінницю за іншими твердженнями. Найбільше негативних відповідей сконцентровано за твердженнями «</a:t>
            </a:r>
            <a:r>
              <a:rPr lang="uk-UA" sz="1400" dirty="0" err="1"/>
              <a:t>драйвове</a:t>
            </a:r>
            <a:r>
              <a:rPr lang="uk-UA" sz="1400" dirty="0"/>
              <a:t> місто» та «місто інновацій та передових технологій».</a:t>
            </a:r>
          </a:p>
          <a:p>
            <a:r>
              <a:rPr lang="uk-UA" sz="1400" noProof="0" dirty="0"/>
              <a:t>Для невпевнених та лояльних мешканців Вінниця має більше </a:t>
            </a:r>
            <a:r>
              <a:rPr lang="uk-UA" sz="1400" noProof="0" dirty="0" err="1"/>
              <a:t>візійних</a:t>
            </a:r>
            <a:r>
              <a:rPr lang="uk-UA" sz="1400" noProof="0" dirty="0"/>
              <a:t> ознак, зокрема як місто для планування майбутнього. Ті, хто не планує переїзд в інше місто, більше за інших вважають Вінницю привабливою для молодих людей. Невпевнені особливо відзначають привабливість Вінниці для людей креативних професій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817C8166-02FC-50E9-0D8A-A4AC1C1F1583}"/>
              </a:ext>
            </a:extLst>
          </p:cNvPr>
          <p:cNvGraphicFramePr/>
          <p:nvPr/>
        </p:nvGraphicFramePr>
        <p:xfrm>
          <a:off x="6237990" y="2375094"/>
          <a:ext cx="1894461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6">
            <a:extLst>
              <a:ext uri="{FF2B5EF4-FFF2-40B4-BE49-F238E27FC236}">
                <a16:creationId xmlns:a16="http://schemas.microsoft.com/office/drawing/2014/main" id="{53CE5603-4E9B-24F3-D6FE-72770B9A5A2C}"/>
              </a:ext>
            </a:extLst>
          </p:cNvPr>
          <p:cNvGraphicFramePr/>
          <p:nvPr/>
        </p:nvGraphicFramePr>
        <p:xfrm>
          <a:off x="8208772" y="2372762"/>
          <a:ext cx="1894461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Диаграмма 16">
            <a:extLst>
              <a:ext uri="{FF2B5EF4-FFF2-40B4-BE49-F238E27FC236}">
                <a16:creationId xmlns:a16="http://schemas.microsoft.com/office/drawing/2014/main" id="{B5CA2A0A-CD30-8CE5-4AF1-B73E74574819}"/>
              </a:ext>
            </a:extLst>
          </p:cNvPr>
          <p:cNvGraphicFramePr/>
          <p:nvPr/>
        </p:nvGraphicFramePr>
        <p:xfrm>
          <a:off x="10159887" y="2373928"/>
          <a:ext cx="1894461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9" name="TextBox 48">
            <a:extLst>
              <a:ext uri="{FF2B5EF4-FFF2-40B4-BE49-F238E27FC236}">
                <a16:creationId xmlns:a16="http://schemas.microsoft.com/office/drawing/2014/main" id="{5B45562B-CEBD-3894-9E4D-C0ADC38F3D51}"/>
              </a:ext>
            </a:extLst>
          </p:cNvPr>
          <p:cNvSpPr txBox="1"/>
          <p:nvPr/>
        </p:nvSpPr>
        <p:spPr>
          <a:xfrm>
            <a:off x="9650794" y="336952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5075F2F-8BE8-CEB3-B5B9-C69F4B909CB2}"/>
              </a:ext>
            </a:extLst>
          </p:cNvPr>
          <p:cNvSpPr txBox="1"/>
          <p:nvPr/>
        </p:nvSpPr>
        <p:spPr>
          <a:xfrm>
            <a:off x="11438506" y="616268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EF75F9A0-3182-CB55-ED89-5570A0BDCC92}"/>
              </a:ext>
            </a:extLst>
          </p:cNvPr>
          <p:cNvSpPr txBox="1"/>
          <p:nvPr/>
        </p:nvSpPr>
        <p:spPr>
          <a:xfrm>
            <a:off x="9029407" y="248351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A6BFD967-77A6-B728-FE6B-5608F58A9A86}"/>
              </a:ext>
            </a:extLst>
          </p:cNvPr>
          <p:cNvSpPr txBox="1"/>
          <p:nvPr/>
        </p:nvSpPr>
        <p:spPr>
          <a:xfrm>
            <a:off x="10828245" y="3359694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D4BAFCD2-D79C-C7CE-FB25-291A37699EFA}"/>
              </a:ext>
            </a:extLst>
          </p:cNvPr>
          <p:cNvSpPr txBox="1"/>
          <p:nvPr/>
        </p:nvSpPr>
        <p:spPr>
          <a:xfrm>
            <a:off x="7240651" y="574575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880F38-0D1E-B482-9B32-5036B3D8E28B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3B1D875-4CCE-1BC4-738F-E3A539C117CC}"/>
              </a:ext>
            </a:extLst>
          </p:cNvPr>
          <p:cNvSpPr txBox="1"/>
          <p:nvPr/>
        </p:nvSpPr>
        <p:spPr>
          <a:xfrm>
            <a:off x="8886840" y="271457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43BD610-9E28-554E-EE0A-8F37126373FF}"/>
              </a:ext>
            </a:extLst>
          </p:cNvPr>
          <p:cNvSpPr txBox="1"/>
          <p:nvPr/>
        </p:nvSpPr>
        <p:spPr>
          <a:xfrm>
            <a:off x="8881924" y="31422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96194E-8354-6074-B242-0C69E0717B7C}"/>
              </a:ext>
            </a:extLst>
          </p:cNvPr>
          <p:cNvSpPr txBox="1"/>
          <p:nvPr/>
        </p:nvSpPr>
        <p:spPr>
          <a:xfrm>
            <a:off x="8788517" y="335367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84CDF97-1CC1-C66B-4024-3D8EEB97D521}"/>
              </a:ext>
            </a:extLst>
          </p:cNvPr>
          <p:cNvSpPr txBox="1"/>
          <p:nvPr/>
        </p:nvSpPr>
        <p:spPr>
          <a:xfrm>
            <a:off x="8783601" y="357489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A177E9-7414-B300-A5D0-6F5C7F89A0EC}"/>
              </a:ext>
            </a:extLst>
          </p:cNvPr>
          <p:cNvSpPr txBox="1"/>
          <p:nvPr/>
        </p:nvSpPr>
        <p:spPr>
          <a:xfrm>
            <a:off x="8768853" y="378629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5F1BBE-6D40-2F5C-743F-75EABA58157D}"/>
              </a:ext>
            </a:extLst>
          </p:cNvPr>
          <p:cNvSpPr txBox="1"/>
          <p:nvPr/>
        </p:nvSpPr>
        <p:spPr>
          <a:xfrm>
            <a:off x="8773769" y="400751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6893060-6A91-2A3A-11E6-D1EED2AA2C80}"/>
              </a:ext>
            </a:extLst>
          </p:cNvPr>
          <p:cNvSpPr txBox="1"/>
          <p:nvPr/>
        </p:nvSpPr>
        <p:spPr>
          <a:xfrm>
            <a:off x="8778685" y="421890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3B2660-0B18-F111-ADDC-AFBA42AA6C89}"/>
              </a:ext>
            </a:extLst>
          </p:cNvPr>
          <p:cNvSpPr txBox="1"/>
          <p:nvPr/>
        </p:nvSpPr>
        <p:spPr>
          <a:xfrm>
            <a:off x="8754105" y="444013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CAB3742-38D0-3D06-A829-2ABC38656533}"/>
              </a:ext>
            </a:extLst>
          </p:cNvPr>
          <p:cNvSpPr txBox="1"/>
          <p:nvPr/>
        </p:nvSpPr>
        <p:spPr>
          <a:xfrm>
            <a:off x="8802335" y="4648786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AD00831-A7BB-FFF5-ED7D-3201FD4F8983}"/>
              </a:ext>
            </a:extLst>
          </p:cNvPr>
          <p:cNvSpPr txBox="1"/>
          <p:nvPr/>
        </p:nvSpPr>
        <p:spPr>
          <a:xfrm>
            <a:off x="8714776" y="487275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62AA75D-D48C-53AE-2A23-71D811FBFEED}"/>
              </a:ext>
            </a:extLst>
          </p:cNvPr>
          <p:cNvSpPr txBox="1"/>
          <p:nvPr/>
        </p:nvSpPr>
        <p:spPr>
          <a:xfrm>
            <a:off x="8728593" y="509615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28DA7A5-7CB5-15BC-F2D6-E70C131490DC}"/>
              </a:ext>
            </a:extLst>
          </p:cNvPr>
          <p:cNvSpPr txBox="1"/>
          <p:nvPr/>
        </p:nvSpPr>
        <p:spPr>
          <a:xfrm>
            <a:off x="8713844" y="5307547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3E27660-0E2C-8103-59B5-92CA5709A061}"/>
              </a:ext>
            </a:extLst>
          </p:cNvPr>
          <p:cNvSpPr txBox="1"/>
          <p:nvPr/>
        </p:nvSpPr>
        <p:spPr>
          <a:xfrm>
            <a:off x="8708928" y="551894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BD9E82E-986E-4FE2-4982-0DA71B74960A}"/>
              </a:ext>
            </a:extLst>
          </p:cNvPr>
          <p:cNvSpPr txBox="1"/>
          <p:nvPr/>
        </p:nvSpPr>
        <p:spPr>
          <a:xfrm>
            <a:off x="8704012" y="5730334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3A624AE-4D15-ABB7-98DA-3605F5FB8240}"/>
              </a:ext>
            </a:extLst>
          </p:cNvPr>
          <p:cNvSpPr txBox="1"/>
          <p:nvPr/>
        </p:nvSpPr>
        <p:spPr>
          <a:xfrm>
            <a:off x="8679431" y="595156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38CFA37-15ED-73AC-C7D3-1D2C18138262}"/>
              </a:ext>
            </a:extLst>
          </p:cNvPr>
          <p:cNvSpPr txBox="1"/>
          <p:nvPr/>
        </p:nvSpPr>
        <p:spPr>
          <a:xfrm>
            <a:off x="8546695" y="6162953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FFDE18E-DDF4-72E8-57BC-FA72E8A7D5EC}"/>
              </a:ext>
            </a:extLst>
          </p:cNvPr>
          <p:cNvSpPr txBox="1"/>
          <p:nvPr/>
        </p:nvSpPr>
        <p:spPr>
          <a:xfrm>
            <a:off x="11020440" y="248843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8C36837-2EFA-CB49-C785-53785405CD8F}"/>
              </a:ext>
            </a:extLst>
          </p:cNvPr>
          <p:cNvSpPr txBox="1"/>
          <p:nvPr/>
        </p:nvSpPr>
        <p:spPr>
          <a:xfrm>
            <a:off x="10877872" y="270965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DB9918E-A54D-CC5F-C024-6549A152F13D}"/>
              </a:ext>
            </a:extLst>
          </p:cNvPr>
          <p:cNvSpPr txBox="1"/>
          <p:nvPr/>
        </p:nvSpPr>
        <p:spPr>
          <a:xfrm>
            <a:off x="10853292" y="313736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B8BCF98-5092-8073-0A4F-2F988E75281C}"/>
              </a:ext>
            </a:extLst>
          </p:cNvPr>
          <p:cNvSpPr txBox="1"/>
          <p:nvPr/>
        </p:nvSpPr>
        <p:spPr>
          <a:xfrm>
            <a:off x="10710724" y="357489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24C9E5-DA3E-42FE-8C17-1898D6636157}"/>
              </a:ext>
            </a:extLst>
          </p:cNvPr>
          <p:cNvSpPr txBox="1"/>
          <p:nvPr/>
        </p:nvSpPr>
        <p:spPr>
          <a:xfrm>
            <a:off x="10705808" y="378629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B1F1CF2-80D8-F979-8417-7C22548893A7}"/>
              </a:ext>
            </a:extLst>
          </p:cNvPr>
          <p:cNvSpPr txBox="1"/>
          <p:nvPr/>
        </p:nvSpPr>
        <p:spPr>
          <a:xfrm>
            <a:off x="10691060" y="400751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4DC890A-8FE3-7123-EA86-A403209C8E84}"/>
              </a:ext>
            </a:extLst>
          </p:cNvPr>
          <p:cNvSpPr txBox="1"/>
          <p:nvPr/>
        </p:nvSpPr>
        <p:spPr>
          <a:xfrm>
            <a:off x="10676312" y="421890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74E290D-93A6-005B-CA7E-0BA77B948A58}"/>
              </a:ext>
            </a:extLst>
          </p:cNvPr>
          <p:cNvSpPr txBox="1"/>
          <p:nvPr/>
        </p:nvSpPr>
        <p:spPr>
          <a:xfrm>
            <a:off x="10632067" y="444013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8674B82-54D4-F22B-4177-A7910497CC45}"/>
              </a:ext>
            </a:extLst>
          </p:cNvPr>
          <p:cNvSpPr txBox="1"/>
          <p:nvPr/>
        </p:nvSpPr>
        <p:spPr>
          <a:xfrm>
            <a:off x="10627150" y="46515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B3E4C75-22BB-49D7-A624-8F9C5D0A5BB9}"/>
              </a:ext>
            </a:extLst>
          </p:cNvPr>
          <p:cNvSpPr txBox="1"/>
          <p:nvPr/>
        </p:nvSpPr>
        <p:spPr>
          <a:xfrm>
            <a:off x="10632066" y="487275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F4278D1-3E47-13DE-9322-70114A94AC8B}"/>
              </a:ext>
            </a:extLst>
          </p:cNvPr>
          <p:cNvSpPr txBox="1"/>
          <p:nvPr/>
        </p:nvSpPr>
        <p:spPr>
          <a:xfrm>
            <a:off x="10558324" y="530045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BD16B64-217D-F156-6F29-EBD3BE125B8B}"/>
              </a:ext>
            </a:extLst>
          </p:cNvPr>
          <p:cNvSpPr txBox="1"/>
          <p:nvPr/>
        </p:nvSpPr>
        <p:spPr>
          <a:xfrm>
            <a:off x="10533743" y="552168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4DB53B5-80EF-81E9-7C87-61692418F7C6}"/>
              </a:ext>
            </a:extLst>
          </p:cNvPr>
          <p:cNvSpPr txBox="1"/>
          <p:nvPr/>
        </p:nvSpPr>
        <p:spPr>
          <a:xfrm>
            <a:off x="10528826" y="57330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3E757E5-1511-5F18-F77A-01A95A29253E}"/>
              </a:ext>
            </a:extLst>
          </p:cNvPr>
          <p:cNvSpPr txBox="1"/>
          <p:nvPr/>
        </p:nvSpPr>
        <p:spPr>
          <a:xfrm>
            <a:off x="10514077" y="595430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D2775273-5550-6E11-769E-0E5664C80DC6}"/>
              </a:ext>
            </a:extLst>
          </p:cNvPr>
          <p:cNvSpPr txBox="1"/>
          <p:nvPr/>
        </p:nvSpPr>
        <p:spPr>
          <a:xfrm>
            <a:off x="7646699" y="2486924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832E04F-DD8F-EC2A-6066-054AEC1C348D}"/>
              </a:ext>
            </a:extLst>
          </p:cNvPr>
          <p:cNvSpPr txBox="1"/>
          <p:nvPr/>
        </p:nvSpPr>
        <p:spPr>
          <a:xfrm>
            <a:off x="7622119" y="271798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3BC40F4-79DC-4F3B-4A08-17400DBA8490}"/>
              </a:ext>
            </a:extLst>
          </p:cNvPr>
          <p:cNvSpPr txBox="1"/>
          <p:nvPr/>
        </p:nvSpPr>
        <p:spPr>
          <a:xfrm>
            <a:off x="7410725" y="313585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2C4122A-ED38-E7C7-9702-C838CDED83AA}"/>
              </a:ext>
            </a:extLst>
          </p:cNvPr>
          <p:cNvSpPr txBox="1"/>
          <p:nvPr/>
        </p:nvSpPr>
        <p:spPr>
          <a:xfrm>
            <a:off x="7366479" y="335707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E33E5B9-E8A7-EF6C-E87C-9D0D4ED6039D}"/>
              </a:ext>
            </a:extLst>
          </p:cNvPr>
          <p:cNvSpPr txBox="1"/>
          <p:nvPr/>
        </p:nvSpPr>
        <p:spPr>
          <a:xfrm>
            <a:off x="7450053" y="356847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96DDC43-92DB-7940-B5A1-52DDD257CB71}"/>
              </a:ext>
            </a:extLst>
          </p:cNvPr>
          <p:cNvSpPr txBox="1"/>
          <p:nvPr/>
        </p:nvSpPr>
        <p:spPr>
          <a:xfrm>
            <a:off x="7356647" y="379953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2C223E5-A9B7-E7AE-9FDB-31750D578672}"/>
              </a:ext>
            </a:extLst>
          </p:cNvPr>
          <p:cNvSpPr txBox="1"/>
          <p:nvPr/>
        </p:nvSpPr>
        <p:spPr>
          <a:xfrm>
            <a:off x="7381227" y="400109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A5DBB55-A9B5-074D-4A62-9A8B217410B9}"/>
              </a:ext>
            </a:extLst>
          </p:cNvPr>
          <p:cNvSpPr txBox="1"/>
          <p:nvPr/>
        </p:nvSpPr>
        <p:spPr>
          <a:xfrm>
            <a:off x="7395975" y="423214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7A5987D-B7A9-ED14-21AB-000E28D519AB}"/>
              </a:ext>
            </a:extLst>
          </p:cNvPr>
          <p:cNvSpPr txBox="1"/>
          <p:nvPr/>
        </p:nvSpPr>
        <p:spPr>
          <a:xfrm>
            <a:off x="7400891" y="4443543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1B1B5AE-02C9-C4FA-F003-CCD2CA1126EF}"/>
              </a:ext>
            </a:extLst>
          </p:cNvPr>
          <p:cNvSpPr txBox="1"/>
          <p:nvPr/>
        </p:nvSpPr>
        <p:spPr>
          <a:xfrm>
            <a:off x="7297652" y="465493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0316FBD-44F1-9937-E977-EB266B57E853}"/>
              </a:ext>
            </a:extLst>
          </p:cNvPr>
          <p:cNvSpPr txBox="1"/>
          <p:nvPr/>
        </p:nvSpPr>
        <p:spPr>
          <a:xfrm>
            <a:off x="7400891" y="486633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3D4ADA5C-9862-188C-A0E2-C1C245C33DAD}"/>
              </a:ext>
            </a:extLst>
          </p:cNvPr>
          <p:cNvSpPr txBox="1"/>
          <p:nvPr/>
        </p:nvSpPr>
        <p:spPr>
          <a:xfrm>
            <a:off x="7307485" y="530386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B4F2F9E4-5C0B-9951-8938-AF67AC35EACE}"/>
              </a:ext>
            </a:extLst>
          </p:cNvPr>
          <p:cNvSpPr txBox="1"/>
          <p:nvPr/>
        </p:nvSpPr>
        <p:spPr>
          <a:xfrm>
            <a:off x="7233743" y="594788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967E31DD-766E-CEDC-B165-4F59E6D3F988}"/>
              </a:ext>
            </a:extLst>
          </p:cNvPr>
          <p:cNvSpPr txBox="1"/>
          <p:nvPr/>
        </p:nvSpPr>
        <p:spPr>
          <a:xfrm>
            <a:off x="7071510" y="6169106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E28D131-DBD9-BD2B-DC98-1F7A67E754C4}"/>
              </a:ext>
            </a:extLst>
          </p:cNvPr>
          <p:cNvSpPr txBox="1"/>
          <p:nvPr/>
        </p:nvSpPr>
        <p:spPr>
          <a:xfrm>
            <a:off x="7206238" y="551469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3F77F069-57C0-0CCD-D258-43072C34B82D}"/>
              </a:ext>
            </a:extLst>
          </p:cNvPr>
          <p:cNvSpPr txBox="1"/>
          <p:nvPr/>
        </p:nvSpPr>
        <p:spPr>
          <a:xfrm>
            <a:off x="7329141" y="509682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BF2614D-6A98-7C84-78D3-C3C4F5EFADC2}"/>
              </a:ext>
            </a:extLst>
          </p:cNvPr>
          <p:cNvSpPr txBox="1"/>
          <p:nvPr/>
        </p:nvSpPr>
        <p:spPr>
          <a:xfrm>
            <a:off x="11498019" y="46543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FD0EDA9-C8BE-6D7B-C715-5CEB5921EEBD}"/>
              </a:ext>
            </a:extLst>
          </p:cNvPr>
          <p:cNvSpPr txBox="1"/>
          <p:nvPr/>
        </p:nvSpPr>
        <p:spPr>
          <a:xfrm>
            <a:off x="11414444" y="50820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3ADB804-B08D-C16D-431C-F3C304DB8705}"/>
              </a:ext>
            </a:extLst>
          </p:cNvPr>
          <p:cNvSpPr txBox="1"/>
          <p:nvPr/>
        </p:nvSpPr>
        <p:spPr>
          <a:xfrm>
            <a:off x="11448857" y="530330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009F1DD0-E347-F22F-E17E-5BE18399E572}"/>
              </a:ext>
            </a:extLst>
          </p:cNvPr>
          <p:cNvSpPr txBox="1"/>
          <p:nvPr/>
        </p:nvSpPr>
        <p:spPr>
          <a:xfrm>
            <a:off x="11424277" y="552452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697D74D-7364-61E2-96C4-DD54517D89E0}"/>
              </a:ext>
            </a:extLst>
          </p:cNvPr>
          <p:cNvSpPr txBox="1"/>
          <p:nvPr/>
        </p:nvSpPr>
        <p:spPr>
          <a:xfrm>
            <a:off x="11370200" y="57457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88D337C6-D75E-95E7-8A64-52B6D0F135B0}"/>
              </a:ext>
            </a:extLst>
          </p:cNvPr>
          <p:cNvSpPr txBox="1"/>
          <p:nvPr/>
        </p:nvSpPr>
        <p:spPr>
          <a:xfrm>
            <a:off x="11384949" y="594731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427EC1E-155C-4DD2-4741-B69B2F817362}"/>
              </a:ext>
            </a:extLst>
          </p:cNvPr>
          <p:cNvSpPr txBox="1"/>
          <p:nvPr/>
        </p:nvSpPr>
        <p:spPr>
          <a:xfrm>
            <a:off x="7813846" y="320467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EAA922E2-8B1B-F8DC-3970-5A4B4EB447C8}"/>
              </a:ext>
            </a:extLst>
          </p:cNvPr>
          <p:cNvSpPr txBox="1"/>
          <p:nvPr/>
        </p:nvSpPr>
        <p:spPr>
          <a:xfrm>
            <a:off x="7789265" y="344556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07F3344-79DD-48F6-3FA8-2AB5BB954EBF}"/>
              </a:ext>
            </a:extLst>
          </p:cNvPr>
          <p:cNvSpPr txBox="1"/>
          <p:nvPr/>
        </p:nvSpPr>
        <p:spPr>
          <a:xfrm>
            <a:off x="7764684" y="3873271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1B49721-EB91-8DD8-FD5F-63775C489326}"/>
              </a:ext>
            </a:extLst>
          </p:cNvPr>
          <p:cNvSpPr txBox="1"/>
          <p:nvPr/>
        </p:nvSpPr>
        <p:spPr>
          <a:xfrm>
            <a:off x="7789264" y="430097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00C4A92A-CB74-5C0C-6DB4-05A0BCC295FF}"/>
              </a:ext>
            </a:extLst>
          </p:cNvPr>
          <p:cNvSpPr txBox="1"/>
          <p:nvPr/>
        </p:nvSpPr>
        <p:spPr>
          <a:xfrm>
            <a:off x="7794180" y="473851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E32953BB-2251-BDDC-BE02-7BCCA2A7D411}"/>
              </a:ext>
            </a:extLst>
          </p:cNvPr>
          <p:cNvSpPr txBox="1"/>
          <p:nvPr/>
        </p:nvSpPr>
        <p:spPr>
          <a:xfrm>
            <a:off x="7759767" y="558900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7189EA0-CE00-44AA-CB69-852B5E867CB0}"/>
              </a:ext>
            </a:extLst>
          </p:cNvPr>
          <p:cNvSpPr txBox="1"/>
          <p:nvPr/>
        </p:nvSpPr>
        <p:spPr>
          <a:xfrm>
            <a:off x="7764683" y="5810226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52D56156-25E4-F70B-F0F9-DE960571C457}"/>
              </a:ext>
            </a:extLst>
          </p:cNvPr>
          <p:cNvSpPr txBox="1"/>
          <p:nvPr/>
        </p:nvSpPr>
        <p:spPr>
          <a:xfrm>
            <a:off x="7878799" y="364050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9C875CE1-BDD7-E7B4-10B7-66DFE8242A3E}"/>
              </a:ext>
            </a:extLst>
          </p:cNvPr>
          <p:cNvSpPr txBox="1"/>
          <p:nvPr/>
        </p:nvSpPr>
        <p:spPr>
          <a:xfrm>
            <a:off x="7873882" y="408787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D1B96BE-8301-61D6-4886-F7584ABE6317}"/>
              </a:ext>
            </a:extLst>
          </p:cNvPr>
          <p:cNvSpPr txBox="1"/>
          <p:nvPr/>
        </p:nvSpPr>
        <p:spPr>
          <a:xfrm>
            <a:off x="7859133" y="539065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50E29A6F-8C59-D6DE-8A9A-8483B62B3C2C}"/>
              </a:ext>
            </a:extLst>
          </p:cNvPr>
          <p:cNvSpPr txBox="1"/>
          <p:nvPr/>
        </p:nvSpPr>
        <p:spPr>
          <a:xfrm>
            <a:off x="7834553" y="602483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A7095E63-0107-52B4-F84B-0A5DB11BC839}"/>
              </a:ext>
            </a:extLst>
          </p:cNvPr>
          <p:cNvSpPr txBox="1"/>
          <p:nvPr/>
        </p:nvSpPr>
        <p:spPr>
          <a:xfrm>
            <a:off x="9835417" y="602974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07BBB4F1-D144-6940-C6E2-FEA840809003}"/>
              </a:ext>
            </a:extLst>
          </p:cNvPr>
          <p:cNvSpPr txBox="1"/>
          <p:nvPr/>
        </p:nvSpPr>
        <p:spPr>
          <a:xfrm>
            <a:off x="9840333" y="558238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60206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261D235-F4E4-8F3F-FA63-D02A1F28F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4AE46E32-C7D4-423A-3017-8B63E08658BB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477135"/>
          <a:ext cx="12160800" cy="39038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4753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7913263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Комфортне, затишне міст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істо дружнє до людей з дітьми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Безпечне міст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для планування майбутньог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привабливе для молодих людей 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вражень та знайомств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сильної громади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з сильними цінностями толерантності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ідей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рівних можливостей для кожног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привабливе для людей креативних професій </a:t>
                      </a:r>
                      <a:r>
                        <a:rPr lang="nl-N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(ІТ, дизайн, реклама, тощо)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для розвитку бізнесу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Інклюзивне, безбар’єрне місто, дружнє для людей з інвалідністю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унікальних можливостей для самореалізації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інновацій та передових технологій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Драйвове міст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Місто із сильною економікою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21687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</a:rPr>
                        <a:t>Провінційне, нецікаве місто</a:t>
                      </a:r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5FA581-29B3-5AED-9CC3-A26A86AB75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5FA581-29B3-5AED-9CC3-A26A86AB7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0FDE20-5ECB-1298-9F1E-91DC1F395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 і сприйняття візії міста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AC389B-C98B-6198-AC99-DD9330067086}"/>
              </a:ext>
            </a:extLst>
          </p:cNvPr>
          <p:cNvSpPr txBox="1"/>
          <p:nvPr/>
        </p:nvSpPr>
        <p:spPr>
          <a:xfrm>
            <a:off x="7334865" y="6473465"/>
            <a:ext cx="44123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11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скільки Ви згодні з такими твердженнями про місто Вінницю? Оцініть за шкалою від 1 до 7, де 1 – абсолютно не згодні, 4 – нейтральна оцінка, 7 – повністю згодні.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66AFC-9129-9C42-9FCB-2899A322DC33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001D2C71-6DEE-C7C7-5E36-2D603D498872}"/>
              </a:ext>
            </a:extLst>
          </p:cNvPr>
          <p:cNvGraphicFramePr>
            <a:graphicFrameLocks noGrp="1"/>
          </p:cNvGraphicFramePr>
          <p:nvPr/>
        </p:nvGraphicFramePr>
        <p:xfrm>
          <a:off x="4251002" y="6353534"/>
          <a:ext cx="7879964" cy="218225"/>
        </p:xfrm>
        <a:graphic>
          <a:graphicData uri="http://schemas.openxmlformats.org/drawingml/2006/table">
            <a:tbl>
              <a:tblPr firstRow="1" bandRow="1"/>
              <a:tblGrid>
                <a:gridCol w="1969991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69991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69991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69991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7A264D02-F7E2-30FB-1F54-1C4ECFE940D9}"/>
              </a:ext>
            </a:extLst>
          </p:cNvPr>
          <p:cNvGraphicFramePr/>
          <p:nvPr/>
        </p:nvGraphicFramePr>
        <p:xfrm>
          <a:off x="4286873" y="2373928"/>
          <a:ext cx="1894461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531E4668-B7F3-787C-39F0-0CA0F9157382}"/>
              </a:ext>
            </a:extLst>
          </p:cNvPr>
          <p:cNvGraphicFramePr>
            <a:graphicFrameLocks noGrp="1"/>
          </p:cNvGraphicFramePr>
          <p:nvPr/>
        </p:nvGraphicFramePr>
        <p:xfrm>
          <a:off x="4277032" y="2142991"/>
          <a:ext cx="7847668" cy="339852"/>
        </p:xfrm>
        <a:graphic>
          <a:graphicData uri="http://schemas.openxmlformats.org/drawingml/2006/table">
            <a:tbl>
              <a:tblPr firstRow="1" bandRow="1"/>
              <a:tblGrid>
                <a:gridCol w="1961917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961917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7F922CC4-8C48-C643-1C58-D76282425702}"/>
              </a:ext>
            </a:extLst>
          </p:cNvPr>
          <p:cNvSpPr txBox="1">
            <a:spLocks/>
          </p:cNvSpPr>
          <p:nvPr/>
        </p:nvSpPr>
        <p:spPr>
          <a:xfrm>
            <a:off x="1" y="1798667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Згода з  твердженнями про місто Вінницю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8D79349-9C21-3C63-06A8-F15568CC6BD9}"/>
              </a:ext>
            </a:extLst>
          </p:cNvPr>
          <p:cNvSpPr txBox="1"/>
          <p:nvPr/>
        </p:nvSpPr>
        <p:spPr bwMode="gray">
          <a:xfrm>
            <a:off x="180218" y="2183276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graphicFrame>
        <p:nvGraphicFramePr>
          <p:cNvPr id="35" name="Диаграмма 16">
            <a:extLst>
              <a:ext uri="{FF2B5EF4-FFF2-40B4-BE49-F238E27FC236}">
                <a16:creationId xmlns:a16="http://schemas.microsoft.com/office/drawing/2014/main" id="{C01AC835-B054-B541-8AB6-25F529C42E97}"/>
              </a:ext>
            </a:extLst>
          </p:cNvPr>
          <p:cNvGraphicFramePr/>
          <p:nvPr/>
        </p:nvGraphicFramePr>
        <p:xfrm>
          <a:off x="8485239" y="1799302"/>
          <a:ext cx="3639463" cy="37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FD2A655-D37A-F519-31BF-1F9642D4B9D7}"/>
              </a:ext>
            </a:extLst>
          </p:cNvPr>
          <p:cNvSpPr txBox="1">
            <a:spLocks/>
          </p:cNvSpPr>
          <p:nvPr/>
        </p:nvSpPr>
        <p:spPr>
          <a:xfrm>
            <a:off x="314631" y="692993"/>
            <a:ext cx="11562738" cy="962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Ті, що планують переїзд за кордон, схильні більше негативно відгукуватися щодо Вінниці. Зокрема найбільший відсоток негативних відповідей є за твердженнями: місто рівних можливостей та місто унікальних можливостей для самореалізації.   </a:t>
            </a:r>
            <a:endParaRPr lang="uk-UA" sz="1600" noProof="0" dirty="0"/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2F36BAD9-E395-948D-81F4-1266245B5DC4}"/>
              </a:ext>
            </a:extLst>
          </p:cNvPr>
          <p:cNvGraphicFramePr/>
          <p:nvPr/>
        </p:nvGraphicFramePr>
        <p:xfrm>
          <a:off x="6237990" y="2375094"/>
          <a:ext cx="1894461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6">
            <a:extLst>
              <a:ext uri="{FF2B5EF4-FFF2-40B4-BE49-F238E27FC236}">
                <a16:creationId xmlns:a16="http://schemas.microsoft.com/office/drawing/2014/main" id="{A6354FD0-DBBE-1852-E054-208C25D64C2A}"/>
              </a:ext>
            </a:extLst>
          </p:cNvPr>
          <p:cNvGraphicFramePr/>
          <p:nvPr/>
        </p:nvGraphicFramePr>
        <p:xfrm>
          <a:off x="8208772" y="2372762"/>
          <a:ext cx="1894461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Диаграмма 16">
            <a:extLst>
              <a:ext uri="{FF2B5EF4-FFF2-40B4-BE49-F238E27FC236}">
                <a16:creationId xmlns:a16="http://schemas.microsoft.com/office/drawing/2014/main" id="{2892357A-7D56-F67D-3D8D-28B22E9E4452}"/>
              </a:ext>
            </a:extLst>
          </p:cNvPr>
          <p:cNvGraphicFramePr/>
          <p:nvPr/>
        </p:nvGraphicFramePr>
        <p:xfrm>
          <a:off x="10159887" y="2373928"/>
          <a:ext cx="1894461" cy="40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47" name="TextBox 146">
            <a:extLst>
              <a:ext uri="{FF2B5EF4-FFF2-40B4-BE49-F238E27FC236}">
                <a16:creationId xmlns:a16="http://schemas.microsoft.com/office/drawing/2014/main" id="{CBE76DA6-FAA1-D7E8-A5F7-8E4A30743704}"/>
              </a:ext>
            </a:extLst>
          </p:cNvPr>
          <p:cNvSpPr txBox="1"/>
          <p:nvPr/>
        </p:nvSpPr>
        <p:spPr>
          <a:xfrm>
            <a:off x="10865645" y="313875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E70A5F-FCE4-B44A-9AA1-A10BF44E45D3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646FD-B481-F1BC-2528-F981C4B6A1E5}"/>
              </a:ext>
            </a:extLst>
          </p:cNvPr>
          <p:cNvSpPr txBox="1"/>
          <p:nvPr/>
        </p:nvSpPr>
        <p:spPr>
          <a:xfrm>
            <a:off x="8840745" y="3574727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653DF3A-54C1-31AD-FC0E-58281ED888C0}"/>
              </a:ext>
            </a:extLst>
          </p:cNvPr>
          <p:cNvSpPr txBox="1"/>
          <p:nvPr/>
        </p:nvSpPr>
        <p:spPr>
          <a:xfrm>
            <a:off x="9016645" y="249066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4279CF6-8DD1-7CF1-CBC2-F84D55102414}"/>
              </a:ext>
            </a:extLst>
          </p:cNvPr>
          <p:cNvSpPr txBox="1"/>
          <p:nvPr/>
        </p:nvSpPr>
        <p:spPr>
          <a:xfrm>
            <a:off x="7754853" y="249470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B3682F9C-E685-A660-54EF-130011EB3989}"/>
              </a:ext>
            </a:extLst>
          </p:cNvPr>
          <p:cNvSpPr txBox="1"/>
          <p:nvPr/>
        </p:nvSpPr>
        <p:spPr>
          <a:xfrm>
            <a:off x="11567617" y="35667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768BE429-FA23-5F20-765C-88C03483908E}"/>
              </a:ext>
            </a:extLst>
          </p:cNvPr>
          <p:cNvSpPr txBox="1"/>
          <p:nvPr/>
        </p:nvSpPr>
        <p:spPr>
          <a:xfrm>
            <a:off x="9690746" y="314471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C46DB5-5196-5D20-FC39-AC83032443F3}"/>
              </a:ext>
            </a:extLst>
          </p:cNvPr>
          <p:cNvSpPr txBox="1"/>
          <p:nvPr/>
        </p:nvSpPr>
        <p:spPr>
          <a:xfrm>
            <a:off x="6401856" y="616813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7DB9943-BB17-BD29-84A0-17AB9467F45C}"/>
              </a:ext>
            </a:extLst>
          </p:cNvPr>
          <p:cNvSpPr txBox="1"/>
          <p:nvPr/>
        </p:nvSpPr>
        <p:spPr>
          <a:xfrm>
            <a:off x="8913407" y="270205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B389435-DD92-028A-94A5-06BB8ADC7A16}"/>
              </a:ext>
            </a:extLst>
          </p:cNvPr>
          <p:cNvSpPr txBox="1"/>
          <p:nvPr/>
        </p:nvSpPr>
        <p:spPr>
          <a:xfrm>
            <a:off x="8908491" y="292328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E0BD49-4077-C141-62A5-ADEEE7155E49}"/>
              </a:ext>
            </a:extLst>
          </p:cNvPr>
          <p:cNvSpPr txBox="1"/>
          <p:nvPr/>
        </p:nvSpPr>
        <p:spPr>
          <a:xfrm>
            <a:off x="8834749" y="312484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5E9C93C-2B9D-4139-2407-EFCF13962C24}"/>
              </a:ext>
            </a:extLst>
          </p:cNvPr>
          <p:cNvSpPr txBox="1"/>
          <p:nvPr/>
        </p:nvSpPr>
        <p:spPr>
          <a:xfrm>
            <a:off x="8761007" y="378851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EA9EB3D-4A46-CB67-D1B6-879D0015A5D2}"/>
              </a:ext>
            </a:extLst>
          </p:cNvPr>
          <p:cNvSpPr txBox="1"/>
          <p:nvPr/>
        </p:nvSpPr>
        <p:spPr>
          <a:xfrm>
            <a:off x="8816165" y="4002431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C465023-52E3-8B1A-8EE1-9909FD14052A}"/>
              </a:ext>
            </a:extLst>
          </p:cNvPr>
          <p:cNvSpPr txBox="1"/>
          <p:nvPr/>
        </p:nvSpPr>
        <p:spPr>
          <a:xfrm>
            <a:off x="8811249" y="4223657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0EA5A7A-55B2-97D7-1A53-ADFDAB78280C}"/>
              </a:ext>
            </a:extLst>
          </p:cNvPr>
          <p:cNvSpPr txBox="1"/>
          <p:nvPr/>
        </p:nvSpPr>
        <p:spPr>
          <a:xfrm>
            <a:off x="8806333" y="4435050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A59B62B-3654-5C91-82D7-048F4681CD96}"/>
              </a:ext>
            </a:extLst>
          </p:cNvPr>
          <p:cNvSpPr txBox="1"/>
          <p:nvPr/>
        </p:nvSpPr>
        <p:spPr>
          <a:xfrm>
            <a:off x="8791585" y="4656276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DA6CA15-E458-A811-8882-FEF7554DF5D9}"/>
              </a:ext>
            </a:extLst>
          </p:cNvPr>
          <p:cNvSpPr txBox="1"/>
          <p:nvPr/>
        </p:nvSpPr>
        <p:spPr>
          <a:xfrm>
            <a:off x="8767005" y="4867669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B8DCD13-AAF3-D80F-5197-FE4FC25769F1}"/>
              </a:ext>
            </a:extLst>
          </p:cNvPr>
          <p:cNvSpPr txBox="1"/>
          <p:nvPr/>
        </p:nvSpPr>
        <p:spPr>
          <a:xfrm>
            <a:off x="8722759" y="508889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CFE2F4F-DB2A-D326-0702-5415B4E057D5}"/>
              </a:ext>
            </a:extLst>
          </p:cNvPr>
          <p:cNvSpPr txBox="1"/>
          <p:nvPr/>
        </p:nvSpPr>
        <p:spPr>
          <a:xfrm>
            <a:off x="8717843" y="5300289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30D0B10-2E3A-DB0B-F3C5-B5D7F3B3DE0E}"/>
              </a:ext>
            </a:extLst>
          </p:cNvPr>
          <p:cNvSpPr txBox="1"/>
          <p:nvPr/>
        </p:nvSpPr>
        <p:spPr>
          <a:xfrm>
            <a:off x="8663765" y="5521515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F6AD170-A1E0-E089-4808-7BE6F3FE3DAF}"/>
              </a:ext>
            </a:extLst>
          </p:cNvPr>
          <p:cNvSpPr txBox="1"/>
          <p:nvPr/>
        </p:nvSpPr>
        <p:spPr>
          <a:xfrm>
            <a:off x="8727675" y="5732909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985C9D5-F17C-12C1-44CB-C06530C2A9A6}"/>
              </a:ext>
            </a:extLst>
          </p:cNvPr>
          <p:cNvSpPr txBox="1"/>
          <p:nvPr/>
        </p:nvSpPr>
        <p:spPr>
          <a:xfrm>
            <a:off x="8683429" y="5954134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8304164-645A-D297-FD0C-986123AE50D5}"/>
              </a:ext>
            </a:extLst>
          </p:cNvPr>
          <p:cNvSpPr txBox="1"/>
          <p:nvPr/>
        </p:nvSpPr>
        <p:spPr>
          <a:xfrm>
            <a:off x="8531029" y="6165528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EF8CB6B-BF0A-EBD7-7645-182ED0F1ACEC}"/>
              </a:ext>
            </a:extLst>
          </p:cNvPr>
          <p:cNvSpPr txBox="1"/>
          <p:nvPr/>
        </p:nvSpPr>
        <p:spPr>
          <a:xfrm>
            <a:off x="11007677" y="248574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AB06EF0-616F-E732-6E46-B63D42EFE35A}"/>
              </a:ext>
            </a:extLst>
          </p:cNvPr>
          <p:cNvSpPr txBox="1"/>
          <p:nvPr/>
        </p:nvSpPr>
        <p:spPr>
          <a:xfrm>
            <a:off x="10855277" y="270697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AFD5C6E-17F9-8DB4-E877-536A7F9CA49D}"/>
              </a:ext>
            </a:extLst>
          </p:cNvPr>
          <p:cNvSpPr txBox="1"/>
          <p:nvPr/>
        </p:nvSpPr>
        <p:spPr>
          <a:xfrm>
            <a:off x="10850361" y="291836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E427FDC-D28B-6D92-DE3E-D260A3E8DE6B}"/>
              </a:ext>
            </a:extLst>
          </p:cNvPr>
          <p:cNvSpPr txBox="1"/>
          <p:nvPr/>
        </p:nvSpPr>
        <p:spPr>
          <a:xfrm>
            <a:off x="10776619" y="335590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14E5B63-66FB-3F40-8FC8-26CF8BCAAB36}"/>
              </a:ext>
            </a:extLst>
          </p:cNvPr>
          <p:cNvSpPr txBox="1"/>
          <p:nvPr/>
        </p:nvSpPr>
        <p:spPr>
          <a:xfrm>
            <a:off x="10693045" y="356729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7BB359-D1BF-E78E-A22F-0DB81F7BA29E}"/>
              </a:ext>
            </a:extLst>
          </p:cNvPr>
          <p:cNvSpPr txBox="1"/>
          <p:nvPr/>
        </p:nvSpPr>
        <p:spPr>
          <a:xfrm>
            <a:off x="10688129" y="378851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11861FB-4318-06E3-8A6E-033D14CD660C}"/>
              </a:ext>
            </a:extLst>
          </p:cNvPr>
          <p:cNvSpPr txBox="1"/>
          <p:nvPr/>
        </p:nvSpPr>
        <p:spPr>
          <a:xfrm>
            <a:off x="10673381" y="399991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B229B3B-D7B2-DA69-7A52-113C14083B49}"/>
              </a:ext>
            </a:extLst>
          </p:cNvPr>
          <p:cNvSpPr txBox="1"/>
          <p:nvPr/>
        </p:nvSpPr>
        <p:spPr>
          <a:xfrm>
            <a:off x="10609472" y="443744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F4D6366-76B5-B80E-DC45-72D0F01CCC54}"/>
              </a:ext>
            </a:extLst>
          </p:cNvPr>
          <p:cNvSpPr txBox="1"/>
          <p:nvPr/>
        </p:nvSpPr>
        <p:spPr>
          <a:xfrm>
            <a:off x="10604556" y="464884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1FEA8B4-5744-79FA-DED6-4CBD39CCFF27}"/>
              </a:ext>
            </a:extLst>
          </p:cNvPr>
          <p:cNvSpPr txBox="1"/>
          <p:nvPr/>
        </p:nvSpPr>
        <p:spPr>
          <a:xfrm>
            <a:off x="10609472" y="487006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B4618F7-AA4E-5AAF-B8B6-CD1AA6164503}"/>
              </a:ext>
            </a:extLst>
          </p:cNvPr>
          <p:cNvSpPr txBox="1"/>
          <p:nvPr/>
        </p:nvSpPr>
        <p:spPr>
          <a:xfrm>
            <a:off x="10575059" y="508146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03F4FC2-46E1-1056-E9D8-E8B449DE6A39}"/>
              </a:ext>
            </a:extLst>
          </p:cNvPr>
          <p:cNvSpPr txBox="1"/>
          <p:nvPr/>
        </p:nvSpPr>
        <p:spPr>
          <a:xfrm>
            <a:off x="10540646" y="53026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4986D1E-A69B-85CA-8A0A-0E1526382531}"/>
              </a:ext>
            </a:extLst>
          </p:cNvPr>
          <p:cNvSpPr txBox="1"/>
          <p:nvPr/>
        </p:nvSpPr>
        <p:spPr>
          <a:xfrm>
            <a:off x="11543036" y="401413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9487090-2642-803A-24CC-310599B78CB2}"/>
              </a:ext>
            </a:extLst>
          </p:cNvPr>
          <p:cNvSpPr txBox="1"/>
          <p:nvPr/>
        </p:nvSpPr>
        <p:spPr>
          <a:xfrm>
            <a:off x="11538120" y="422553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BB6003E-B39A-7FD3-FB15-32209189FC9E}"/>
              </a:ext>
            </a:extLst>
          </p:cNvPr>
          <p:cNvSpPr txBox="1"/>
          <p:nvPr/>
        </p:nvSpPr>
        <p:spPr>
          <a:xfrm>
            <a:off x="11484042" y="444675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5569F98-981A-83E9-A6F5-D8C4C831548D}"/>
              </a:ext>
            </a:extLst>
          </p:cNvPr>
          <p:cNvSpPr txBox="1"/>
          <p:nvPr/>
        </p:nvSpPr>
        <p:spPr>
          <a:xfrm>
            <a:off x="11488958" y="465815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0F10E33-8ED6-68AB-C2E5-D1DE6B138915}"/>
              </a:ext>
            </a:extLst>
          </p:cNvPr>
          <p:cNvSpPr txBox="1"/>
          <p:nvPr/>
        </p:nvSpPr>
        <p:spPr>
          <a:xfrm>
            <a:off x="11503706" y="486954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64FB70D-123C-F135-9B12-E7DB98EBB2C1}"/>
              </a:ext>
            </a:extLst>
          </p:cNvPr>
          <p:cNvSpPr txBox="1"/>
          <p:nvPr/>
        </p:nvSpPr>
        <p:spPr>
          <a:xfrm>
            <a:off x="11420132" y="508093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5B66FF6-DA25-9D27-B386-7223C7A61291}"/>
              </a:ext>
            </a:extLst>
          </p:cNvPr>
          <p:cNvSpPr txBox="1"/>
          <p:nvPr/>
        </p:nvSpPr>
        <p:spPr>
          <a:xfrm>
            <a:off x="11434881" y="530216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51A9635-8F38-339C-F081-D14ABA67D629}"/>
              </a:ext>
            </a:extLst>
          </p:cNvPr>
          <p:cNvSpPr txBox="1"/>
          <p:nvPr/>
        </p:nvSpPr>
        <p:spPr>
          <a:xfrm>
            <a:off x="11410300" y="552338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7428B60-961E-1BD1-BD30-FEEED3CF0A7A}"/>
              </a:ext>
            </a:extLst>
          </p:cNvPr>
          <p:cNvSpPr txBox="1"/>
          <p:nvPr/>
        </p:nvSpPr>
        <p:spPr>
          <a:xfrm>
            <a:off x="11366055" y="574461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C6420DD-B738-CF47-2998-7DBD4645650D}"/>
              </a:ext>
            </a:extLst>
          </p:cNvPr>
          <p:cNvSpPr txBox="1"/>
          <p:nvPr/>
        </p:nvSpPr>
        <p:spPr>
          <a:xfrm>
            <a:off x="11370971" y="594617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5D624126-CA31-5BEB-FC38-B28EE30FC1FA}"/>
              </a:ext>
            </a:extLst>
          </p:cNvPr>
          <p:cNvSpPr txBox="1"/>
          <p:nvPr/>
        </p:nvSpPr>
        <p:spPr>
          <a:xfrm>
            <a:off x="7612286" y="270610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C581053-BA78-43AA-3BAE-BC1B6C76E567}"/>
              </a:ext>
            </a:extLst>
          </p:cNvPr>
          <p:cNvSpPr txBox="1"/>
          <p:nvPr/>
        </p:nvSpPr>
        <p:spPr>
          <a:xfrm>
            <a:off x="7607370" y="2927328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198E4776-B526-AF7C-4A13-FC6FB02CB9A9}"/>
              </a:ext>
            </a:extLst>
          </p:cNvPr>
          <p:cNvSpPr txBox="1"/>
          <p:nvPr/>
        </p:nvSpPr>
        <p:spPr>
          <a:xfrm>
            <a:off x="7439159" y="313488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91CAF611-5DB8-7D96-EABC-FA64EED91F90}"/>
              </a:ext>
            </a:extLst>
          </p:cNvPr>
          <p:cNvSpPr txBox="1"/>
          <p:nvPr/>
        </p:nvSpPr>
        <p:spPr>
          <a:xfrm>
            <a:off x="7499215" y="358608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CB2655F1-9C7F-C7F5-A8DF-A2D66DB60318}"/>
              </a:ext>
            </a:extLst>
          </p:cNvPr>
          <p:cNvSpPr txBox="1"/>
          <p:nvPr/>
        </p:nvSpPr>
        <p:spPr>
          <a:xfrm>
            <a:off x="7379075" y="400922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32193F7-C5E5-19B1-798F-86BE4E31010F}"/>
              </a:ext>
            </a:extLst>
          </p:cNvPr>
          <p:cNvSpPr txBox="1"/>
          <p:nvPr/>
        </p:nvSpPr>
        <p:spPr>
          <a:xfrm>
            <a:off x="7501978" y="423044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BA9D70B5-08ED-70C1-DD22-DC83464E8345}"/>
              </a:ext>
            </a:extLst>
          </p:cNvPr>
          <p:cNvSpPr txBox="1"/>
          <p:nvPr/>
        </p:nvSpPr>
        <p:spPr>
          <a:xfrm>
            <a:off x="7310248" y="443200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370A7C80-D505-2B26-0150-B947D71EC251}"/>
              </a:ext>
            </a:extLst>
          </p:cNvPr>
          <p:cNvSpPr txBox="1"/>
          <p:nvPr/>
        </p:nvSpPr>
        <p:spPr>
          <a:xfrm>
            <a:off x="7383990" y="466306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16AB1CDA-A864-ABB1-B1B5-7CF65618479F}"/>
              </a:ext>
            </a:extLst>
          </p:cNvPr>
          <p:cNvSpPr txBox="1"/>
          <p:nvPr/>
        </p:nvSpPr>
        <p:spPr>
          <a:xfrm>
            <a:off x="7290583" y="4864627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6A70B9D0-3738-D9AA-C80D-CFCB671602C7}"/>
              </a:ext>
            </a:extLst>
          </p:cNvPr>
          <p:cNvSpPr txBox="1"/>
          <p:nvPr/>
        </p:nvSpPr>
        <p:spPr>
          <a:xfrm>
            <a:off x="7315164" y="508585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4B279FF4-34AD-012B-B69E-CD162B1F0064}"/>
              </a:ext>
            </a:extLst>
          </p:cNvPr>
          <p:cNvSpPr txBox="1"/>
          <p:nvPr/>
        </p:nvSpPr>
        <p:spPr>
          <a:xfrm>
            <a:off x="7300416" y="572986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BF27DF90-9F1E-2B8C-67BC-11AECD463FBB}"/>
              </a:ext>
            </a:extLst>
          </p:cNvPr>
          <p:cNvSpPr txBox="1"/>
          <p:nvPr/>
        </p:nvSpPr>
        <p:spPr>
          <a:xfrm>
            <a:off x="7266003" y="595109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B0A7EEF-5BA0-9D64-F259-EAAA710C38A2}"/>
              </a:ext>
            </a:extLst>
          </p:cNvPr>
          <p:cNvSpPr txBox="1"/>
          <p:nvPr/>
        </p:nvSpPr>
        <p:spPr>
          <a:xfrm>
            <a:off x="6957379" y="617304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88052D6-D203-C852-661C-6A0563365E99}"/>
              </a:ext>
            </a:extLst>
          </p:cNvPr>
          <p:cNvSpPr txBox="1"/>
          <p:nvPr/>
        </p:nvSpPr>
        <p:spPr>
          <a:xfrm>
            <a:off x="11470329" y="6172006"/>
            <a:ext cx="425207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1CAA763E-C539-6138-C4E9-19F05BC6299A}"/>
              </a:ext>
            </a:extLst>
          </p:cNvPr>
          <p:cNvSpPr txBox="1"/>
          <p:nvPr/>
        </p:nvSpPr>
        <p:spPr>
          <a:xfrm>
            <a:off x="7759770" y="320754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C3EBE428-6C27-E1DA-5146-29FA7FF29F59}"/>
              </a:ext>
            </a:extLst>
          </p:cNvPr>
          <p:cNvSpPr txBox="1"/>
          <p:nvPr/>
        </p:nvSpPr>
        <p:spPr>
          <a:xfrm>
            <a:off x="7774518" y="344843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1D29141-050B-BE89-72E9-C3C1FF18A019}"/>
              </a:ext>
            </a:extLst>
          </p:cNvPr>
          <p:cNvSpPr txBox="1"/>
          <p:nvPr/>
        </p:nvSpPr>
        <p:spPr>
          <a:xfrm>
            <a:off x="7759770" y="4092450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B672EA1-1304-028D-E582-2C7E77FF3AA1}"/>
              </a:ext>
            </a:extLst>
          </p:cNvPr>
          <p:cNvSpPr txBox="1"/>
          <p:nvPr/>
        </p:nvSpPr>
        <p:spPr>
          <a:xfrm>
            <a:off x="7754854" y="4529985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F9470FF4-AE40-8322-B433-001516D93621}"/>
              </a:ext>
            </a:extLst>
          </p:cNvPr>
          <p:cNvSpPr txBox="1"/>
          <p:nvPr/>
        </p:nvSpPr>
        <p:spPr>
          <a:xfrm>
            <a:off x="7799099" y="4741379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1589D944-9764-97A6-C00C-5A3DAD19C7EA}"/>
              </a:ext>
            </a:extLst>
          </p:cNvPr>
          <p:cNvSpPr txBox="1"/>
          <p:nvPr/>
        </p:nvSpPr>
        <p:spPr>
          <a:xfrm>
            <a:off x="7735189" y="538539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A43D027C-942D-309B-87D2-CE2E374D4CF9}"/>
              </a:ext>
            </a:extLst>
          </p:cNvPr>
          <p:cNvSpPr txBox="1"/>
          <p:nvPr/>
        </p:nvSpPr>
        <p:spPr>
          <a:xfrm>
            <a:off x="7789266" y="5606617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697AB046-2D54-D6AE-A207-4ABF88B53F58}"/>
              </a:ext>
            </a:extLst>
          </p:cNvPr>
          <p:cNvSpPr txBox="1"/>
          <p:nvPr/>
        </p:nvSpPr>
        <p:spPr>
          <a:xfrm>
            <a:off x="7745020" y="6044152"/>
            <a:ext cx="424546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700973A3-C501-9113-6291-2612C480E60E}"/>
              </a:ext>
            </a:extLst>
          </p:cNvPr>
          <p:cNvSpPr txBox="1"/>
          <p:nvPr/>
        </p:nvSpPr>
        <p:spPr>
          <a:xfrm>
            <a:off x="7847198" y="386738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3E9E9E9A-B67D-4194-17A7-F13FF0BC841F}"/>
              </a:ext>
            </a:extLst>
          </p:cNvPr>
          <p:cNvSpPr txBox="1"/>
          <p:nvPr/>
        </p:nvSpPr>
        <p:spPr>
          <a:xfrm>
            <a:off x="7871778" y="364615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823AA6A6-0E2B-D66D-30F9-F9559ED091FE}"/>
              </a:ext>
            </a:extLst>
          </p:cNvPr>
          <p:cNvSpPr txBox="1"/>
          <p:nvPr/>
        </p:nvSpPr>
        <p:spPr>
          <a:xfrm>
            <a:off x="7886527" y="430000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1078CFE6-3353-97E6-40C7-CF27C5CE832F}"/>
              </a:ext>
            </a:extLst>
          </p:cNvPr>
          <p:cNvSpPr txBox="1"/>
          <p:nvPr/>
        </p:nvSpPr>
        <p:spPr>
          <a:xfrm>
            <a:off x="7812785" y="494401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E41BD405-C2A8-D1DF-478A-5AC3C4B4E2F0}"/>
              </a:ext>
            </a:extLst>
          </p:cNvPr>
          <p:cNvSpPr txBox="1"/>
          <p:nvPr/>
        </p:nvSpPr>
        <p:spPr>
          <a:xfrm>
            <a:off x="7837365" y="581417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171637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772E594-ED94-65A8-4575-14B8CB941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7B03BB-E831-3307-D15E-C372CBDF35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7B03BB-E831-3307-D15E-C372CBDF35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FAD7C4-36E9-6E21-8218-DEFFFA9CF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 та бачення розвитку Вінниц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37D2C3-4452-49B8-EF75-27FEBDF40A3D}"/>
              </a:ext>
            </a:extLst>
          </p:cNvPr>
          <p:cNvSpPr txBox="1"/>
          <p:nvPr/>
        </p:nvSpPr>
        <p:spPr>
          <a:xfrm>
            <a:off x="7561006" y="6620950"/>
            <a:ext cx="418625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12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 Вашу думку, як буде розвиватися місто Вінниця у найближчі два-три роки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8E552-7EBC-9E1B-CE7C-00377852DDE0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A9DD45A2-BF2B-DEC3-8DC9-DBFF5DFD9CFC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19588"/>
          <a:ext cx="12142312" cy="31665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швидко розвиватись у пози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повільно розвиватись у пози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Нічого не зміниться, стагна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повільно змінюватися у нега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швидко змінюватися у нега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514A6184-BAE8-97C7-A22D-B11E5E680DCF}"/>
              </a:ext>
            </a:extLst>
          </p:cNvPr>
          <p:cNvGraphicFramePr/>
          <p:nvPr/>
        </p:nvGraphicFramePr>
        <p:xfrm>
          <a:off x="4043234" y="2827746"/>
          <a:ext cx="1905282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8FAC23D3-F337-E7D0-495F-DFAD3039A2CF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59040" cy="345948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7EBE4AE6-8E62-A60A-E850-0E479E2E9273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Розвиток міста Вінниця у найближчі два-три роки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9EE418D7-52B4-A24A-9214-10CFA5206127}"/>
              </a:ext>
            </a:extLst>
          </p:cNvPr>
          <p:cNvGraphicFramePr/>
          <p:nvPr/>
        </p:nvGraphicFramePr>
        <p:xfrm>
          <a:off x="6057489" y="2830598"/>
          <a:ext cx="1905282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A82A682F-94B2-D2CF-EA31-E0539A8BF607}"/>
              </a:ext>
            </a:extLst>
          </p:cNvPr>
          <p:cNvGraphicFramePr/>
          <p:nvPr/>
        </p:nvGraphicFramePr>
        <p:xfrm>
          <a:off x="8072428" y="2824894"/>
          <a:ext cx="1905282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84876217-360B-61E1-6E0A-4B9D878E6B66}"/>
              </a:ext>
            </a:extLst>
          </p:cNvPr>
          <p:cNvGraphicFramePr/>
          <p:nvPr/>
        </p:nvGraphicFramePr>
        <p:xfrm>
          <a:off x="10096515" y="2827746"/>
          <a:ext cx="1905282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B95E63F-B632-2EC9-164B-F51842039764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що планують залишатися у Вінниці, більш оптимістично налаштовані щодо розвитку міста. Ті, хто планує переїзд в інше місто, або не визначився – налаштовані більш критично і частіше говорять про можливу стагнацію.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C8601FA1-4E8F-DA54-5A91-B9DF387EE165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6049698"/>
          <a:ext cx="7998656" cy="218225"/>
        </p:xfrm>
        <a:graphic>
          <a:graphicData uri="http://schemas.openxmlformats.org/drawingml/2006/table">
            <a:tbl>
              <a:tblPr firstRow="1" bandRow="1"/>
              <a:tblGrid>
                <a:gridCol w="199966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A13953EE-5A28-8F3F-C745-8B60333D8EA4}"/>
              </a:ext>
            </a:extLst>
          </p:cNvPr>
          <p:cNvSpPr txBox="1"/>
          <p:nvPr/>
        </p:nvSpPr>
        <p:spPr>
          <a:xfrm>
            <a:off x="8809160" y="306085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2DA718F-318A-325B-FCAE-EC3516DE36F7}"/>
              </a:ext>
            </a:extLst>
          </p:cNvPr>
          <p:cNvSpPr txBox="1"/>
          <p:nvPr/>
        </p:nvSpPr>
        <p:spPr bwMode="gray">
          <a:xfrm>
            <a:off x="180218" y="253723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EB7F28-BE9E-A012-2E4E-3C50BBFE1699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6CFF7D-3B5E-ABB0-72F0-498D43FBB95A}"/>
              </a:ext>
            </a:extLst>
          </p:cNvPr>
          <p:cNvSpPr txBox="1"/>
          <p:nvPr/>
        </p:nvSpPr>
        <p:spPr>
          <a:xfrm>
            <a:off x="10839521" y="305594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8C67DA-0463-41B6-77C2-CDCB280CD6E9}"/>
              </a:ext>
            </a:extLst>
          </p:cNvPr>
          <p:cNvSpPr txBox="1"/>
          <p:nvPr/>
        </p:nvSpPr>
        <p:spPr>
          <a:xfrm>
            <a:off x="8642011" y="411291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15BB4-3C94-BB9B-87B2-07A03FA271D8}"/>
              </a:ext>
            </a:extLst>
          </p:cNvPr>
          <p:cNvSpPr txBox="1"/>
          <p:nvPr/>
        </p:nvSpPr>
        <p:spPr>
          <a:xfrm>
            <a:off x="8401121" y="572048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FF0020-BCEE-C7EC-7FC7-DC4A7791F85B}"/>
              </a:ext>
            </a:extLst>
          </p:cNvPr>
          <p:cNvSpPr txBox="1"/>
          <p:nvPr/>
        </p:nvSpPr>
        <p:spPr>
          <a:xfrm>
            <a:off x="6528075" y="572540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4A951E7-A0E7-B1A7-3B24-EADBF8F297D6}"/>
              </a:ext>
            </a:extLst>
          </p:cNvPr>
          <p:cNvSpPr txBox="1"/>
          <p:nvPr/>
        </p:nvSpPr>
        <p:spPr>
          <a:xfrm>
            <a:off x="6641146" y="411782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C89AA54-F213-80F6-6F02-111590C4CA6B}"/>
              </a:ext>
            </a:extLst>
          </p:cNvPr>
          <p:cNvSpPr txBox="1"/>
          <p:nvPr/>
        </p:nvSpPr>
        <p:spPr>
          <a:xfrm>
            <a:off x="11257391" y="360163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0500980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9E00ED1-043A-B431-F9E6-362A5CB7FC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B21933E-A051-817A-BC41-535AF6B190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21933E-A051-817A-BC41-535AF6B19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3B0572-19D1-5EDD-C533-13F85F7EB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 та ознаки позитивного розвитку Вінниц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FC923A-B83D-E781-002D-110F8D91049A}"/>
              </a:ext>
            </a:extLst>
          </p:cNvPr>
          <p:cNvSpPr txBox="1"/>
          <p:nvPr/>
        </p:nvSpPr>
        <p:spPr>
          <a:xfrm>
            <a:off x="8021813" y="6620950"/>
            <a:ext cx="37254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1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3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Що свідчить про розвиток міста Вінниця у позитивному напрямку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21881B-142F-E2D2-F7F4-43ACD9B8B583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772A03DE-D3A7-FA58-15E5-F1AC77A31068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3371864"/>
          <a:ext cx="12142312" cy="32173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окращення благоустрою і умов для життя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івництво нового, сучасного житла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Добрий екологічний стан, зелені зо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ідкриття нових підприємств і бізнес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Розвиненість інфраструктури для виховання і навчання ді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ідкриття і розвиток кафе, рестора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роведення різних культурних захо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Якісні заклади охорони здоров’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исока якість освіти у закладах міс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Релокація бізнес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роведення різних спортивних заходів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064837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Збільшення пропозицій роботи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638784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ідкриття і розвиток торгівельних центр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4560074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роведення різних розважальних заходів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Релокація навчальних закладів з окупованих і прифронтових регіо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Збільшення заробітної платні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5B77A0C4-E213-49D6-FB69-531B36236FE5}"/>
              </a:ext>
            </a:extLst>
          </p:cNvPr>
          <p:cNvGraphicFramePr/>
          <p:nvPr/>
        </p:nvGraphicFramePr>
        <p:xfrm>
          <a:off x="4043233" y="3280022"/>
          <a:ext cx="1936133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C2A89556-08A8-4F87-E0AB-35C441259447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2359300"/>
          <a:ext cx="8101780" cy="345948"/>
        </p:xfrm>
        <a:graphic>
          <a:graphicData uri="http://schemas.openxmlformats.org/drawingml/2006/table">
            <a:tbl>
              <a:tblPr firstRow="1" bandRow="1"/>
              <a:tblGrid>
                <a:gridCol w="202544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40BEF51A-507A-5C65-E17E-6CB7062BD297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Фактори, </a:t>
            </a:r>
            <a:r>
              <a:rPr lang="ru-RU" sz="1800" b="1" kern="0" dirty="0">
                <a:solidFill>
                  <a:schemeClr val="accent2">
                    <a:lumMod val="50000"/>
                  </a:schemeClr>
                </a:solidFill>
              </a:rPr>
              <a:t>що свідчить про розвиток міста Вінниця у позитивному напрямку</a:t>
            </a:r>
            <a:endParaRPr lang="uk-UA" sz="1800" b="1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EC5593FA-1E91-C8D3-432E-107F09BC19E5}"/>
              </a:ext>
            </a:extLst>
          </p:cNvPr>
          <p:cNvGraphicFramePr/>
          <p:nvPr/>
        </p:nvGraphicFramePr>
        <p:xfrm>
          <a:off x="6057492" y="3282874"/>
          <a:ext cx="1936133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0A490AAD-3551-F909-4F63-CE850FE9D717}"/>
              </a:ext>
            </a:extLst>
          </p:cNvPr>
          <p:cNvGraphicFramePr/>
          <p:nvPr/>
        </p:nvGraphicFramePr>
        <p:xfrm>
          <a:off x="8111759" y="3277170"/>
          <a:ext cx="1936133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5399CC26-8C70-8F60-E775-F70EF41BA920}"/>
              </a:ext>
            </a:extLst>
          </p:cNvPr>
          <p:cNvGraphicFramePr/>
          <p:nvPr/>
        </p:nvGraphicFramePr>
        <p:xfrm>
          <a:off x="10145679" y="3280022"/>
          <a:ext cx="1936133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A8102F0-C7AB-BB07-D008-09D17CC05B54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Ті, що планують залишатися у Вінниці, більш позитивно оцінюють перспективи розвитку міста та називають більше ознак цього розвитку. Ті, що планують переїзд у інше місто або не визначились, називають меншу кількість ознак розвитку міста.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57DC2D91-9EB9-E2EC-E403-1372B90E4968}"/>
              </a:ext>
            </a:extLst>
          </p:cNvPr>
          <p:cNvGraphicFramePr>
            <a:graphicFrameLocks noGrp="1"/>
          </p:cNvGraphicFramePr>
          <p:nvPr/>
        </p:nvGraphicFramePr>
        <p:xfrm>
          <a:off x="4031225" y="6521642"/>
          <a:ext cx="8041076" cy="218225"/>
        </p:xfrm>
        <a:graphic>
          <a:graphicData uri="http://schemas.openxmlformats.org/drawingml/2006/table">
            <a:tbl>
              <a:tblPr firstRow="1" bandRow="1"/>
              <a:tblGrid>
                <a:gridCol w="201026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1026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1026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1026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0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51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2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29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A52E43D-B847-7485-0A43-0322EDECCD7C}"/>
              </a:ext>
            </a:extLst>
          </p:cNvPr>
          <p:cNvSpPr txBox="1"/>
          <p:nvPr/>
        </p:nvSpPr>
        <p:spPr bwMode="gray">
          <a:xfrm>
            <a:off x="180218" y="2399585"/>
            <a:ext cx="210086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вважають, що місто Вінниця у найближчі два-три роки буде розвиватися у позитивному напрямку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659F0CFE-7959-BEBB-EC68-322CE3AA3632}"/>
              </a:ext>
            </a:extLst>
          </p:cNvPr>
          <p:cNvGraphicFramePr/>
          <p:nvPr/>
        </p:nvGraphicFramePr>
        <p:xfrm>
          <a:off x="4032497" y="2732524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2BD675D1-DCC9-5C95-1833-202EDFACD63D}"/>
              </a:ext>
            </a:extLst>
          </p:cNvPr>
          <p:cNvGraphicFramePr/>
          <p:nvPr/>
        </p:nvGraphicFramePr>
        <p:xfrm>
          <a:off x="6063031" y="2730789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4EAB8BDC-A1FE-B1CA-432E-F67E1C730867}"/>
              </a:ext>
            </a:extLst>
          </p:cNvPr>
          <p:cNvGraphicFramePr/>
          <p:nvPr/>
        </p:nvGraphicFramePr>
        <p:xfrm>
          <a:off x="8093563" y="2726712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AAFA167D-001C-995C-714F-FC228BEE84CE}"/>
              </a:ext>
            </a:extLst>
          </p:cNvPr>
          <p:cNvGraphicFramePr/>
          <p:nvPr/>
        </p:nvGraphicFramePr>
        <p:xfrm>
          <a:off x="10133933" y="2724977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663C795C-E130-8914-2A72-9DE3BA85FCB3}"/>
              </a:ext>
            </a:extLst>
          </p:cNvPr>
          <p:cNvSpPr txBox="1"/>
          <p:nvPr/>
        </p:nvSpPr>
        <p:spPr>
          <a:xfrm>
            <a:off x="11553960" y="3342958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E3F306-9AFA-A037-45D1-6F8C4EFBCA93}"/>
              </a:ext>
            </a:extLst>
          </p:cNvPr>
          <p:cNvSpPr txBox="1"/>
          <p:nvPr/>
        </p:nvSpPr>
        <p:spPr>
          <a:xfrm>
            <a:off x="10555985" y="3141397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86C879-7DDA-7FA3-2600-648E352070C7}"/>
              </a:ext>
            </a:extLst>
          </p:cNvPr>
          <p:cNvSpPr txBox="1"/>
          <p:nvPr/>
        </p:nvSpPr>
        <p:spPr>
          <a:xfrm>
            <a:off x="7231593" y="424629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1E6E62-C237-1322-16B3-EC199AC3776A}"/>
              </a:ext>
            </a:extLst>
          </p:cNvPr>
          <p:cNvSpPr txBox="1"/>
          <p:nvPr/>
        </p:nvSpPr>
        <p:spPr>
          <a:xfrm>
            <a:off x="11484044" y="370060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7522797-D89E-889A-948E-85AC35403457}"/>
              </a:ext>
            </a:extLst>
          </p:cNvPr>
          <p:cNvSpPr txBox="1"/>
          <p:nvPr/>
        </p:nvSpPr>
        <p:spPr>
          <a:xfrm>
            <a:off x="11361140" y="424629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02E44A-AEFD-447C-5117-20C57B877255}"/>
              </a:ext>
            </a:extLst>
          </p:cNvPr>
          <p:cNvSpPr txBox="1"/>
          <p:nvPr/>
        </p:nvSpPr>
        <p:spPr>
          <a:xfrm>
            <a:off x="11287399" y="441835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31FCA1B-6F54-4AEF-8CDB-C4E5C9FB9165}"/>
              </a:ext>
            </a:extLst>
          </p:cNvPr>
          <p:cNvSpPr txBox="1"/>
          <p:nvPr/>
        </p:nvSpPr>
        <p:spPr>
          <a:xfrm>
            <a:off x="11282483" y="494438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5387FF-FE0A-A604-6C42-E5F82DEA334F}"/>
              </a:ext>
            </a:extLst>
          </p:cNvPr>
          <p:cNvSpPr txBox="1"/>
          <p:nvPr/>
        </p:nvSpPr>
        <p:spPr>
          <a:xfrm>
            <a:off x="11228405" y="531309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A87729C-B130-1990-B87C-D9FE62A2A0F7}"/>
              </a:ext>
            </a:extLst>
          </p:cNvPr>
          <p:cNvSpPr txBox="1"/>
          <p:nvPr/>
        </p:nvSpPr>
        <p:spPr>
          <a:xfrm>
            <a:off x="11193992" y="567196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B073B6F-B50F-E2F9-EFBE-DAC302613399}"/>
              </a:ext>
            </a:extLst>
          </p:cNvPr>
          <p:cNvSpPr txBox="1"/>
          <p:nvPr/>
        </p:nvSpPr>
        <p:spPr>
          <a:xfrm>
            <a:off x="11509715" y="3524854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4BAD9A0-7C6E-6214-436F-2AC8D5023D37}"/>
              </a:ext>
            </a:extLst>
          </p:cNvPr>
          <p:cNvSpPr txBox="1"/>
          <p:nvPr/>
        </p:nvSpPr>
        <p:spPr>
          <a:xfrm>
            <a:off x="11435973" y="4050880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948160-C002-5FE0-8ACA-642D8D1ADBE0}"/>
              </a:ext>
            </a:extLst>
          </p:cNvPr>
          <p:cNvSpPr txBox="1"/>
          <p:nvPr/>
        </p:nvSpPr>
        <p:spPr>
          <a:xfrm>
            <a:off x="11342566" y="4596570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F6EDB07-0EC2-95B4-4188-72648A042E8D}"/>
              </a:ext>
            </a:extLst>
          </p:cNvPr>
          <p:cNvSpPr txBox="1"/>
          <p:nvPr/>
        </p:nvSpPr>
        <p:spPr>
          <a:xfrm>
            <a:off x="11278656" y="4768635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640379D-69AB-AC8C-4D43-BB56FA9F74AB}"/>
              </a:ext>
            </a:extLst>
          </p:cNvPr>
          <p:cNvSpPr txBox="1"/>
          <p:nvPr/>
        </p:nvSpPr>
        <p:spPr>
          <a:xfrm>
            <a:off x="11283572" y="5137345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2D48F1D-21BF-D9F7-BD56-A34DE4359792}"/>
              </a:ext>
            </a:extLst>
          </p:cNvPr>
          <p:cNvSpPr txBox="1"/>
          <p:nvPr/>
        </p:nvSpPr>
        <p:spPr>
          <a:xfrm>
            <a:off x="11219663" y="5496222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E5EFD45-0001-4990-C89F-9665CF9B1F33}"/>
              </a:ext>
            </a:extLst>
          </p:cNvPr>
          <p:cNvSpPr txBox="1"/>
          <p:nvPr/>
        </p:nvSpPr>
        <p:spPr>
          <a:xfrm>
            <a:off x="11234411" y="5855099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9A64665-4454-AFBF-88E0-9FFC29E07331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763446211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65E563A-7F0E-02DA-F0AA-8262DE4DF4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4CFA47B-7238-B1F6-8A7A-ACF341D50FBA}"/>
              </a:ext>
            </a:extLst>
          </p:cNvPr>
          <p:cNvSpPr txBox="1"/>
          <p:nvPr/>
        </p:nvSpPr>
        <p:spPr>
          <a:xfrm>
            <a:off x="8021813" y="6620950"/>
            <a:ext cx="37254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1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Що свідчить про розвиток міста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я у негативному напрямку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F1C42F8-F07D-9B21-9BC3-E42430CF76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1C42F8-F07D-9B21-9BC3-E42430CF7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6308AC-5002-E606-1E92-726ACFD9D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в інше місто та ознаки негативної динаміки Вінниці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8B422-F677-7A28-832B-E2A7B7341CB7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8F35E726-C0AE-E2FC-1438-48860C42EF69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3411191"/>
          <a:ext cx="12142312" cy="2964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уп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очення або відсутність росту заробітної пл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зька якість комунальних послуг, благоустро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ладно знайти достойну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криття підприємств і бізнес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сутність активного культурного житт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зька якість професійної і вищої освіти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зька якість охорони здоров’я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гана інфраструктура для виховання і навчання ді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ганий екологічний стан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сутність можливостей для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064837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сутність якісного житл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6387843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F028CED2-E667-576E-3030-2672946DD656}"/>
              </a:ext>
            </a:extLst>
          </p:cNvPr>
          <p:cNvGraphicFramePr/>
          <p:nvPr/>
        </p:nvGraphicFramePr>
        <p:xfrm>
          <a:off x="4043234" y="3329182"/>
          <a:ext cx="1905282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9F887EA2-B4BA-B570-35FB-F6622D508B23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2359300"/>
          <a:ext cx="8101780" cy="345948"/>
        </p:xfrm>
        <a:graphic>
          <a:graphicData uri="http://schemas.openxmlformats.org/drawingml/2006/table">
            <a:tbl>
              <a:tblPr firstRow="1" bandRow="1"/>
              <a:tblGrid>
                <a:gridCol w="202544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1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11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5408F5E6-E7E3-AC15-D1DC-183AF517325E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Фактори, </a:t>
            </a:r>
            <a:r>
              <a:rPr lang="ru-RU" sz="1800" b="1" kern="0" dirty="0">
                <a:solidFill>
                  <a:schemeClr val="accent2">
                    <a:lumMod val="50000"/>
                  </a:schemeClr>
                </a:solidFill>
              </a:rPr>
              <a:t>що свідчить про розвиток міста Вінниця у негативному напрямку</a:t>
            </a:r>
            <a:endParaRPr lang="uk-UA" sz="1800" b="1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5D3882A4-4288-968F-4107-7F38F6FA03CE}"/>
              </a:ext>
            </a:extLst>
          </p:cNvPr>
          <p:cNvGraphicFramePr/>
          <p:nvPr/>
        </p:nvGraphicFramePr>
        <p:xfrm>
          <a:off x="6067322" y="3332034"/>
          <a:ext cx="1905282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D777FD74-C18B-1EE8-DF26-378A65FD4A30}"/>
              </a:ext>
            </a:extLst>
          </p:cNvPr>
          <p:cNvGraphicFramePr/>
          <p:nvPr/>
        </p:nvGraphicFramePr>
        <p:xfrm>
          <a:off x="8101925" y="3326330"/>
          <a:ext cx="1905282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85DC3F75-1EC9-EDD3-F7CD-31B5AC8909B9}"/>
              </a:ext>
            </a:extLst>
          </p:cNvPr>
          <p:cNvGraphicFramePr/>
          <p:nvPr/>
        </p:nvGraphicFramePr>
        <p:xfrm>
          <a:off x="10116179" y="3329182"/>
          <a:ext cx="1905282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1BD3A2B-CA7B-CA3A-AEC3-6CD87C62C965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Ті, хто планує переїзд в інше місто, частіше за невпевнених та лояльних мешканців, називали такі ознаки негативної динаміки у місті як відсутність активного культурного життя та погана інфраструктура для виховання і навчання дітей.</a:t>
            </a:r>
            <a:endParaRPr lang="uk-UA" sz="1600" noProof="0" dirty="0"/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4A418A75-79C1-65D7-1F8C-76A7926571CC}"/>
              </a:ext>
            </a:extLst>
          </p:cNvPr>
          <p:cNvGraphicFramePr>
            <a:graphicFrameLocks noGrp="1"/>
          </p:cNvGraphicFramePr>
          <p:nvPr/>
        </p:nvGraphicFramePr>
        <p:xfrm>
          <a:off x="4011561" y="6383988"/>
          <a:ext cx="8070568" cy="218225"/>
        </p:xfrm>
        <a:graphic>
          <a:graphicData uri="http://schemas.openxmlformats.org/drawingml/2006/table">
            <a:tbl>
              <a:tblPr firstRow="1" bandRow="1"/>
              <a:tblGrid>
                <a:gridCol w="2017642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17642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17642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17642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79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3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0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DBBAEDD-0E88-7F83-EA18-C48BF036CE6A}"/>
              </a:ext>
            </a:extLst>
          </p:cNvPr>
          <p:cNvSpPr txBox="1"/>
          <p:nvPr/>
        </p:nvSpPr>
        <p:spPr bwMode="gray">
          <a:xfrm>
            <a:off x="180218" y="2399585"/>
            <a:ext cx="210086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вважають, що місто Вінниця у найближчі два-три роки буде розвиватися у негативному напрямку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F8355E36-A225-5312-5ED0-37A0D4FA9D9D}"/>
              </a:ext>
            </a:extLst>
          </p:cNvPr>
          <p:cNvGraphicFramePr/>
          <p:nvPr/>
        </p:nvGraphicFramePr>
        <p:xfrm>
          <a:off x="4032497" y="2742356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E715FFAC-A2FA-77BB-EBAE-90E2C19E3EB1}"/>
              </a:ext>
            </a:extLst>
          </p:cNvPr>
          <p:cNvGraphicFramePr/>
          <p:nvPr/>
        </p:nvGraphicFramePr>
        <p:xfrm>
          <a:off x="6072860" y="27406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E33868F8-4D2A-4FDE-0926-46E60651DAB2}"/>
              </a:ext>
            </a:extLst>
          </p:cNvPr>
          <p:cNvGraphicFramePr/>
          <p:nvPr/>
        </p:nvGraphicFramePr>
        <p:xfrm>
          <a:off x="8083728" y="2736544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DB753181-4E32-7C0D-8C20-5D1250875FFB}"/>
              </a:ext>
            </a:extLst>
          </p:cNvPr>
          <p:cNvGraphicFramePr/>
          <p:nvPr/>
        </p:nvGraphicFramePr>
        <p:xfrm>
          <a:off x="10104432" y="2734809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419769C-AEF5-ED91-2A53-E89F52B6D81B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2EF502-F245-C461-EF5D-4DB030CFFDD7}"/>
              </a:ext>
            </a:extLst>
          </p:cNvPr>
          <p:cNvSpPr txBox="1"/>
          <p:nvPr/>
        </p:nvSpPr>
        <p:spPr>
          <a:xfrm>
            <a:off x="6933467" y="509227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7712CA6-3699-727D-0F7E-E6E7A754EBB3}"/>
              </a:ext>
            </a:extLst>
          </p:cNvPr>
          <p:cNvSpPr txBox="1"/>
          <p:nvPr/>
        </p:nvSpPr>
        <p:spPr>
          <a:xfrm>
            <a:off x="7330252" y="383461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B033F8-DF66-8A41-F5DB-96EE92D7ECFD}"/>
              </a:ext>
            </a:extLst>
          </p:cNvPr>
          <p:cNvSpPr txBox="1"/>
          <p:nvPr/>
        </p:nvSpPr>
        <p:spPr>
          <a:xfrm>
            <a:off x="7114486" y="4470102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12A048-6262-F396-C31A-EA2F1A5B9749}"/>
              </a:ext>
            </a:extLst>
          </p:cNvPr>
          <p:cNvSpPr txBox="1"/>
          <p:nvPr/>
        </p:nvSpPr>
        <p:spPr>
          <a:xfrm>
            <a:off x="6633583" y="3081576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CA40D2-996F-2981-627A-D4461B11DE3F}"/>
              </a:ext>
            </a:extLst>
          </p:cNvPr>
          <p:cNvSpPr txBox="1"/>
          <p:nvPr/>
        </p:nvSpPr>
        <p:spPr>
          <a:xfrm>
            <a:off x="8604950" y="300783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C902053-7310-369B-38D4-3453C257D22D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</p:spTree>
    <p:extLst>
      <p:ext uri="{BB962C8B-B14F-4D97-AF65-F5344CB8AC3E}">
        <p14:creationId xmlns:p14="http://schemas.microsoft.com/office/powerpoint/2010/main" val="414525717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F3F8363-651F-4C60-38A1-49D5EAE25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1DCCEA5-8DF5-5635-3A82-5892FD41D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DCCEA5-8DF5-5635-3A82-5892FD41D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8189028-EB91-B7B0-9B38-9A2A3FD9A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 та бачення розвитку Вінниц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0FB4E7-9E4C-1D20-5320-933AA810F474}"/>
              </a:ext>
            </a:extLst>
          </p:cNvPr>
          <p:cNvSpPr txBox="1"/>
          <p:nvPr/>
        </p:nvSpPr>
        <p:spPr>
          <a:xfrm>
            <a:off x="7561006" y="6620950"/>
            <a:ext cx="418625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12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 Вашу думку, як буде розвиватися місто Вінниця у найближчі два-три роки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783D4E-5199-5086-CEEE-C3CD5CBD1C39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0EFBE13D-5C37-CA78-CED1-20254C79B48F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2919588"/>
          <a:ext cx="12142312" cy="31665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швидко розвиватись у пози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повільно розвиватись у пози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Нічого не зміниться, стагна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повільно змінюватися у нега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е швидко змінюватися у негативному напрямк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52776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8B55E7A1-33C8-EA72-FEC2-D871F8EEB478}"/>
              </a:ext>
            </a:extLst>
          </p:cNvPr>
          <p:cNvGraphicFramePr/>
          <p:nvPr/>
        </p:nvGraphicFramePr>
        <p:xfrm>
          <a:off x="4043234" y="2827746"/>
          <a:ext cx="1905282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3DEFF3D5-FBBA-D018-881A-B681784DA142}"/>
              </a:ext>
            </a:extLst>
          </p:cNvPr>
          <p:cNvGraphicFramePr>
            <a:graphicFrameLocks noGrp="1"/>
          </p:cNvGraphicFramePr>
          <p:nvPr/>
        </p:nvGraphicFramePr>
        <p:xfrm>
          <a:off x="4041058" y="2536281"/>
          <a:ext cx="8059040" cy="339852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35D4E416-924A-764C-2799-3AE74ABEC143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Розвиток міста Вінниця у найближчі два-три роки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4F8A5C4D-3805-F1D1-5BA5-1EBCF664FD58}"/>
              </a:ext>
            </a:extLst>
          </p:cNvPr>
          <p:cNvGraphicFramePr/>
          <p:nvPr/>
        </p:nvGraphicFramePr>
        <p:xfrm>
          <a:off x="6057489" y="2830598"/>
          <a:ext cx="1905282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2FE64918-055A-13D5-7B3B-2976BB079F52}"/>
              </a:ext>
            </a:extLst>
          </p:cNvPr>
          <p:cNvGraphicFramePr/>
          <p:nvPr/>
        </p:nvGraphicFramePr>
        <p:xfrm>
          <a:off x="8072428" y="2824894"/>
          <a:ext cx="1905282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F2D3B13A-FA59-220A-2752-6036F7521233}"/>
              </a:ext>
            </a:extLst>
          </p:cNvPr>
          <p:cNvGraphicFramePr/>
          <p:nvPr/>
        </p:nvGraphicFramePr>
        <p:xfrm>
          <a:off x="10096515" y="2827746"/>
          <a:ext cx="1905282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45EE82D-8EA0-5C1A-4CC5-04F2A31752CC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що планують переїзд за кордон, ще більш критично налаштовані щодо розвитку Вінниці, порівняно до тих, хто планує переїзд в інше місто: 18% вважають, що нічого не зміниться, ще 6% вважають, що будуть відбуватися зміни у негативному напрямку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06F34BE2-8B68-47FD-4DBB-E28059FFA78E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6049698"/>
          <a:ext cx="7998656" cy="218225"/>
        </p:xfrm>
        <a:graphic>
          <a:graphicData uri="http://schemas.openxmlformats.org/drawingml/2006/table">
            <a:tbl>
              <a:tblPr firstRow="1" bandRow="1"/>
              <a:tblGrid>
                <a:gridCol w="1999664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999664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4BEA23DF-6E15-180F-9820-182E17BE12F0}"/>
              </a:ext>
            </a:extLst>
          </p:cNvPr>
          <p:cNvSpPr txBox="1"/>
          <p:nvPr/>
        </p:nvSpPr>
        <p:spPr>
          <a:xfrm>
            <a:off x="10834605" y="307454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440B41-3B33-A9E2-457E-FFB64769C16F}"/>
              </a:ext>
            </a:extLst>
          </p:cNvPr>
          <p:cNvSpPr txBox="1"/>
          <p:nvPr/>
        </p:nvSpPr>
        <p:spPr bwMode="gray">
          <a:xfrm>
            <a:off x="180218" y="253723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FC9BD9-A333-CF1F-6395-CFBA57F727B1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9C4AB0-44AB-96B0-DF0A-30416E7FDCDC}"/>
              </a:ext>
            </a:extLst>
          </p:cNvPr>
          <p:cNvSpPr txBox="1"/>
          <p:nvPr/>
        </p:nvSpPr>
        <p:spPr>
          <a:xfrm>
            <a:off x="6381134" y="4656574"/>
            <a:ext cx="462119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AFC8CC-8D9D-6181-FCED-1E8EBED73DD7}"/>
              </a:ext>
            </a:extLst>
          </p:cNvPr>
          <p:cNvSpPr txBox="1"/>
          <p:nvPr/>
        </p:nvSpPr>
        <p:spPr>
          <a:xfrm>
            <a:off x="11239356" y="358789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323F0E-F8F7-B4B1-C5D1-86B6CD455E9D}"/>
              </a:ext>
            </a:extLst>
          </p:cNvPr>
          <p:cNvSpPr txBox="1"/>
          <p:nvPr/>
        </p:nvSpPr>
        <p:spPr>
          <a:xfrm>
            <a:off x="6626941" y="411579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753A1B7-17D4-6301-A807-81F8AE783951}"/>
              </a:ext>
            </a:extLst>
          </p:cNvPr>
          <p:cNvSpPr txBox="1"/>
          <p:nvPr/>
        </p:nvSpPr>
        <p:spPr>
          <a:xfrm>
            <a:off x="6366386" y="571354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2DEAEB-D745-3776-26CC-A46803165E1A}"/>
              </a:ext>
            </a:extLst>
          </p:cNvPr>
          <p:cNvSpPr txBox="1"/>
          <p:nvPr/>
        </p:nvSpPr>
        <p:spPr>
          <a:xfrm>
            <a:off x="8426244" y="571845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C50C70A-D98E-0331-60E8-8011CB577BA5}"/>
              </a:ext>
            </a:extLst>
          </p:cNvPr>
          <p:cNvSpPr txBox="1"/>
          <p:nvPr/>
        </p:nvSpPr>
        <p:spPr>
          <a:xfrm>
            <a:off x="8833740" y="304996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959842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02767FC-8628-A301-0D4B-915D28F3D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6EF2393-3217-1B6A-DA2F-1153F5F7F5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EF2393-3217-1B6A-DA2F-1153F5F7F5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FDD7E7-BC08-3D6D-F3F9-3D5C1BCC1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 та ознаки позитивного розвитку Вінниці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743F94-C64F-7313-C130-76D91416642D}"/>
              </a:ext>
            </a:extLst>
          </p:cNvPr>
          <p:cNvSpPr txBox="1"/>
          <p:nvPr/>
        </p:nvSpPr>
        <p:spPr>
          <a:xfrm>
            <a:off x="8021813" y="6620950"/>
            <a:ext cx="37254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1</a:t>
            </a:r>
            <a:r>
              <a:rPr lang="uk-UA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3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Що свідчить про розвиток міста Вінниця у позитивному напрямку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EF3EB0-25C7-C0C5-2446-9EB076DEF07C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864DF8AB-A97D-4A56-B8E7-35CB2F276EB4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3371864"/>
          <a:ext cx="12142312" cy="32173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окращення благоустрою і умов для життя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Будівництво нового, сучасного житла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Добрий екологічний стан, зелені зо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ідкриття нових підприємств і бізнес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Розвиненість інфраструктури для виховання і навчання ді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ідкриття і розвиток кафе, рестора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роведення різних культурних заход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Якісні заклади охорони здоров’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исока якість освіти у закладах міс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Релокація бізнес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роведення різних спортивних заходів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064837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Збільшення пропозицій роботи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638784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ідкриття і розвиток торгівельних центр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4560074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Проведення різних розважальних заходів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Релокація навчальних закладів з окупованих і прифронтових регіо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Збільшення заробітної платні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17873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98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9FAC4D99-8F42-3CD6-6AC5-B3EC7C8AE7BF}"/>
              </a:ext>
            </a:extLst>
          </p:cNvPr>
          <p:cNvGraphicFramePr/>
          <p:nvPr/>
        </p:nvGraphicFramePr>
        <p:xfrm>
          <a:off x="4043233" y="3280022"/>
          <a:ext cx="1936133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1BDE619E-979C-C214-9225-5675195BB9DB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2359300"/>
          <a:ext cx="8101780" cy="339852"/>
        </p:xfrm>
        <a:graphic>
          <a:graphicData uri="http://schemas.openxmlformats.org/drawingml/2006/table">
            <a:tbl>
              <a:tblPr firstRow="1" bandRow="1"/>
              <a:tblGrid>
                <a:gridCol w="202544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67C6D244-A145-0816-A427-3E81066A2DA7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Фактори, </a:t>
            </a:r>
            <a:r>
              <a:rPr lang="ru-RU" sz="1800" b="1" kern="0" dirty="0">
                <a:solidFill>
                  <a:schemeClr val="accent2">
                    <a:lumMod val="50000"/>
                  </a:schemeClr>
                </a:solidFill>
              </a:rPr>
              <a:t>що свідчить про розвиток міста Вінниця у позитивному напрямку</a:t>
            </a:r>
            <a:endParaRPr lang="uk-UA" sz="1800" b="1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A55B4BD5-6AA6-7833-D05C-3D20FF0187FA}"/>
              </a:ext>
            </a:extLst>
          </p:cNvPr>
          <p:cNvGraphicFramePr/>
          <p:nvPr/>
        </p:nvGraphicFramePr>
        <p:xfrm>
          <a:off x="6057492" y="3282874"/>
          <a:ext cx="1936133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8E7D2C19-6640-9C9C-52C5-8036340F99FF}"/>
              </a:ext>
            </a:extLst>
          </p:cNvPr>
          <p:cNvGraphicFramePr/>
          <p:nvPr/>
        </p:nvGraphicFramePr>
        <p:xfrm>
          <a:off x="8111759" y="3277170"/>
          <a:ext cx="1936133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35D7901C-6FC7-724F-56EE-983A8DB50BF4}"/>
              </a:ext>
            </a:extLst>
          </p:cNvPr>
          <p:cNvGraphicFramePr/>
          <p:nvPr/>
        </p:nvGraphicFramePr>
        <p:xfrm>
          <a:off x="10145679" y="3280022"/>
          <a:ext cx="1936133" cy="335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F091510-5C7A-1F04-23BE-25FEB512E234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Бачення ознак позитивного розвитку Вінниці є схожим для різних груп за схильністю переїзду за кордон. </a:t>
            </a:r>
            <a:r>
              <a:rPr lang="uk-UA" sz="1600" dirty="0"/>
              <a:t>Головні ознаки для всіх груп – це покращення умов життя у місті, будівництво нового житла та добрий екологічний стан. </a:t>
            </a:r>
            <a:r>
              <a:rPr lang="uk-UA" sz="1600" noProof="0" dirty="0"/>
              <a:t>  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BD022947-DCE1-973E-C4A0-C3A604B9FB70}"/>
              </a:ext>
            </a:extLst>
          </p:cNvPr>
          <p:cNvGraphicFramePr>
            <a:graphicFrameLocks noGrp="1"/>
          </p:cNvGraphicFramePr>
          <p:nvPr/>
        </p:nvGraphicFramePr>
        <p:xfrm>
          <a:off x="4031225" y="6521642"/>
          <a:ext cx="8041076" cy="218225"/>
        </p:xfrm>
        <a:graphic>
          <a:graphicData uri="http://schemas.openxmlformats.org/drawingml/2006/table">
            <a:tbl>
              <a:tblPr firstRow="1" bandRow="1"/>
              <a:tblGrid>
                <a:gridCol w="201026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1026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1026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1026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0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5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2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2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57BD812-2775-1843-C48B-EAAA2FDCCE98}"/>
              </a:ext>
            </a:extLst>
          </p:cNvPr>
          <p:cNvSpPr txBox="1"/>
          <p:nvPr/>
        </p:nvSpPr>
        <p:spPr bwMode="gray">
          <a:xfrm>
            <a:off x="180218" y="2399585"/>
            <a:ext cx="210086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вважають, що місто Вінниця у найближчі два-три роки буде розвиватися у позитивному напрямку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13108661-7DBA-04BF-94C1-CC12BC50E832}"/>
              </a:ext>
            </a:extLst>
          </p:cNvPr>
          <p:cNvGraphicFramePr/>
          <p:nvPr/>
        </p:nvGraphicFramePr>
        <p:xfrm>
          <a:off x="4032497" y="2732524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B5F14AF9-E32B-B632-591C-C1C1145895B3}"/>
              </a:ext>
            </a:extLst>
          </p:cNvPr>
          <p:cNvGraphicFramePr/>
          <p:nvPr/>
        </p:nvGraphicFramePr>
        <p:xfrm>
          <a:off x="6063031" y="2730789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74220EB5-4289-5734-2FC4-24638CFCA6F4}"/>
              </a:ext>
            </a:extLst>
          </p:cNvPr>
          <p:cNvGraphicFramePr/>
          <p:nvPr/>
        </p:nvGraphicFramePr>
        <p:xfrm>
          <a:off x="8093563" y="2726712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12E81F83-42BE-7934-8961-630BB1E9D66A}"/>
              </a:ext>
            </a:extLst>
          </p:cNvPr>
          <p:cNvGraphicFramePr/>
          <p:nvPr/>
        </p:nvGraphicFramePr>
        <p:xfrm>
          <a:off x="10133933" y="2724977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27096610-F6C7-5900-2E9E-84BDCEF28DDE}"/>
              </a:ext>
            </a:extLst>
          </p:cNvPr>
          <p:cNvSpPr txBox="1"/>
          <p:nvPr/>
        </p:nvSpPr>
        <p:spPr>
          <a:xfrm>
            <a:off x="10675100" y="3001146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80438E-D4E8-DABF-0047-591842F6199E}"/>
              </a:ext>
            </a:extLst>
          </p:cNvPr>
          <p:cNvSpPr txBox="1"/>
          <p:nvPr/>
        </p:nvSpPr>
        <p:spPr>
          <a:xfrm>
            <a:off x="7447902" y="371108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DBBB2C7-42A4-8991-6DC9-A4BCB0EE3BBC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39E60E-8027-33C6-2575-7A60BDDC4CF2}"/>
              </a:ext>
            </a:extLst>
          </p:cNvPr>
          <p:cNvSpPr txBox="1"/>
          <p:nvPr/>
        </p:nvSpPr>
        <p:spPr>
          <a:xfrm>
            <a:off x="7207012" y="460090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F76258-E722-1BC5-05AC-314039490C74}"/>
              </a:ext>
            </a:extLst>
          </p:cNvPr>
          <p:cNvSpPr txBox="1"/>
          <p:nvPr/>
        </p:nvSpPr>
        <p:spPr>
          <a:xfrm>
            <a:off x="7143102" y="585451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A6B6CFE-D487-80DB-D446-DA6146B7C752}"/>
              </a:ext>
            </a:extLst>
          </p:cNvPr>
          <p:cNvSpPr txBox="1"/>
          <p:nvPr/>
        </p:nvSpPr>
        <p:spPr>
          <a:xfrm>
            <a:off x="11513541" y="3342371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28D7B89-F19D-2807-7468-D24CD3400BE9}"/>
              </a:ext>
            </a:extLst>
          </p:cNvPr>
          <p:cNvSpPr txBox="1"/>
          <p:nvPr/>
        </p:nvSpPr>
        <p:spPr>
          <a:xfrm>
            <a:off x="11459464" y="353410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A6CD63B-3F6D-A657-4D74-33906E74475A}"/>
              </a:ext>
            </a:extLst>
          </p:cNvPr>
          <p:cNvSpPr txBox="1"/>
          <p:nvPr/>
        </p:nvSpPr>
        <p:spPr>
          <a:xfrm>
            <a:off x="11464381" y="369633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D693D39-3628-1BAB-70FF-EB81A89BBA55}"/>
              </a:ext>
            </a:extLst>
          </p:cNvPr>
          <p:cNvSpPr txBox="1"/>
          <p:nvPr/>
        </p:nvSpPr>
        <p:spPr>
          <a:xfrm>
            <a:off x="11400471" y="4055210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16019B9-659E-9C7F-B5D2-EA59100D3896}"/>
              </a:ext>
            </a:extLst>
          </p:cNvPr>
          <p:cNvSpPr txBox="1"/>
          <p:nvPr/>
        </p:nvSpPr>
        <p:spPr>
          <a:xfrm>
            <a:off x="11297233" y="441408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4057B3D-D039-6258-D575-5E52526A1650}"/>
              </a:ext>
            </a:extLst>
          </p:cNvPr>
          <p:cNvSpPr txBox="1"/>
          <p:nvPr/>
        </p:nvSpPr>
        <p:spPr>
          <a:xfrm>
            <a:off x="11302150" y="459598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9725DD3-9AF6-DFFC-7F42-88F0A8BBC824}"/>
              </a:ext>
            </a:extLst>
          </p:cNvPr>
          <p:cNvSpPr txBox="1"/>
          <p:nvPr/>
        </p:nvSpPr>
        <p:spPr>
          <a:xfrm>
            <a:off x="11248073" y="477788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7A27CA1-6800-C0DD-FB5E-8701B83CCE72}"/>
              </a:ext>
            </a:extLst>
          </p:cNvPr>
          <p:cNvSpPr txBox="1"/>
          <p:nvPr/>
        </p:nvSpPr>
        <p:spPr>
          <a:xfrm>
            <a:off x="11243156" y="495977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8BE71E4-43C2-6ADB-28CF-E5F72765EC4D}"/>
              </a:ext>
            </a:extLst>
          </p:cNvPr>
          <p:cNvSpPr txBox="1"/>
          <p:nvPr/>
        </p:nvSpPr>
        <p:spPr>
          <a:xfrm>
            <a:off x="11198910" y="5318655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1F978CB-0454-9120-CD08-F0A0518C91E4}"/>
              </a:ext>
            </a:extLst>
          </p:cNvPr>
          <p:cNvSpPr txBox="1"/>
          <p:nvPr/>
        </p:nvSpPr>
        <p:spPr>
          <a:xfrm>
            <a:off x="11203826" y="585451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C00000"/>
                </a:solidFill>
                <a:sym typeface="Arial"/>
              </a:rPr>
              <a:t>(b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5C19787-4F9D-AD5C-4780-36F3B4BCAE64}"/>
              </a:ext>
            </a:extLst>
          </p:cNvPr>
          <p:cNvSpPr txBox="1"/>
          <p:nvPr/>
        </p:nvSpPr>
        <p:spPr>
          <a:xfrm>
            <a:off x="11250287" y="5139662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179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A6AD1A7-6AB0-E001-3E8B-1A3CC3E33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C908161-2476-DF17-5AEC-780C08A694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908161-2476-DF17-5AEC-780C08A69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9B07F9-DFAF-3D66-958C-6EBA1FD67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Розподіл осіб, які НЕ працюють і не шукають роботу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34231C-84D7-FF91-8502-6DF86C0CCCE2}"/>
              </a:ext>
            </a:extLst>
          </p:cNvPr>
          <p:cNvSpPr txBox="1"/>
          <p:nvPr/>
        </p:nvSpPr>
        <p:spPr>
          <a:xfrm>
            <a:off x="9174481" y="6620950"/>
            <a:ext cx="25727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3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Чому Ви не працюєте і не шукаєте роботу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0DFDAC-4D48-1115-2388-7577BFC67D2F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5E8DA43C-0050-7267-C316-0ED569A749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696409"/>
              </p:ext>
            </p:extLst>
          </p:nvPr>
        </p:nvGraphicFramePr>
        <p:xfrm>
          <a:off x="39329" y="2821265"/>
          <a:ext cx="12142312" cy="27658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55316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гляд за дитиною, декретна відпустк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55316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ймаєтесь своїм хобі, собою, живете собі у задоволе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55316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дете домашнє господарств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55316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553163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2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B91A0B67-64F1-ECB4-5103-0797A24C46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8831069"/>
              </p:ext>
            </p:extLst>
          </p:nvPr>
        </p:nvGraphicFramePr>
        <p:xfrm>
          <a:off x="4043234" y="2729424"/>
          <a:ext cx="1548000" cy="2936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55114809-5C50-639C-368F-BA921938A2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00643"/>
              </p:ext>
            </p:extLst>
          </p:nvPr>
        </p:nvGraphicFramePr>
        <p:xfrm>
          <a:off x="4041058" y="2536281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5C3A57BF-7988-F4F2-D96B-3E03D8D3EC7E}"/>
              </a:ext>
            </a:extLst>
          </p:cNvPr>
          <p:cNvSpPr txBox="1">
            <a:spLocks/>
          </p:cNvSpPr>
          <p:nvPr/>
        </p:nvSpPr>
        <p:spPr>
          <a:xfrm>
            <a:off x="1" y="1991477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Причини, чому НЕ працюють і не шукають роботу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D38B8405-EDD5-CAF9-21D2-70A623EF9C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6844423"/>
              </p:ext>
            </p:extLst>
          </p:nvPr>
        </p:nvGraphicFramePr>
        <p:xfrm>
          <a:off x="5654368" y="2732276"/>
          <a:ext cx="1548000" cy="2936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2899C9EF-8D00-FB27-4745-A20ADD92A3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2526358"/>
              </p:ext>
            </p:extLst>
          </p:nvPr>
        </p:nvGraphicFramePr>
        <p:xfrm>
          <a:off x="7285848" y="2726572"/>
          <a:ext cx="1548000" cy="2936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D6A71AFA-7602-F6BC-B19F-858823C259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7553478"/>
              </p:ext>
            </p:extLst>
          </p:nvPr>
        </p:nvGraphicFramePr>
        <p:xfrm>
          <a:off x="8916644" y="2729424"/>
          <a:ext cx="1548000" cy="2936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A0782FF5-11DB-2284-793F-3E4C785785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0593267"/>
              </p:ext>
            </p:extLst>
          </p:nvPr>
        </p:nvGraphicFramePr>
        <p:xfrm>
          <a:off x="10530361" y="2726572"/>
          <a:ext cx="1548000" cy="2936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23542074-6510-F9FE-AFBF-6F2BB065DE9A}"/>
              </a:ext>
            </a:extLst>
          </p:cNvPr>
          <p:cNvSpPr txBox="1"/>
          <p:nvPr/>
        </p:nvSpPr>
        <p:spPr bwMode="gray">
          <a:xfrm>
            <a:off x="70089" y="2598297"/>
            <a:ext cx="31709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cs typeface="Arial" pitchFamily="34" charset="0"/>
              </a:rPr>
              <a:t>% респондентів, які НЕ працюють і не шукають роботу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AB863B4-5640-00CA-2806-DF958140A84B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UA" sz="1600" noProof="0" dirty="0"/>
              <a:t>Головною причиною </a:t>
            </a:r>
            <a:r>
              <a:rPr lang="ru-UA" sz="1600" noProof="0" dirty="0" err="1"/>
              <a:t>неактивност</a:t>
            </a:r>
            <a:r>
              <a:rPr lang="uk-UA" sz="1600" noProof="0" dirty="0"/>
              <a:t>і на ринку праці у віці старше 25 років є догляд за дитиною. Водночас близько третини у цій групі не дали відповідь про причину </a:t>
            </a:r>
            <a:r>
              <a:rPr lang="uk-UA" sz="1600" noProof="0" dirty="0" err="1"/>
              <a:t>неактивності</a:t>
            </a:r>
            <a:r>
              <a:rPr lang="uk-UA" sz="1600" noProof="0" dirty="0"/>
              <a:t> на ринку праці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EED3C62-3919-4D8A-D9D2-823CE8605ECE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6F75CA95-49A1-5ACB-8064-2E14F99CA3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042802"/>
              </p:ext>
            </p:extLst>
          </p:nvPr>
        </p:nvGraphicFramePr>
        <p:xfrm>
          <a:off x="4041058" y="5617074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5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8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B83DE958-9ECC-5408-C5B1-B00C2357DF9D}"/>
              </a:ext>
            </a:extLst>
          </p:cNvPr>
          <p:cNvSpPr txBox="1"/>
          <p:nvPr/>
        </p:nvSpPr>
        <p:spPr>
          <a:xfrm>
            <a:off x="8082208" y="3547427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A26423-861B-8C5E-A26C-6E7B30AEC736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EE9AEB-3164-1E68-33FD-48203EF005C0}"/>
              </a:ext>
            </a:extLst>
          </p:cNvPr>
          <p:cNvSpPr txBox="1"/>
          <p:nvPr/>
        </p:nvSpPr>
        <p:spPr>
          <a:xfrm>
            <a:off x="6751248" y="3699827"/>
            <a:ext cx="599240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 (c) 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2E2EB7D-15EC-4A0D-FD5E-38F4A3FAABD5}"/>
              </a:ext>
            </a:extLst>
          </p:cNvPr>
          <p:cNvSpPr/>
          <p:nvPr/>
        </p:nvSpPr>
        <p:spPr>
          <a:xfrm>
            <a:off x="8732520" y="2401225"/>
            <a:ext cx="3081528" cy="3551520"/>
          </a:xfrm>
          <a:prstGeom prst="roundRect">
            <a:avLst/>
          </a:prstGeom>
          <a:noFill/>
          <a:ln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66098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4707B68-0DBA-04B9-63AD-0CBB9C1E8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B2B7FEF-20DE-A54B-4251-3E50723214F4}"/>
              </a:ext>
            </a:extLst>
          </p:cNvPr>
          <p:cNvSpPr txBox="1"/>
          <p:nvPr/>
        </p:nvSpPr>
        <p:spPr>
          <a:xfrm>
            <a:off x="8021813" y="6620950"/>
            <a:ext cx="37254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A1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Що свідчить про розвиток міста 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інниця у негативному напрямку</a:t>
            </a:r>
            <a:r>
              <a:rPr lang="ru-RU" sz="800" dirty="0">
                <a:solidFill>
                  <a:srgbClr val="585858"/>
                </a:solidFill>
                <a:ea typeface="Times New Roman" panose="02020603050405020304" pitchFamily="18" charset="0"/>
              </a:rPr>
              <a:t>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71B1DCA-DC51-EC29-E9EB-35C21CBBBF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1B1DCA-DC51-EC29-E9EB-35C21CBBB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3D538B-1D27-A797-08CA-2A2F3B911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 та ознаки негативної динаміки Вінниці</a:t>
            </a:r>
            <a:endParaRPr lang="uk-UA" sz="2400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37BFB5-1E82-92AF-1861-B4C5E58130B6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0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DA65E7ED-68C2-BB19-793B-BC1C116A7CF2}"/>
              </a:ext>
            </a:extLst>
          </p:cNvPr>
          <p:cNvGraphicFramePr>
            <a:graphicFrameLocks noGrp="1"/>
          </p:cNvGraphicFramePr>
          <p:nvPr/>
        </p:nvGraphicFramePr>
        <p:xfrm>
          <a:off x="39329" y="3411191"/>
          <a:ext cx="12142312" cy="2964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упц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очення або відсутність росту заробітної пл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43505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зька якість комунальних послуг, благоустро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263799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ладно знайти достойну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998757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криття підприємств і бізнес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010802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сутність активного культурного житт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468854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зька якість професійної і вищої освіти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045578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зька якість охорони здоров’я у міст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223654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гана інфраструктура для виховання і навчання дітей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16763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ганий екологічний стан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798660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сутність можливостей для 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064837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сутність якісного житл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6387843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21175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3B4B2AF9-EE0F-9D75-2D3C-28FB40F16C0B}"/>
              </a:ext>
            </a:extLst>
          </p:cNvPr>
          <p:cNvGraphicFramePr/>
          <p:nvPr/>
        </p:nvGraphicFramePr>
        <p:xfrm>
          <a:off x="4043234" y="3329182"/>
          <a:ext cx="1905282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5FA2DB04-0E5A-D967-911C-AE4745B3309A}"/>
              </a:ext>
            </a:extLst>
          </p:cNvPr>
          <p:cNvGraphicFramePr>
            <a:graphicFrameLocks noGrp="1"/>
          </p:cNvGraphicFramePr>
          <p:nvPr/>
        </p:nvGraphicFramePr>
        <p:xfrm>
          <a:off x="4041057" y="2359300"/>
          <a:ext cx="8101780" cy="339852"/>
        </p:xfrm>
        <a:graphic>
          <a:graphicData uri="http://schemas.openxmlformats.org/drawingml/2006/table">
            <a:tbl>
              <a:tblPr firstRow="1" bandRow="1"/>
              <a:tblGrid>
                <a:gridCol w="2025445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25445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9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9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09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D55C76C6-C70A-D32D-5100-7DE686114CCB}"/>
              </a:ext>
            </a:extLst>
          </p:cNvPr>
          <p:cNvSpPr txBox="1">
            <a:spLocks/>
          </p:cNvSpPr>
          <p:nvPr/>
        </p:nvSpPr>
        <p:spPr>
          <a:xfrm>
            <a:off x="1" y="202480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dirty="0">
                <a:solidFill>
                  <a:schemeClr val="accent2">
                    <a:lumMod val="50000"/>
                  </a:schemeClr>
                </a:solidFill>
              </a:rPr>
              <a:t>Фактори, </a:t>
            </a:r>
            <a:r>
              <a:rPr lang="ru-RU" sz="1800" b="1" kern="0" dirty="0">
                <a:solidFill>
                  <a:schemeClr val="accent2">
                    <a:lumMod val="50000"/>
                  </a:schemeClr>
                </a:solidFill>
              </a:rPr>
              <a:t>що свідчить про розвиток міста Вінниця у негативному напрямку</a:t>
            </a:r>
            <a:endParaRPr lang="uk-UA" sz="1800" b="1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668076E7-7EC1-2DFA-1952-64170F7E193D}"/>
              </a:ext>
            </a:extLst>
          </p:cNvPr>
          <p:cNvGraphicFramePr/>
          <p:nvPr/>
        </p:nvGraphicFramePr>
        <p:xfrm>
          <a:off x="6067322" y="3332034"/>
          <a:ext cx="1905282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A0EE81E4-00F3-C364-508D-5C9EC222FBF9}"/>
              </a:ext>
            </a:extLst>
          </p:cNvPr>
          <p:cNvGraphicFramePr/>
          <p:nvPr/>
        </p:nvGraphicFramePr>
        <p:xfrm>
          <a:off x="8101925" y="3326330"/>
          <a:ext cx="1905282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D1D8E87C-44EB-323A-BF33-B0DBECF69379}"/>
              </a:ext>
            </a:extLst>
          </p:cNvPr>
          <p:cNvGraphicFramePr/>
          <p:nvPr/>
        </p:nvGraphicFramePr>
        <p:xfrm>
          <a:off x="10116179" y="3329182"/>
          <a:ext cx="1905282" cy="3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1F3846C-FAC2-2E97-BD12-E82C8E9B4998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Ті, хто планує переїзд за кордон, найчастіше серед ознак негативної динаміки Вінниці називали корупцію та низьку якість комунальних послуг. Також ті, хто планує переїзд за кордон, є більше незадоволеними якістю професійної і вищої освіти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978968C6-FBFE-6AFE-835C-C3B929141905}"/>
              </a:ext>
            </a:extLst>
          </p:cNvPr>
          <p:cNvGraphicFramePr>
            <a:graphicFrameLocks noGrp="1"/>
          </p:cNvGraphicFramePr>
          <p:nvPr/>
        </p:nvGraphicFramePr>
        <p:xfrm>
          <a:off x="4011561" y="6383988"/>
          <a:ext cx="8070568" cy="218225"/>
        </p:xfrm>
        <a:graphic>
          <a:graphicData uri="http://schemas.openxmlformats.org/drawingml/2006/table">
            <a:tbl>
              <a:tblPr firstRow="1" bandRow="1"/>
              <a:tblGrid>
                <a:gridCol w="2017642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17642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17642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17642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79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7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3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FFA625A-B992-94F5-1C5D-40C8ED926347}"/>
              </a:ext>
            </a:extLst>
          </p:cNvPr>
          <p:cNvSpPr txBox="1"/>
          <p:nvPr/>
        </p:nvSpPr>
        <p:spPr bwMode="gray">
          <a:xfrm>
            <a:off x="180218" y="2399585"/>
            <a:ext cx="210086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вважають, що місто Вінниця у найближчі два-три роки буде розвиватися у негативному напрямку</a:t>
            </a:r>
          </a:p>
        </p:txBody>
      </p:sp>
      <p:graphicFrame>
        <p:nvGraphicFramePr>
          <p:cNvPr id="24" name="Діаграма 23">
            <a:extLst>
              <a:ext uri="{FF2B5EF4-FFF2-40B4-BE49-F238E27FC236}">
                <a16:creationId xmlns:a16="http://schemas.microsoft.com/office/drawing/2014/main" id="{7ACDDC49-E1B9-995D-168D-502228758DFD}"/>
              </a:ext>
            </a:extLst>
          </p:cNvPr>
          <p:cNvGraphicFramePr/>
          <p:nvPr/>
        </p:nvGraphicFramePr>
        <p:xfrm>
          <a:off x="4032497" y="2742356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7" name="Діаграма 26">
            <a:extLst>
              <a:ext uri="{FF2B5EF4-FFF2-40B4-BE49-F238E27FC236}">
                <a16:creationId xmlns:a16="http://schemas.microsoft.com/office/drawing/2014/main" id="{D36B41F6-AF19-22CF-1CDF-B5044E92EF1D}"/>
              </a:ext>
            </a:extLst>
          </p:cNvPr>
          <p:cNvGraphicFramePr/>
          <p:nvPr/>
        </p:nvGraphicFramePr>
        <p:xfrm>
          <a:off x="6072860" y="2740621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2" name="Діаграма 31">
            <a:extLst>
              <a:ext uri="{FF2B5EF4-FFF2-40B4-BE49-F238E27FC236}">
                <a16:creationId xmlns:a16="http://schemas.microsoft.com/office/drawing/2014/main" id="{C4EC2DB8-B505-B2A2-DB33-D91545F2543E}"/>
              </a:ext>
            </a:extLst>
          </p:cNvPr>
          <p:cNvGraphicFramePr/>
          <p:nvPr/>
        </p:nvGraphicFramePr>
        <p:xfrm>
          <a:off x="8083728" y="2736544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3" name="Діаграма 32">
            <a:extLst>
              <a:ext uri="{FF2B5EF4-FFF2-40B4-BE49-F238E27FC236}">
                <a16:creationId xmlns:a16="http://schemas.microsoft.com/office/drawing/2014/main" id="{E00038BB-41EC-6DF3-692F-FFDE93D03499}"/>
              </a:ext>
            </a:extLst>
          </p:cNvPr>
          <p:cNvGraphicFramePr/>
          <p:nvPr/>
        </p:nvGraphicFramePr>
        <p:xfrm>
          <a:off x="10104432" y="2734809"/>
          <a:ext cx="1223158" cy="6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89F3FC81-B80D-26A6-9225-18AF9E15CA50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4234C9F-5160-79F0-59A3-F085C8730BE1}"/>
              </a:ext>
            </a:extLst>
          </p:cNvPr>
          <p:cNvSpPr txBox="1"/>
          <p:nvPr/>
        </p:nvSpPr>
        <p:spPr>
          <a:xfrm>
            <a:off x="7550995" y="3839683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C8B46B-3BC7-D412-2607-12EE5777DE2C}"/>
              </a:ext>
            </a:extLst>
          </p:cNvPr>
          <p:cNvSpPr txBox="1"/>
          <p:nvPr/>
        </p:nvSpPr>
        <p:spPr>
          <a:xfrm>
            <a:off x="7622395" y="340863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3347BA0-91D3-AF69-D4A3-6B0F5B807AE6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9BB70D3-D2EA-D312-D168-23B6217646E2}"/>
              </a:ext>
            </a:extLst>
          </p:cNvPr>
          <p:cNvSpPr txBox="1"/>
          <p:nvPr/>
        </p:nvSpPr>
        <p:spPr>
          <a:xfrm>
            <a:off x="7041266" y="468644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5ED1BA-C5D5-6C80-A454-BD09B72EEA21}"/>
              </a:ext>
            </a:extLst>
          </p:cNvPr>
          <p:cNvSpPr txBox="1"/>
          <p:nvPr/>
        </p:nvSpPr>
        <p:spPr>
          <a:xfrm>
            <a:off x="6631678" y="3058019"/>
            <a:ext cx="442031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800" b="1" dirty="0">
                <a:solidFill>
                  <a:srgbClr val="C00000"/>
                </a:solidFill>
                <a:sym typeface="Arial"/>
              </a:rPr>
              <a:t>b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118069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AB8D09-C978-520E-6CD9-FD7B0EE79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BF2D9A-9E6F-0B52-DE82-4FF6BC989A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BF2D9A-9E6F-0B52-DE82-4FF6BC989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27E7ED-9E9D-645E-89C0-8263C90FE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Критерії ідеального міста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608A778-42A9-C8AF-31F9-6C8E3D535A9A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1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249002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01034-E706-1069-63B5-9BD0438BA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89AB9B94-999D-C821-0E36-B96E6BED8C49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231335"/>
          <a:ext cx="12160800" cy="4389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0364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857160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 / Безпе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форт / Комфортне / Затиш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9349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нене / Розвивається / Сучасне / Перспектив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825928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окійне / Тихе / Мирне / Без вій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4242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елене / Зелені зони / Екологі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600547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новаційне / Технологічне / Прогресивне / Креатив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974539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те / Доглянут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654208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раструктур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38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 можливостями (реалізації себе / розвитку / кар'єри / бізнес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17481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бота / Працевлаштування / Висока зарпла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92082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арне / Красиве / Приваблив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18448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45909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ильна економіка / Достаток / Благополучч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у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туп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ноорієнтова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ікав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еньке / Невелике / Компакт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ктивне / Драйвове / Енергій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е / Дружнє / Позитив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віта / Навчальні заклади (якісні / доступн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лик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(добрі / позитивні / хорош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клюзивність / Безбар'єр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ультура / Істор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лерант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 коруп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більність / Надій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Якісна охорона здоров'я / Медицин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DD2D2C-8DCA-4C09-9E1D-F8F28349C4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DD2D2C-8DCA-4C09-9E1D-F8F28349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7BEF90-09E0-B22D-B44E-6BCDF70B7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Наміри переїзду в інше місто та критерії ідеального міст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43AEC0-6A8F-665A-D02E-A9521ED3FCFB}"/>
              </a:ext>
            </a:extLst>
          </p:cNvPr>
          <p:cNvSpPr txBox="1"/>
          <p:nvPr/>
        </p:nvSpPr>
        <p:spPr>
          <a:xfrm>
            <a:off x="6493974" y="6630780"/>
            <a:ext cx="5253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</a:t>
            </a: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23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Опишіть трьома словами місто, у якому Ви точно хотіли б жити. Яким має бути ідеальне для Вас місто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84B6B7-2A3C-F311-7DC4-704AE37292B2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2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877EC852-7035-CAEA-4631-7EAE9E7E64D4}"/>
              </a:ext>
            </a:extLst>
          </p:cNvPr>
          <p:cNvGraphicFramePr>
            <a:graphicFrameLocks noGrp="1"/>
          </p:cNvGraphicFramePr>
          <p:nvPr/>
        </p:nvGraphicFramePr>
        <p:xfrm>
          <a:off x="3323302" y="1897191"/>
          <a:ext cx="8776796" cy="327660"/>
        </p:xfrm>
        <a:graphic>
          <a:graphicData uri="http://schemas.openxmlformats.org/drawingml/2006/table">
            <a:tbl>
              <a:tblPr firstRow="1" bandRow="1"/>
              <a:tblGrid>
                <a:gridCol w="2194199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194199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94199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94199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впевнені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ують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50" b="0" i="0" u="sng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їзд</a:t>
                      </a:r>
                      <a:r>
                        <a:rPr lang="ru-RU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 інше місто України в майбутньому</a:t>
                      </a:r>
                      <a:r>
                        <a:rPr lang="en-US" sz="105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0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05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406FEA55-608E-7172-DDF1-A1879CA026CC}"/>
              </a:ext>
            </a:extLst>
          </p:cNvPr>
          <p:cNvSpPr txBox="1"/>
          <p:nvPr/>
        </p:nvSpPr>
        <p:spPr bwMode="gray">
          <a:xfrm>
            <a:off x="180218" y="199646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0C2563A-4D2B-9396-9E35-61E8F382635C}"/>
              </a:ext>
            </a:extLst>
          </p:cNvPr>
          <p:cNvSpPr txBox="1">
            <a:spLocks/>
          </p:cNvSpPr>
          <p:nvPr/>
        </p:nvSpPr>
        <p:spPr>
          <a:xfrm>
            <a:off x="314631" y="692994"/>
            <a:ext cx="11562738" cy="8006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Для тих, хто має намір залишатися у Вінниці, головні ознаки ідеального міста – це безпека і комфорт. </a:t>
            </a:r>
          </a:p>
          <a:p>
            <a:r>
              <a:rPr lang="uk-UA" sz="1600" dirty="0"/>
              <a:t>Для тих, хто планує переїзд у інше місто, окрім комфорту, безпеки та сучасності, особливими критеріями є можливості самореалізації і великий розмір міста. Для тих, хто не визначився, відносно важливішим аспектом є </a:t>
            </a:r>
            <a:r>
              <a:rPr lang="uk-UA" sz="1600" dirty="0" err="1"/>
              <a:t>інноваційність</a:t>
            </a:r>
            <a:r>
              <a:rPr lang="uk-UA" sz="1600" dirty="0"/>
              <a:t> і креативність міста</a:t>
            </a:r>
            <a:endParaRPr lang="uk-UA" sz="1600" noProof="0" dirty="0"/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AB90F00E-E031-126C-F2F1-51FCCCD234B7}"/>
              </a:ext>
            </a:extLst>
          </p:cNvPr>
          <p:cNvGraphicFramePr/>
          <p:nvPr/>
        </p:nvGraphicFramePr>
        <p:xfrm>
          <a:off x="3335309" y="2109997"/>
          <a:ext cx="210193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0" name="Диаграмма 16">
            <a:extLst>
              <a:ext uri="{FF2B5EF4-FFF2-40B4-BE49-F238E27FC236}">
                <a16:creationId xmlns:a16="http://schemas.microsoft.com/office/drawing/2014/main" id="{D7DDD414-5AAF-D539-ABAD-9E685A0028A5}"/>
              </a:ext>
            </a:extLst>
          </p:cNvPr>
          <p:cNvGraphicFramePr/>
          <p:nvPr/>
        </p:nvGraphicFramePr>
        <p:xfrm>
          <a:off x="5514747" y="2112376"/>
          <a:ext cx="210193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Диаграмма 16">
            <a:extLst>
              <a:ext uri="{FF2B5EF4-FFF2-40B4-BE49-F238E27FC236}">
                <a16:creationId xmlns:a16="http://schemas.microsoft.com/office/drawing/2014/main" id="{087CE710-0A5A-1D28-51DF-45988A411D22}"/>
              </a:ext>
            </a:extLst>
          </p:cNvPr>
          <p:cNvGraphicFramePr/>
          <p:nvPr/>
        </p:nvGraphicFramePr>
        <p:xfrm>
          <a:off x="7713849" y="2114912"/>
          <a:ext cx="210193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6C4F7410-1A39-42A1-315D-43C86F87118E}"/>
              </a:ext>
            </a:extLst>
          </p:cNvPr>
          <p:cNvGraphicFramePr/>
          <p:nvPr/>
        </p:nvGraphicFramePr>
        <p:xfrm>
          <a:off x="9903120" y="2117291"/>
          <a:ext cx="210193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6C3595C-5896-7D80-C22E-1DB7C396CEEC}"/>
              </a:ext>
            </a:extLst>
          </p:cNvPr>
          <p:cNvSpPr txBox="1">
            <a:spLocks/>
          </p:cNvSpPr>
          <p:nvPr/>
        </p:nvSpPr>
        <p:spPr>
          <a:xfrm>
            <a:off x="1" y="1493675"/>
            <a:ext cx="12192000" cy="352244"/>
          </a:xfrm>
          <a:prstGeom prst="rect">
            <a:avLst/>
          </a:prstGeom>
        </p:spPr>
        <p:txBody>
          <a:bodyPr lIns="90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Ідеальне місто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4476ACC-E840-7D84-884E-DD8E6AE19896}"/>
              </a:ext>
            </a:extLst>
          </p:cNvPr>
          <p:cNvSpPr txBox="1"/>
          <p:nvPr/>
        </p:nvSpPr>
        <p:spPr>
          <a:xfrm>
            <a:off x="10935782" y="2212887"/>
            <a:ext cx="479145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23458DB-0471-AA5E-D07F-FBA0F92C4E47}"/>
              </a:ext>
            </a:extLst>
          </p:cNvPr>
          <p:cNvSpPr txBox="1"/>
          <p:nvPr/>
        </p:nvSpPr>
        <p:spPr>
          <a:xfrm>
            <a:off x="10409434" y="317358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426C35-4E4D-F77F-A233-2633EDF3A0E0}"/>
              </a:ext>
            </a:extLst>
          </p:cNvPr>
          <p:cNvSpPr txBox="1"/>
          <p:nvPr/>
        </p:nvSpPr>
        <p:spPr>
          <a:xfrm>
            <a:off x="59588" y="6452586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2080D2D-DA12-68D8-FB64-C68048788810}"/>
              </a:ext>
            </a:extLst>
          </p:cNvPr>
          <p:cNvSpPr txBox="1"/>
          <p:nvPr/>
        </p:nvSpPr>
        <p:spPr>
          <a:xfrm>
            <a:off x="6100259" y="329518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44F7B62-C23F-D8A6-1A58-37CCC195987A}"/>
              </a:ext>
            </a:extLst>
          </p:cNvPr>
          <p:cNvSpPr txBox="1"/>
          <p:nvPr/>
        </p:nvSpPr>
        <p:spPr>
          <a:xfrm>
            <a:off x="5800375" y="5896036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B900734-3DEB-91E2-B572-CDD7C022BAD5}"/>
              </a:ext>
            </a:extLst>
          </p:cNvPr>
          <p:cNvSpPr txBox="1"/>
          <p:nvPr/>
        </p:nvSpPr>
        <p:spPr>
          <a:xfrm>
            <a:off x="5982271" y="6461390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82BD1ED-07A8-F45E-1254-5E7088AEF690}"/>
              </a:ext>
            </a:extLst>
          </p:cNvPr>
          <p:cNvSpPr txBox="1"/>
          <p:nvPr/>
        </p:nvSpPr>
        <p:spPr>
          <a:xfrm>
            <a:off x="5960984" y="5084167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C0DD514-707F-5347-03FC-66F498DCD974}"/>
              </a:ext>
            </a:extLst>
          </p:cNvPr>
          <p:cNvSpPr txBox="1"/>
          <p:nvPr/>
        </p:nvSpPr>
        <p:spPr>
          <a:xfrm>
            <a:off x="8306464" y="2888008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364C1E-07EB-FE43-B865-CD6C25CF9004}"/>
              </a:ext>
            </a:extLst>
          </p:cNvPr>
          <p:cNvSpPr txBox="1"/>
          <p:nvPr/>
        </p:nvSpPr>
        <p:spPr>
          <a:xfrm>
            <a:off x="7991024" y="589938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EC39B4A-CCA7-F7A5-F768-57B6DD7AF4EB}"/>
              </a:ext>
            </a:extLst>
          </p:cNvPr>
          <p:cNvSpPr txBox="1"/>
          <p:nvPr/>
        </p:nvSpPr>
        <p:spPr>
          <a:xfrm>
            <a:off x="8334342" y="632309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EAEF12E-09DF-C41A-817E-F3D1B77143A9}"/>
              </a:ext>
            </a:extLst>
          </p:cNvPr>
          <p:cNvSpPr txBox="1"/>
          <p:nvPr/>
        </p:nvSpPr>
        <p:spPr>
          <a:xfrm>
            <a:off x="10826925" y="2345190"/>
            <a:ext cx="479145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CA2C541-8A38-1D1C-C32A-F35B37DCE634}"/>
              </a:ext>
            </a:extLst>
          </p:cNvPr>
          <p:cNvSpPr txBox="1"/>
          <p:nvPr/>
        </p:nvSpPr>
        <p:spPr>
          <a:xfrm>
            <a:off x="10200094" y="453178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6" name="Table 9">
            <a:extLst>
              <a:ext uri="{FF2B5EF4-FFF2-40B4-BE49-F238E27FC236}">
                <a16:creationId xmlns:a16="http://schemas.microsoft.com/office/drawing/2014/main" id="{ABEFAB43-A75B-A7AE-5A34-7F3922B194CF}"/>
              </a:ext>
            </a:extLst>
          </p:cNvPr>
          <p:cNvGraphicFramePr>
            <a:graphicFrameLocks noGrp="1"/>
          </p:cNvGraphicFramePr>
          <p:nvPr/>
        </p:nvGraphicFramePr>
        <p:xfrm>
          <a:off x="3284150" y="6560011"/>
          <a:ext cx="8767644" cy="218225"/>
        </p:xfrm>
        <a:graphic>
          <a:graphicData uri="http://schemas.openxmlformats.org/drawingml/2006/table">
            <a:tbl>
              <a:tblPr firstRow="1" bandRow="1"/>
              <a:tblGrid>
                <a:gridCol w="2191911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191911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191911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191911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530567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613532-01FB-2F38-9A57-949B4A5705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C4679711-E0C7-85E8-091C-0AD1E5647847}"/>
              </a:ext>
            </a:extLst>
          </p:cNvPr>
          <p:cNvGraphicFramePr>
            <a:graphicFrameLocks noGrp="1"/>
          </p:cNvGraphicFramePr>
          <p:nvPr/>
        </p:nvGraphicFramePr>
        <p:xfrm>
          <a:off x="19663" y="2231335"/>
          <a:ext cx="12160800" cy="4389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03640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857160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пека / Безпе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форт / Комфортне / Затиш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9349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звинене / Розвивається / Сучасне / Перспектив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825928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окійне / Тихе / Мирне / Без війн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4242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елене / Зелені зони / Екологі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600547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новаційне / Технологічне / Прогресивне / Креатив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974539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те / Доглянут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654208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фраструктур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38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 можливостями (реалізації себе / розвитку / кар'єри / бізнесу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717481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бота / Працевлаштування / Висока зарплат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92082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арне / Красиве / Приваблив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118448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звілл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45909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ильна економіка / Достаток / Благополучч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31315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уч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604348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ступ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26428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ноорієнтова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915273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ікав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5767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еньке / Невелике / Компакт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97976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ктивне / Драйвове / Енергій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4153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бре / Дружнє / Позитив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61005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ru-RU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віта / Навчальні заклади (якісні / доступн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95992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лик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480480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юди (добрі / позитивні / хороші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528629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клюзивність / Безбар'єр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72178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ультура / Історі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19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лерантн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998413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асне житл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9320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 корупції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51434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більність / Надійність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5284242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Якісна охорона здоров'я / Медицина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845162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04183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85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696009-6809-382B-CFC4-B61639C153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696009-6809-382B-CFC4-B61639C153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828106-029C-2015-3794-F986B9DF7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dirty="0"/>
              <a:t>Наміри переїзду за кордон та критерії ідеального міста</a:t>
            </a:r>
            <a:endParaRPr lang="uk-UA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21EC5C-BC60-1DA1-78A3-7A0C839F829C}"/>
              </a:ext>
            </a:extLst>
          </p:cNvPr>
          <p:cNvSpPr txBox="1"/>
          <p:nvPr/>
        </p:nvSpPr>
        <p:spPr>
          <a:xfrm>
            <a:off x="6493974" y="6630780"/>
            <a:ext cx="5253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A</a:t>
            </a:r>
            <a:r>
              <a:rPr lang="en-US" sz="800" b="1" dirty="0">
                <a:solidFill>
                  <a:srgbClr val="585858"/>
                </a:solidFill>
                <a:ea typeface="Times New Roman" panose="02020603050405020304" pitchFamily="18" charset="0"/>
              </a:rPr>
              <a:t>23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ru-RU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Опишіть трьома словами місто, у якому Ви точно хотіли б жити. Яким має бути ідеальне для Вас місто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43A6FB-2E7E-82C0-23E8-39F74D9B346F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3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DAF71D1E-3C20-B607-A65A-FC6C294162E0}"/>
              </a:ext>
            </a:extLst>
          </p:cNvPr>
          <p:cNvGraphicFramePr>
            <a:graphicFrameLocks noGrp="1"/>
          </p:cNvGraphicFramePr>
          <p:nvPr/>
        </p:nvGraphicFramePr>
        <p:xfrm>
          <a:off x="3284150" y="6560011"/>
          <a:ext cx="8767644" cy="218225"/>
        </p:xfrm>
        <a:graphic>
          <a:graphicData uri="http://schemas.openxmlformats.org/drawingml/2006/table">
            <a:tbl>
              <a:tblPr firstRow="1" bandRow="1"/>
              <a:tblGrid>
                <a:gridCol w="2191911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191911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191911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191911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</a:t>
                      </a:r>
                      <a:r>
                        <a:rPr lang="en-US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602</a:t>
                      </a:r>
                      <a:endParaRPr lang="uk-UA" sz="8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36</a:t>
                      </a: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endParaRPr kumimoji="0" lang="uk-UA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94AE9C80-EF52-0C32-3DDD-60959C1817E5}"/>
              </a:ext>
            </a:extLst>
          </p:cNvPr>
          <p:cNvGraphicFramePr>
            <a:graphicFrameLocks noGrp="1"/>
          </p:cNvGraphicFramePr>
          <p:nvPr/>
        </p:nvGraphicFramePr>
        <p:xfrm>
          <a:off x="3323302" y="1887359"/>
          <a:ext cx="8776796" cy="358140"/>
        </p:xfrm>
        <a:graphic>
          <a:graphicData uri="http://schemas.openxmlformats.org/drawingml/2006/table">
            <a:tbl>
              <a:tblPr firstRow="1" bandRow="1"/>
              <a:tblGrid>
                <a:gridCol w="2194199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194199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194199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194199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</a:tblGrid>
              <a:tr h="253395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5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5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5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впевнені</a:t>
                      </a:r>
                      <a:r>
                        <a:rPr lang="en-US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</a:t>
                      </a:r>
                      <a:r>
                        <a:rPr lang="ru-RU" sz="115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ують</a:t>
                      </a:r>
                      <a:r>
                        <a:rPr lang="ru-RU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50" b="0" i="0" u="sng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їзд</a:t>
                      </a:r>
                      <a:r>
                        <a:rPr lang="ru-RU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50" b="0" i="0" u="sng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ru-RU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кордон в майбутньому</a:t>
                      </a:r>
                      <a:r>
                        <a:rPr lang="en-US" sz="115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761B3E5D-B9FB-1A94-3BD3-9F406E3EDCB4}"/>
              </a:ext>
            </a:extLst>
          </p:cNvPr>
          <p:cNvSpPr txBox="1"/>
          <p:nvPr/>
        </p:nvSpPr>
        <p:spPr bwMode="gray">
          <a:xfrm>
            <a:off x="180218" y="199646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907DDF6-6225-0246-D110-D3F4D5CA4B77}"/>
              </a:ext>
            </a:extLst>
          </p:cNvPr>
          <p:cNvSpPr txBox="1">
            <a:spLocks/>
          </p:cNvSpPr>
          <p:nvPr/>
        </p:nvSpPr>
        <p:spPr>
          <a:xfrm>
            <a:off x="314631" y="729569"/>
            <a:ext cx="11562738" cy="8929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Для тих, хто планує переїзд за кордон, відносно більш актуальним є критерій наявності можливостей для розвитку, які пов’язані із сильною економікою. Крім цього, ідеальне місто для тих, хто планує виїзд за кордон, має поєднувати великий розмір і </a:t>
            </a:r>
            <a:r>
              <a:rPr lang="uk-UA" sz="1600" noProof="0" dirty="0" err="1"/>
              <a:t>людиноорієнтованість</a:t>
            </a:r>
            <a:r>
              <a:rPr lang="uk-UA" sz="1600" noProof="0" dirty="0"/>
              <a:t>. Для невпевнених щодо виїзду за кордон важливими критеріями є розвиненість, сучасність, </a:t>
            </a:r>
            <a:r>
              <a:rPr lang="uk-UA" sz="1600" noProof="0" dirty="0" err="1"/>
              <a:t>інноваційність</a:t>
            </a:r>
            <a:r>
              <a:rPr lang="uk-UA" sz="1600" noProof="0" dirty="0"/>
              <a:t> міста. Для тих, хто планує лишатися в Україні, відносно більш актуальним критерієм є інфраструктура міста.</a:t>
            </a:r>
          </a:p>
        </p:txBody>
      </p:sp>
      <p:graphicFrame>
        <p:nvGraphicFramePr>
          <p:cNvPr id="9" name="Диаграмма 16">
            <a:extLst>
              <a:ext uri="{FF2B5EF4-FFF2-40B4-BE49-F238E27FC236}">
                <a16:creationId xmlns:a16="http://schemas.microsoft.com/office/drawing/2014/main" id="{66570B2F-1FC2-B3D1-1356-A3DB056958E2}"/>
              </a:ext>
            </a:extLst>
          </p:cNvPr>
          <p:cNvGraphicFramePr/>
          <p:nvPr/>
        </p:nvGraphicFramePr>
        <p:xfrm>
          <a:off x="3335309" y="2109997"/>
          <a:ext cx="210193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0" name="Диаграмма 16">
            <a:extLst>
              <a:ext uri="{FF2B5EF4-FFF2-40B4-BE49-F238E27FC236}">
                <a16:creationId xmlns:a16="http://schemas.microsoft.com/office/drawing/2014/main" id="{6B8E1831-A8BF-B213-12FD-4B0A622C71ED}"/>
              </a:ext>
            </a:extLst>
          </p:cNvPr>
          <p:cNvGraphicFramePr/>
          <p:nvPr/>
        </p:nvGraphicFramePr>
        <p:xfrm>
          <a:off x="5514747" y="2112376"/>
          <a:ext cx="210193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Диаграмма 16">
            <a:extLst>
              <a:ext uri="{FF2B5EF4-FFF2-40B4-BE49-F238E27FC236}">
                <a16:creationId xmlns:a16="http://schemas.microsoft.com/office/drawing/2014/main" id="{5E7A4CCE-A63D-CE0C-1ECE-F043B2564DF5}"/>
              </a:ext>
            </a:extLst>
          </p:cNvPr>
          <p:cNvGraphicFramePr/>
          <p:nvPr/>
        </p:nvGraphicFramePr>
        <p:xfrm>
          <a:off x="7713849" y="2114912"/>
          <a:ext cx="210193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16">
            <a:extLst>
              <a:ext uri="{FF2B5EF4-FFF2-40B4-BE49-F238E27FC236}">
                <a16:creationId xmlns:a16="http://schemas.microsoft.com/office/drawing/2014/main" id="{83EFFCBD-24C1-D2EA-9740-14B85054276A}"/>
              </a:ext>
            </a:extLst>
          </p:cNvPr>
          <p:cNvGraphicFramePr/>
          <p:nvPr/>
        </p:nvGraphicFramePr>
        <p:xfrm>
          <a:off x="9903120" y="2117291"/>
          <a:ext cx="2101930" cy="45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D3F91091-0DDA-AF9C-3007-A9A226E2A669}"/>
              </a:ext>
            </a:extLst>
          </p:cNvPr>
          <p:cNvSpPr txBox="1">
            <a:spLocks/>
          </p:cNvSpPr>
          <p:nvPr/>
        </p:nvSpPr>
        <p:spPr>
          <a:xfrm>
            <a:off x="1" y="1548539"/>
            <a:ext cx="12192000" cy="352244"/>
          </a:xfrm>
          <a:prstGeom prst="rect">
            <a:avLst/>
          </a:prstGeom>
        </p:spPr>
        <p:txBody>
          <a:bodyPr lIns="90000" rIns="9000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ru-RU" sz="1800" b="1" kern="0" noProof="0" dirty="0">
                <a:solidFill>
                  <a:schemeClr val="accent2">
                    <a:lumMod val="50000"/>
                  </a:schemeClr>
                </a:solidFill>
              </a:rPr>
              <a:t>Ідеальне місто</a:t>
            </a:r>
            <a:endParaRPr lang="uk-UA" sz="1800" b="1" kern="0" noProof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C28D6D-0FC9-6C2F-C160-99A1D98DBBEC}"/>
              </a:ext>
            </a:extLst>
          </p:cNvPr>
          <p:cNvSpPr txBox="1"/>
          <p:nvPr/>
        </p:nvSpPr>
        <p:spPr>
          <a:xfrm>
            <a:off x="59588" y="6452586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</a:t>
            </a:r>
            <a:r>
              <a:rPr lang="en-US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)</a:t>
            </a: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1130B7E-2507-787A-97F8-293BF8DFFF03}"/>
              </a:ext>
            </a:extLst>
          </p:cNvPr>
          <p:cNvSpPr txBox="1"/>
          <p:nvPr/>
        </p:nvSpPr>
        <p:spPr>
          <a:xfrm>
            <a:off x="5875323" y="3846212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03FE6AB-544C-926F-F392-67E4AFB3F418}"/>
              </a:ext>
            </a:extLst>
          </p:cNvPr>
          <p:cNvSpPr txBox="1"/>
          <p:nvPr/>
        </p:nvSpPr>
        <p:spPr>
          <a:xfrm>
            <a:off x="6090237" y="3302851"/>
            <a:ext cx="51314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6B80B65-B928-C722-EBC1-F263AE23AA46}"/>
              </a:ext>
            </a:extLst>
          </p:cNvPr>
          <p:cNvSpPr txBox="1"/>
          <p:nvPr/>
        </p:nvSpPr>
        <p:spPr>
          <a:xfrm>
            <a:off x="10856679" y="2329898"/>
            <a:ext cx="479145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a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 (b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6ED909D-1381-5451-E25A-883C5D73021D}"/>
              </a:ext>
            </a:extLst>
          </p:cNvPr>
          <p:cNvSpPr txBox="1"/>
          <p:nvPr/>
        </p:nvSpPr>
        <p:spPr>
          <a:xfrm>
            <a:off x="5866160" y="4256389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3CA274-E8CB-E900-63AA-2FEEEAE20E7F}"/>
              </a:ext>
            </a:extLst>
          </p:cNvPr>
          <p:cNvSpPr txBox="1"/>
          <p:nvPr/>
        </p:nvSpPr>
        <p:spPr>
          <a:xfrm>
            <a:off x="5850743" y="508999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C77723-A7C6-0375-59F5-20204EC15973}"/>
              </a:ext>
            </a:extLst>
          </p:cNvPr>
          <p:cNvSpPr txBox="1"/>
          <p:nvPr/>
        </p:nvSpPr>
        <p:spPr>
          <a:xfrm>
            <a:off x="8382549" y="632394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49202A-CCA7-F3DD-0CD0-A68F7B81B05B}"/>
              </a:ext>
            </a:extLst>
          </p:cNvPr>
          <p:cNvSpPr txBox="1"/>
          <p:nvPr/>
        </p:nvSpPr>
        <p:spPr>
          <a:xfrm>
            <a:off x="8053168" y="3851128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CE1EDC-9814-A9AE-467C-15150DC3B4D9}"/>
              </a:ext>
            </a:extLst>
          </p:cNvPr>
          <p:cNvSpPr txBox="1"/>
          <p:nvPr/>
        </p:nvSpPr>
        <p:spPr>
          <a:xfrm>
            <a:off x="8333387" y="289248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DD316E-DECA-4E35-76CF-24BAE87435CA}"/>
              </a:ext>
            </a:extLst>
          </p:cNvPr>
          <p:cNvSpPr txBox="1"/>
          <p:nvPr/>
        </p:nvSpPr>
        <p:spPr>
          <a:xfrm>
            <a:off x="8564445" y="2484444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lang="en-US" sz="700" b="1" dirty="0">
                <a:solidFill>
                  <a:srgbClr val="C00000"/>
                </a:solidFill>
                <a:sym typeface="Arial"/>
              </a:rPr>
              <a:t>c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7F2ECA-6AE3-628E-D739-3624F7839A37}"/>
              </a:ext>
            </a:extLst>
          </p:cNvPr>
          <p:cNvSpPr txBox="1"/>
          <p:nvPr/>
        </p:nvSpPr>
        <p:spPr>
          <a:xfrm>
            <a:off x="10865863" y="2196531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14B821-F3BC-863B-8458-968454C75D35}"/>
              </a:ext>
            </a:extLst>
          </p:cNvPr>
          <p:cNvSpPr txBox="1"/>
          <p:nvPr/>
        </p:nvSpPr>
        <p:spPr>
          <a:xfrm>
            <a:off x="10443076" y="3169925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BAC933B-2CD5-6748-4182-1BBAA4C04086}"/>
              </a:ext>
            </a:extLst>
          </p:cNvPr>
          <p:cNvSpPr txBox="1"/>
          <p:nvPr/>
        </p:nvSpPr>
        <p:spPr>
          <a:xfrm>
            <a:off x="10172689" y="5357603"/>
            <a:ext cx="324000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b</a:t>
            </a:r>
            <a:r>
              <a:rPr kumimoji="0" lang="uk-UA" sz="7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)</a:t>
            </a:r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3184016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170E49B-8D2E-272B-58FD-68E4820EDC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5C2E21A-2920-CFD1-A61E-37A5C9F83B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C2E21A-2920-CFD1-A61E-37A5C9F83B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43FBD94-0566-91DA-75D3-B8DBA1F6F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743200"/>
            <a:ext cx="8361311" cy="1347019"/>
          </a:xfrm>
          <a:solidFill>
            <a:srgbClr val="7B98A1"/>
          </a:solidFill>
        </p:spPr>
        <p:txBody>
          <a:bodyPr vert="horz" anchor="ctr">
            <a:normAutofit/>
          </a:bodyPr>
          <a:lstStyle/>
          <a:p>
            <a:r>
              <a:rPr lang="uk-UA" sz="4400" noProof="0" dirty="0">
                <a:solidFill>
                  <a:schemeClr val="bg1"/>
                </a:solidFill>
              </a:rPr>
              <a:t>Освіта і працевлаштування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7C6938A-FAF5-285E-C704-7E2A6FCF2C1E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4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066837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B7E1A81-792F-B190-C35D-343EE9EA7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3B35FA0-668E-BA08-281F-6ECCC3691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B35FA0-668E-BA08-281F-6ECCC3691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43408FB-4914-0216-89FA-C5A2F5C57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Навички та вмінн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70D2AE-5255-B4AE-4FAE-DB4553A9B37C}"/>
              </a:ext>
            </a:extLst>
          </p:cNvPr>
          <p:cNvSpPr txBox="1"/>
          <p:nvPr/>
        </p:nvSpPr>
        <p:spPr>
          <a:xfrm>
            <a:off x="3893574" y="6620950"/>
            <a:ext cx="78536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4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і навички та вміння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хотіли б розвивати в собі для того, щоб бути успішним на ринку праці (знайти достойну роботу, отримувати конкурентну зарплату)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418E4C-292A-C064-D459-5A0FFCF5CC93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5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836BC00A-3BBF-D6BD-5560-2E7CEC302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695818"/>
              </p:ext>
            </p:extLst>
          </p:nvPr>
        </p:nvGraphicFramePr>
        <p:xfrm>
          <a:off x="39329" y="2821265"/>
          <a:ext cx="12142312" cy="340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олодіння іноземною мово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есій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2037639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ціальні та особистісні навички </a:t>
                      </a:r>
                      <a:r>
                        <a:rPr lang="uk-UA" sz="9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комунікаційні, робота в команді, критичне мислення, тощо)</a:t>
                      </a:r>
                      <a:endParaRPr lang="uk-UA" sz="12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8393928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п’ютер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382557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ворчі, креативн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ідприємницькі навичк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нш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одне з переліченого, навичок достатньо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E02AE88C-F1D8-EE22-390F-3858D84D62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7181270"/>
              </p:ext>
            </p:extLst>
          </p:nvPr>
        </p:nvGraphicFramePr>
        <p:xfrm>
          <a:off x="4043234" y="2739255"/>
          <a:ext cx="1548000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BF5CF3B4-2468-6403-67D0-87685E3DA6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1251374"/>
              </p:ext>
            </p:extLst>
          </p:nvPr>
        </p:nvGraphicFramePr>
        <p:xfrm>
          <a:off x="4041058" y="2536281"/>
          <a:ext cx="8103310" cy="281811"/>
        </p:xfrm>
        <a:graphic>
          <a:graphicData uri="http://schemas.openxmlformats.org/drawingml/2006/table">
            <a:tbl>
              <a:tblPr firstRow="1" bandRow="1"/>
              <a:tblGrid>
                <a:gridCol w="1620662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3886740910"/>
                    </a:ext>
                  </a:extLst>
                </a:gridCol>
                <a:gridCol w="1620662">
                  <a:extLst>
                    <a:ext uri="{9D8B030D-6E8A-4147-A177-3AD203B41FA5}">
                      <a16:colId xmlns:a16="http://schemas.microsoft.com/office/drawing/2014/main" val="151675924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5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d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1BED9040-1657-AED3-CCC3-2E67D50D908E}"/>
              </a:ext>
            </a:extLst>
          </p:cNvPr>
          <p:cNvSpPr txBox="1">
            <a:spLocks/>
          </p:cNvSpPr>
          <p:nvPr/>
        </p:nvSpPr>
        <p:spPr>
          <a:xfrm>
            <a:off x="1" y="2055485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Навички та вміння, які хотіли б розвивати в собі для того, щоб бути успішним на ринку праці 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64314808-10B1-6037-81CC-D3FC6EFE1C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0403044"/>
              </p:ext>
            </p:extLst>
          </p:nvPr>
        </p:nvGraphicFramePr>
        <p:xfrm>
          <a:off x="5654368" y="2742107"/>
          <a:ext cx="1548000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4335483C-4B4F-F06B-430B-2259A7390D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9073296"/>
              </p:ext>
            </p:extLst>
          </p:nvPr>
        </p:nvGraphicFramePr>
        <p:xfrm>
          <a:off x="7285848" y="2736403"/>
          <a:ext cx="1548000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Диаграмма 16">
            <a:extLst>
              <a:ext uri="{FF2B5EF4-FFF2-40B4-BE49-F238E27FC236}">
                <a16:creationId xmlns:a16="http://schemas.microsoft.com/office/drawing/2014/main" id="{7C24D656-3C7C-54C3-A3BF-B97A0306C6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4475213"/>
              </p:ext>
            </p:extLst>
          </p:nvPr>
        </p:nvGraphicFramePr>
        <p:xfrm>
          <a:off x="8916644" y="2739255"/>
          <a:ext cx="1548000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Диаграмма 16">
            <a:extLst>
              <a:ext uri="{FF2B5EF4-FFF2-40B4-BE49-F238E27FC236}">
                <a16:creationId xmlns:a16="http://schemas.microsoft.com/office/drawing/2014/main" id="{4C6A2DB4-C0A7-B268-D8F0-635D3EBFE4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2415196"/>
              </p:ext>
            </p:extLst>
          </p:nvPr>
        </p:nvGraphicFramePr>
        <p:xfrm>
          <a:off x="10530361" y="2736403"/>
          <a:ext cx="1548000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1CF8B4A-61DA-C220-007F-3F5774E0B962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Головними потребами молоді щодо формування навичок, необхідних для успіху на ринку праці, є вивчення іноземної мови, набуття професійних навичок та розвиток соціальних та особистісних навичок. Зацікавленість у розвитку навичок є найсильніше вираженою у групі 25-29 років. Окрім перелічених, для цієї групи актуальним є також розвиток підприємницьких навичок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62B56D-5B4F-6247-2A36-3288C8283A55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(d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E429F66D-5038-3D46-A391-AACFC0CD5E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8277651"/>
              </p:ext>
            </p:extLst>
          </p:nvPr>
        </p:nvGraphicFramePr>
        <p:xfrm>
          <a:off x="4041058" y="6275840"/>
          <a:ext cx="8042595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1084604852"/>
                    </a:ext>
                  </a:extLst>
                </a:gridCol>
                <a:gridCol w="1608519">
                  <a:extLst>
                    <a:ext uri="{9D8B030D-6E8A-4147-A177-3AD203B41FA5}">
                      <a16:colId xmlns:a16="http://schemas.microsoft.com/office/drawing/2014/main" val="337475920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602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0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151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44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F5B400E-ED9A-2FB6-4E34-67A87DE0AB5B}"/>
              </a:ext>
            </a:extLst>
          </p:cNvPr>
          <p:cNvSpPr txBox="1"/>
          <p:nvPr/>
        </p:nvSpPr>
        <p:spPr>
          <a:xfrm>
            <a:off x="8218185" y="328135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28AAB7-9241-DFFA-AFB1-4C1554904896}"/>
              </a:ext>
            </a:extLst>
          </p:cNvPr>
          <p:cNvSpPr txBox="1"/>
          <p:nvPr/>
        </p:nvSpPr>
        <p:spPr bwMode="gray">
          <a:xfrm>
            <a:off x="180218" y="2537238"/>
            <a:ext cx="12454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Всі респондент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A492AE-1B9F-568E-7779-863945F0B09A}"/>
              </a:ext>
            </a:extLst>
          </p:cNvPr>
          <p:cNvSpPr txBox="1"/>
          <p:nvPr/>
        </p:nvSpPr>
        <p:spPr>
          <a:xfrm>
            <a:off x="10022405" y="291264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D882C2-B20E-054F-F2E2-9A5AFA306E9E}"/>
              </a:ext>
            </a:extLst>
          </p:cNvPr>
          <p:cNvSpPr txBox="1"/>
          <p:nvPr/>
        </p:nvSpPr>
        <p:spPr>
          <a:xfrm>
            <a:off x="9860173" y="3291184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3E0289-9DC7-0037-CFE7-72E446F0A940}"/>
              </a:ext>
            </a:extLst>
          </p:cNvPr>
          <p:cNvSpPr txBox="1"/>
          <p:nvPr/>
        </p:nvSpPr>
        <p:spPr>
          <a:xfrm>
            <a:off x="9717605" y="4770939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566A734-A97F-EE68-28B3-81C001C8227A}"/>
              </a:ext>
            </a:extLst>
          </p:cNvPr>
          <p:cNvSpPr txBox="1"/>
          <p:nvPr/>
        </p:nvSpPr>
        <p:spPr>
          <a:xfrm>
            <a:off x="9879838" y="3674642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4B539A2-C3C3-4697-FBBD-DF2DDD596BCC}"/>
              </a:ext>
            </a:extLst>
          </p:cNvPr>
          <p:cNvSpPr txBox="1"/>
          <p:nvPr/>
        </p:nvSpPr>
        <p:spPr>
          <a:xfrm>
            <a:off x="11561154" y="291755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357A69-3E59-24EA-D394-10531D2A6FFF}"/>
              </a:ext>
            </a:extLst>
          </p:cNvPr>
          <p:cNvSpPr txBox="1"/>
          <p:nvPr/>
        </p:nvSpPr>
        <p:spPr>
          <a:xfrm>
            <a:off x="11477580" y="328626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20621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8EF28E7-90F9-5E6E-2C7C-E87814C7AA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667BDE3-1B77-FF2C-8A8D-0551BDC7FF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67BDE3-1B77-FF2C-8A8D-0551BDC7F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96E58F-BBD5-4987-E968-5F4B4FDD8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лани після закінчення середньої школ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846FA6-4CB2-ED4A-0342-2B4E9B6F84DD}"/>
              </a:ext>
            </a:extLst>
          </p:cNvPr>
          <p:cNvSpPr txBox="1"/>
          <p:nvPr/>
        </p:nvSpPr>
        <p:spPr>
          <a:xfrm>
            <a:off x="8721213" y="6620950"/>
            <a:ext cx="302604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5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і Ваші плани після закінчення середньої школи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78F5C4-8EA5-5578-1BD7-0445F01C16EE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6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C3AAF31A-800E-9D6D-7CBA-665B7AACED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494810"/>
              </p:ext>
            </p:extLst>
          </p:nvPr>
        </p:nvGraphicFramePr>
        <p:xfrm>
          <a:off x="2261424" y="2821265"/>
          <a:ext cx="6115665" cy="3410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2123768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тупити до закладу вищої освіти (університет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їхати за кордон на навча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148324"/>
                  </a:ext>
                </a:extLst>
              </a:tr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кінчити короткі професійні курси (3-6 місяців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2037639"/>
                  </a:ext>
                </a:extLst>
              </a:tr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і розвивати власний або сімей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8393928"/>
                  </a:ext>
                </a:extLst>
              </a:tr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святити себе особистому житт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382557"/>
                  </a:ext>
                </a:extLst>
              </a:tr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тупити до закладу </a:t>
                      </a:r>
                      <a:r>
                        <a:rPr lang="uk-UA" sz="12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-тех</a:t>
                      </a:r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світи (коледж, училище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найти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їхати за кордон на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зяти паузу, щоб визначитись щодо майбутніх пла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41088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9F6B4CB7-0D55-A097-809B-66374C0873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8556222"/>
              </p:ext>
            </p:extLst>
          </p:nvPr>
        </p:nvGraphicFramePr>
        <p:xfrm>
          <a:off x="6265329" y="2719591"/>
          <a:ext cx="2052766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CE618B00-665B-FD78-21DD-1DC96B50A6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452663"/>
              </p:ext>
            </p:extLst>
          </p:nvPr>
        </p:nvGraphicFramePr>
        <p:xfrm>
          <a:off x="6263153" y="2536281"/>
          <a:ext cx="2133600" cy="281811"/>
        </p:xfrm>
        <a:graphic>
          <a:graphicData uri="http://schemas.openxmlformats.org/drawingml/2006/table">
            <a:tbl>
              <a:tblPr firstRow="1" bandRow="1"/>
              <a:tblGrid>
                <a:gridCol w="213360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 </a:t>
                      </a:r>
                      <a:r>
                        <a:rPr lang="uk-UA" sz="13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)</a:t>
                      </a:r>
                      <a:endParaRPr lang="uk-UA" sz="13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30EB7997-9744-EC63-94C8-C84D36F8EB0D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Плани після закінчення середньої школи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18DCD25-F118-5D71-3634-E1999E92C94F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Більше половини – 60% - учнів середньої школи мають намір вступити до закладу вищої освіти. Лише 12% розглядає вступ до закладу </a:t>
            </a:r>
            <a:r>
              <a:rPr lang="uk-UA" sz="1600" noProof="0" dirty="0" err="1"/>
              <a:t>проф-тех</a:t>
            </a:r>
            <a:r>
              <a:rPr lang="uk-UA" sz="1600" noProof="0" dirty="0"/>
              <a:t> освіти. Водночас 19% розглядають варіант закінчити короткі професійні курси.</a:t>
            </a:r>
          </a:p>
          <a:p>
            <a:r>
              <a:rPr lang="uk-UA" sz="1600" noProof="0" dirty="0"/>
              <a:t>Істотна частка – 24% - мають намір виїхати за кордон на навчання, ще 9% планують поїхати за кордон на роботу.</a:t>
            </a:r>
          </a:p>
          <a:p>
            <a:r>
              <a:rPr lang="uk-UA" sz="1600" dirty="0"/>
              <a:t>Створення і розвиток власного або сімейного бізнесу є більш бажаним, ніж знайти роботу. </a:t>
            </a:r>
          </a:p>
          <a:p>
            <a:r>
              <a:rPr lang="uk-UA" sz="1600" noProof="0" dirty="0"/>
              <a:t>Присвятити себе особистому життю планують 15% учнів середньої школи, взяти паузу для визначення майбутніх планів – 9%.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DFCB1CEF-B4C9-C79A-EC93-0B740D5D82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926684"/>
              </p:ext>
            </p:extLst>
          </p:nvPr>
        </p:nvGraphicFramePr>
        <p:xfrm>
          <a:off x="6263153" y="6275840"/>
          <a:ext cx="1608519" cy="218225"/>
        </p:xfrm>
        <a:graphic>
          <a:graphicData uri="http://schemas.openxmlformats.org/drawingml/2006/table">
            <a:tbl>
              <a:tblPr firstRow="1" bandRow="1"/>
              <a:tblGrid>
                <a:gridCol w="160851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3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9B73016-B6EF-D0A1-90D2-05F912600643}"/>
              </a:ext>
            </a:extLst>
          </p:cNvPr>
          <p:cNvSpPr txBox="1"/>
          <p:nvPr/>
        </p:nvSpPr>
        <p:spPr bwMode="gray">
          <a:xfrm>
            <a:off x="180218" y="2537238"/>
            <a:ext cx="269080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навчаються в середній школі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183E02-B000-D0E9-8D61-2D592313CF52}"/>
              </a:ext>
            </a:extLst>
          </p:cNvPr>
          <p:cNvSpPr txBox="1"/>
          <p:nvPr/>
        </p:nvSpPr>
        <p:spPr>
          <a:xfrm>
            <a:off x="12647618" y="2094067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a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31E445F-8B2E-68B0-679B-DD1D55CE3F64}"/>
              </a:ext>
            </a:extLst>
          </p:cNvPr>
          <p:cNvSpPr txBox="1"/>
          <p:nvPr/>
        </p:nvSpPr>
        <p:spPr>
          <a:xfrm>
            <a:off x="12370733" y="1639798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d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440819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4090D4B-489B-147A-EC55-1F176D4CC3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EE490B0-4B70-D588-B76A-766E2815D0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E490B0-4B70-D588-B76A-766E2815D0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518D7A7-C0C4-4562-47BF-2D404A276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лани після закінчення коледжу, училищ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8FC966-AA11-8638-9A61-A20AC639DB88}"/>
              </a:ext>
            </a:extLst>
          </p:cNvPr>
          <p:cNvSpPr txBox="1"/>
          <p:nvPr/>
        </p:nvSpPr>
        <p:spPr>
          <a:xfrm>
            <a:off x="8691716" y="6620950"/>
            <a:ext cx="3055543" cy="2182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6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і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ші плани після закінчення коледжу, училища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F19DEA-D377-CD2A-8FF7-602651C39631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7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20AB662E-63B6-68A2-95A5-E98B2B474E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25233"/>
              </p:ext>
            </p:extLst>
          </p:nvPr>
        </p:nvGraphicFramePr>
        <p:xfrm>
          <a:off x="2202429" y="2821265"/>
          <a:ext cx="6410632" cy="340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241873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тупити до закладу вищої освіти (університет)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і розвивати власний або сімей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2037639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найти роботу за отриманим фахо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8393928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найти роботу за іншою, непрофільною професіє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382557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святити себе особистому житт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їхати за кордон на навча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зяти паузу, щоб визначитись щодо майбутніх пла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їхати за кордон на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6FA93E97-CE8F-7639-8612-0A1C034F01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8614793"/>
              </p:ext>
            </p:extLst>
          </p:nvPr>
        </p:nvGraphicFramePr>
        <p:xfrm>
          <a:off x="6206334" y="2739255"/>
          <a:ext cx="2575230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E51994DB-6467-FBCB-C040-0AA1A720A5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1595014"/>
              </p:ext>
            </p:extLst>
          </p:nvPr>
        </p:nvGraphicFramePr>
        <p:xfrm>
          <a:off x="6204158" y="2536281"/>
          <a:ext cx="2686347" cy="281811"/>
        </p:xfrm>
        <a:graphic>
          <a:graphicData uri="http://schemas.openxmlformats.org/drawingml/2006/table">
            <a:tbl>
              <a:tblPr firstRow="1" bandRow="1"/>
              <a:tblGrid>
                <a:gridCol w="2686347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188ADF7B-C32F-9809-7127-5F1933248F96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Плани після закінчення коледжу, училища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D978278-6266-F440-F23D-41381AC89136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dirty="0"/>
              <a:t>Близько половини (47%) студентів закладів </a:t>
            </a:r>
            <a:r>
              <a:rPr lang="uk-UA" sz="1600" dirty="0" err="1"/>
              <a:t>проф-тех</a:t>
            </a:r>
            <a:r>
              <a:rPr lang="uk-UA" sz="1600" dirty="0"/>
              <a:t> освіти мають намір продовжити навчання у закладі вищої освіти.</a:t>
            </a:r>
          </a:p>
          <a:p>
            <a:r>
              <a:rPr lang="uk-UA" sz="1600" noProof="0" dirty="0"/>
              <a:t>Створити власний бізнес планують 30%, знайти роботу за фахом – 28%, а знайти роботу за непрофільним фахом – 23%.</a:t>
            </a:r>
          </a:p>
          <a:p>
            <a:r>
              <a:rPr lang="uk-UA" sz="1600" dirty="0"/>
              <a:t>Виїхати за кордон на навчання мають намір 13%, а виїхати за кордон на роботу – 11%.</a:t>
            </a:r>
            <a:endParaRPr lang="uk-UA" sz="1600" noProof="0" dirty="0"/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A3D36D40-3599-9F44-BDEB-898DEC33A6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012886"/>
              </p:ext>
            </p:extLst>
          </p:nvPr>
        </p:nvGraphicFramePr>
        <p:xfrm>
          <a:off x="6145166" y="6216848"/>
          <a:ext cx="2730233" cy="218225"/>
        </p:xfrm>
        <a:graphic>
          <a:graphicData uri="http://schemas.openxmlformats.org/drawingml/2006/table">
            <a:tbl>
              <a:tblPr firstRow="1" bandRow="1"/>
              <a:tblGrid>
                <a:gridCol w="2730233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4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325B0C8A-4427-3CAE-CD7A-0D52D13B9236}"/>
              </a:ext>
            </a:extLst>
          </p:cNvPr>
          <p:cNvSpPr txBox="1"/>
          <p:nvPr/>
        </p:nvSpPr>
        <p:spPr bwMode="gray">
          <a:xfrm>
            <a:off x="2343318" y="2537238"/>
            <a:ext cx="26908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навчаються у коледжі, училищі, іншому професійно-технічному закладі</a:t>
            </a:r>
          </a:p>
        </p:txBody>
      </p:sp>
    </p:spTree>
    <p:extLst>
      <p:ext uri="{BB962C8B-B14F-4D97-AF65-F5344CB8AC3E}">
        <p14:creationId xmlns:p14="http://schemas.microsoft.com/office/powerpoint/2010/main" val="1951620583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6F5FEB7-5F77-BE0D-A9A9-4804FF69BD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3FAD40B-3042-A3DA-B6D0-1EE37414F2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FAD40B-3042-A3DA-B6D0-1EE37414F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580051-614E-9658-F489-DF13488AA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Сприйняття якості </a:t>
            </a:r>
            <a:r>
              <a:rPr lang="uk-UA" sz="2400" noProof="0" dirty="0" err="1"/>
              <a:t>проф-тех</a:t>
            </a:r>
            <a:r>
              <a:rPr lang="uk-UA" sz="2400" noProof="0" dirty="0"/>
              <a:t> освіт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5C83BB-D5DA-91DA-8E35-8AE47A5F7A51}"/>
              </a:ext>
            </a:extLst>
          </p:cNvPr>
          <p:cNvSpPr txBox="1"/>
          <p:nvPr/>
        </p:nvSpPr>
        <p:spPr>
          <a:xfrm>
            <a:off x="4041058" y="6384978"/>
            <a:ext cx="77062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7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Наскільки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и згодні з тим, що знання і навички, які Ви отримали під час навчання у </a:t>
            </a:r>
            <a:r>
              <a:rPr kumimoji="0" lang="uk-UA" sz="80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проф-техі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, дозволять Вам бути успішними на ринку праці (знайти достойну роботу, отримувати конкурентну зарплату)? Оцініть за шкалою від 1 до 7, де 1 – абсолютно не згодні, 4 – середня оцінка, 7 – повністю згодні.</a:t>
            </a:r>
          </a:p>
          <a:p>
            <a:pPr marL="180340" lvl="0"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8.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Чи маєте Ви роботу, яку поєднуєте з навчанням?</a:t>
            </a:r>
            <a:endParaRPr kumimoji="0" lang="uk-UA" sz="80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8F110E-8AA6-D277-84B2-D8D4AE0BAE62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8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2581EFC3-DDC8-C09B-DCA4-EF26DDC667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816141"/>
              </p:ext>
            </p:extLst>
          </p:nvPr>
        </p:nvGraphicFramePr>
        <p:xfrm>
          <a:off x="1746647" y="4924902"/>
          <a:ext cx="6600942" cy="12019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260904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0048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і, не працюєте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0048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роботу за іншою, непрофільною професіє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2037639"/>
                  </a:ext>
                </a:extLst>
              </a:tr>
              <a:tr h="30048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, роботу за фахо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8393928"/>
                  </a:ext>
                </a:extLst>
              </a:tr>
              <a:tr h="300483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дете влас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91468DCC-2FCE-B659-593E-14E5B1C133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0423806"/>
              </p:ext>
            </p:extLst>
          </p:nvPr>
        </p:nvGraphicFramePr>
        <p:xfrm>
          <a:off x="5803210" y="4881762"/>
          <a:ext cx="2575230" cy="1262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0070B355-A4A1-F1C7-623E-74FD2323F1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2882790"/>
              </p:ext>
            </p:extLst>
          </p:nvPr>
        </p:nvGraphicFramePr>
        <p:xfrm>
          <a:off x="5801034" y="4640390"/>
          <a:ext cx="2686347" cy="281811"/>
        </p:xfrm>
        <a:graphic>
          <a:graphicData uri="http://schemas.openxmlformats.org/drawingml/2006/table">
            <a:tbl>
              <a:tblPr firstRow="1" bandRow="1"/>
              <a:tblGrid>
                <a:gridCol w="2686347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5FC9B55D-18F0-16DC-2A2E-3300B29703AA}"/>
              </a:ext>
            </a:extLst>
          </p:cNvPr>
          <p:cNvSpPr txBox="1">
            <a:spLocks/>
          </p:cNvSpPr>
          <p:nvPr/>
        </p:nvSpPr>
        <p:spPr>
          <a:xfrm>
            <a:off x="1" y="4305898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Наявність роботи, яку поєднують з навчанням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47014D7-71B7-8210-0ECD-E6AF954326A1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Переважна частина (73%) студентів закладів </a:t>
            </a:r>
            <a:r>
              <a:rPr lang="uk-UA" sz="1600" noProof="0" dirty="0" err="1"/>
              <a:t>проф-тех</a:t>
            </a:r>
            <a:r>
              <a:rPr lang="uk-UA" sz="1600" noProof="0" dirty="0"/>
              <a:t> освіти погоджуються, що знання і навички, отримані під час навчання, дозволять їм бути успішними на ринку праці.</a:t>
            </a:r>
          </a:p>
          <a:p>
            <a:r>
              <a:rPr lang="uk-UA" sz="1600" dirty="0"/>
              <a:t>Проте при цьому, лише 7% студентів закладів </a:t>
            </a:r>
            <a:r>
              <a:rPr lang="uk-UA" sz="1600" dirty="0" err="1"/>
              <a:t>проф-тех</a:t>
            </a:r>
            <a:r>
              <a:rPr lang="uk-UA" sz="1600" dirty="0"/>
              <a:t> освіти поєднують навчання із роботою за фахом. Мають роботу, але не за фахом, 11% студентів закладів </a:t>
            </a:r>
            <a:r>
              <a:rPr lang="uk-UA" sz="1600" dirty="0" err="1"/>
              <a:t>проф-тех</a:t>
            </a:r>
            <a:r>
              <a:rPr lang="uk-UA" sz="1600" dirty="0"/>
              <a:t> освіти.</a:t>
            </a:r>
            <a:r>
              <a:rPr lang="uk-UA" sz="1600" noProof="0" dirty="0"/>
              <a:t> 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BDB19E18-DFC4-4F8A-C4FB-5DD2AF6DF3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84022"/>
              </p:ext>
            </p:extLst>
          </p:nvPr>
        </p:nvGraphicFramePr>
        <p:xfrm>
          <a:off x="5751874" y="6098864"/>
          <a:ext cx="2726956" cy="218225"/>
        </p:xfrm>
        <a:graphic>
          <a:graphicData uri="http://schemas.openxmlformats.org/drawingml/2006/table">
            <a:tbl>
              <a:tblPr firstRow="1" bandRow="1"/>
              <a:tblGrid>
                <a:gridCol w="2726956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4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8DAA12F3-1DA4-3EB7-AA40-520412A83D60}"/>
              </a:ext>
            </a:extLst>
          </p:cNvPr>
          <p:cNvSpPr txBox="1"/>
          <p:nvPr/>
        </p:nvSpPr>
        <p:spPr bwMode="gray">
          <a:xfrm>
            <a:off x="1940194" y="4611851"/>
            <a:ext cx="26908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навчаються у коледжі, училищі, іншому професійно-технічному закладі</a:t>
            </a: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2CE308DE-2961-A7EC-0941-AA01740A1C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362363"/>
              </p:ext>
            </p:extLst>
          </p:nvPr>
        </p:nvGraphicFramePr>
        <p:xfrm>
          <a:off x="5774422" y="3826628"/>
          <a:ext cx="2695189" cy="218225"/>
        </p:xfrm>
        <a:graphic>
          <a:graphicData uri="http://schemas.openxmlformats.org/drawingml/2006/table">
            <a:tbl>
              <a:tblPr firstRow="1" bandRow="1"/>
              <a:tblGrid>
                <a:gridCol w="2695189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43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graphicFrame>
        <p:nvGraphicFramePr>
          <p:cNvPr id="13" name="Table 7">
            <a:extLst>
              <a:ext uri="{FF2B5EF4-FFF2-40B4-BE49-F238E27FC236}">
                <a16:creationId xmlns:a16="http://schemas.microsoft.com/office/drawing/2014/main" id="{42B775C7-20F5-0618-89C4-3ABF5F418E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133995"/>
              </p:ext>
            </p:extLst>
          </p:nvPr>
        </p:nvGraphicFramePr>
        <p:xfrm>
          <a:off x="1809137" y="3342367"/>
          <a:ext cx="6892413" cy="4793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82065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2910348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479385">
                <a:tc>
                  <a:txBody>
                    <a:bodyPr/>
                    <a:lstStyle/>
                    <a:p>
                      <a:pPr marL="0" marR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нання і навички, отримані під час навчання у </a:t>
                      </a:r>
                      <a:r>
                        <a:rPr lang="uk-UA" sz="1100" b="0" i="0" u="none" strike="noStrike" kern="1200" cap="non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-техі</a:t>
                      </a:r>
                      <a:r>
                        <a:rPr lang="uk-UA" sz="1100" b="0" i="0" u="none" strike="noStrike" kern="1200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дозволять бути успішними на ринку прац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</a:tbl>
          </a:graphicData>
        </a:graphic>
      </p:graphicFrame>
      <p:graphicFrame>
        <p:nvGraphicFramePr>
          <p:cNvPr id="16" name="Диаграмма 16">
            <a:extLst>
              <a:ext uri="{FF2B5EF4-FFF2-40B4-BE49-F238E27FC236}">
                <a16:creationId xmlns:a16="http://schemas.microsoft.com/office/drawing/2014/main" id="{C9C8ECDD-8CDA-E78D-09BE-A230E547E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5448968"/>
              </p:ext>
            </p:extLst>
          </p:nvPr>
        </p:nvGraphicFramePr>
        <p:xfrm>
          <a:off x="5822865" y="3248993"/>
          <a:ext cx="2603381" cy="630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Table 2">
            <a:extLst>
              <a:ext uri="{FF2B5EF4-FFF2-40B4-BE49-F238E27FC236}">
                <a16:creationId xmlns:a16="http://schemas.microsoft.com/office/drawing/2014/main" id="{9B494883-673A-22F7-3B8C-AA901C3FD6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1164585"/>
              </p:ext>
            </p:extLst>
          </p:nvPr>
        </p:nvGraphicFramePr>
        <p:xfrm>
          <a:off x="5801034" y="3027887"/>
          <a:ext cx="2686346" cy="280800"/>
        </p:xfrm>
        <a:graphic>
          <a:graphicData uri="http://schemas.openxmlformats.org/drawingml/2006/table">
            <a:tbl>
              <a:tblPr firstRow="1" bandRow="1"/>
              <a:tblGrid>
                <a:gridCol w="2686346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</a:tblGrid>
              <a:tr h="280800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20" name="Title 1">
            <a:extLst>
              <a:ext uri="{FF2B5EF4-FFF2-40B4-BE49-F238E27FC236}">
                <a16:creationId xmlns:a16="http://schemas.microsoft.com/office/drawing/2014/main" id="{D36DA3FA-53FA-2CB4-A970-6C80A454E268}"/>
              </a:ext>
            </a:extLst>
          </p:cNvPr>
          <p:cNvSpPr txBox="1">
            <a:spLocks/>
          </p:cNvSpPr>
          <p:nvPr/>
        </p:nvSpPr>
        <p:spPr>
          <a:xfrm>
            <a:off x="1" y="2040164"/>
            <a:ext cx="12192000" cy="68101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Згода з тим, що знання і навички, отриманні під час навчання у закладі </a:t>
            </a:r>
            <a:r>
              <a:rPr lang="uk-UA" sz="1800" b="1" kern="0" noProof="0" dirty="0" err="1">
                <a:solidFill>
                  <a:schemeClr val="accent2">
                    <a:lumMod val="50000"/>
                  </a:schemeClr>
                </a:solidFill>
              </a:rPr>
              <a:t>проф-тех</a:t>
            </a:r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 освіти, </a:t>
            </a:r>
            <a:b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дозволять бути успішними на ринку праці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13B084-FB21-F459-5832-5F94D7DA7D33}"/>
              </a:ext>
            </a:extLst>
          </p:cNvPr>
          <p:cNvSpPr txBox="1"/>
          <p:nvPr/>
        </p:nvSpPr>
        <p:spPr bwMode="gray">
          <a:xfrm>
            <a:off x="1940194" y="2842036"/>
            <a:ext cx="28579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cs typeface="Arial" pitchFamily="34" charset="0"/>
              </a:rPr>
              <a:t>% респондентів, які навчаються у коледжі, училищі, іншому професійно-технічному закладі</a:t>
            </a:r>
          </a:p>
        </p:txBody>
      </p:sp>
      <p:graphicFrame>
        <p:nvGraphicFramePr>
          <p:cNvPr id="27" name="Диаграмма 16">
            <a:extLst>
              <a:ext uri="{FF2B5EF4-FFF2-40B4-BE49-F238E27FC236}">
                <a16:creationId xmlns:a16="http://schemas.microsoft.com/office/drawing/2014/main" id="{D8DB4CF8-D756-4B95-78CC-E81FABE42D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2555882"/>
              </p:ext>
            </p:extLst>
          </p:nvPr>
        </p:nvGraphicFramePr>
        <p:xfrm>
          <a:off x="8414883" y="2702268"/>
          <a:ext cx="3619800" cy="37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89684963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89B86BF-1408-35C0-1DA6-B6EADC27E7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4E639E1-1369-88B0-D0BE-421803DB9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E639E1-1369-88B0-D0BE-421803DB9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B100C5-78F0-C4D4-B5BD-1E9CECD5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631" y="109488"/>
            <a:ext cx="10461523" cy="667262"/>
          </a:xfrm>
        </p:spPr>
        <p:txBody>
          <a:bodyPr vert="horz">
            <a:normAutofit/>
          </a:bodyPr>
          <a:lstStyle/>
          <a:p>
            <a:r>
              <a:rPr lang="uk-UA" sz="2400" noProof="0" dirty="0"/>
              <a:t>Плани після закінчення університету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6CBCD4-FC22-708A-A5F6-EAF5529151E2}"/>
              </a:ext>
            </a:extLst>
          </p:cNvPr>
          <p:cNvSpPr txBox="1"/>
          <p:nvPr/>
        </p:nvSpPr>
        <p:spPr>
          <a:xfrm>
            <a:off x="8976852" y="6620950"/>
            <a:ext cx="277040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3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800" b="1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A29</a:t>
            </a: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. 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Які </a:t>
            </a:r>
            <a:r>
              <a:rPr lang="uk-UA" sz="800" noProof="0" dirty="0">
                <a:solidFill>
                  <a:srgbClr val="585858"/>
                </a:solidFill>
                <a:ea typeface="Times New Roman" panose="02020603050405020304" pitchFamily="18" charset="0"/>
              </a:rPr>
              <a:t>В</a:t>
            </a:r>
            <a:r>
              <a:rPr kumimoji="0" lang="uk-UA" sz="80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аші плани після закінчення університету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B11BB8-1998-71B8-B5C1-F4B1C815B7FE}"/>
              </a:ext>
            </a:extLst>
          </p:cNvPr>
          <p:cNvSpPr txBox="1">
            <a:spLocks/>
          </p:cNvSpPr>
          <p:nvPr/>
        </p:nvSpPr>
        <p:spPr>
          <a:xfrm>
            <a:off x="11668125" y="6496199"/>
            <a:ext cx="431973" cy="264567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100" b="0" i="0" u="none" strike="noStrike" cap="none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BF2717D-4261-4E1E-853A-86121E801194}" type="slidenum">
              <a:rPr kumimoji="0" lang="uk-UA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9</a:t>
            </a:fld>
            <a:endParaRPr kumimoji="0" lang="uk-UA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A29F1C0E-B990-F751-0E8B-FBD55D8882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6739656"/>
              </p:ext>
            </p:extLst>
          </p:nvPr>
        </p:nvGraphicFramePr>
        <p:xfrm>
          <a:off x="39329" y="2821265"/>
          <a:ext cx="12142312" cy="340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1897">
                  <a:extLst>
                    <a:ext uri="{9D8B030D-6E8A-4147-A177-3AD203B41FA5}">
                      <a16:colId xmlns:a16="http://schemas.microsoft.com/office/drawing/2014/main" val="2270719226"/>
                    </a:ext>
                  </a:extLst>
                </a:gridCol>
                <a:gridCol w="8150415">
                  <a:extLst>
                    <a:ext uri="{9D8B030D-6E8A-4147-A177-3AD203B41FA5}">
                      <a16:colId xmlns:a16="http://schemas.microsoft.com/office/drawing/2014/main" val="548369773"/>
                    </a:ext>
                  </a:extLst>
                </a:gridCol>
              </a:tblGrid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найти роботу за отриманим фахом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987043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ити і розвивати власний або сімейний бізнес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2037639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святити себе особистому житт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8393928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довжити навчання в аспірантурі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382557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зяти паузу, щоб визначитись щодо майбутніх планів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39009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найти роботу за іншою, непрофільною професією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757823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їхати за кордон на навчання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844486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їхати за кордон на роботу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362122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uk-UA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жко сказати</a:t>
                      </a:r>
                    </a:p>
                  </a:txBody>
                  <a:tcPr marL="7620" marR="36000" marT="7620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uk-UA" sz="1000" b="0" i="0" u="none" strike="noStrike" noProof="0" dirty="0">
                        <a:solidFill>
                          <a:srgbClr val="0000FF"/>
                        </a:solidFill>
                        <a:effectLst/>
                        <a:latin typeface="+mn-lt"/>
                      </a:endParaRPr>
                    </a:p>
                  </a:txBody>
                  <a:tcPr marL="4634" marR="4634" marT="4634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263842"/>
                  </a:ext>
                </a:extLst>
              </a:tr>
            </a:tbl>
          </a:graphicData>
        </a:graphic>
      </p:graphicFrame>
      <p:graphicFrame>
        <p:nvGraphicFramePr>
          <p:cNvPr id="10" name="Диаграмма 16">
            <a:extLst>
              <a:ext uri="{FF2B5EF4-FFF2-40B4-BE49-F238E27FC236}">
                <a16:creationId xmlns:a16="http://schemas.microsoft.com/office/drawing/2014/main" id="{849A45C6-BE79-CD56-87FF-C642F04DEE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4489474"/>
              </p:ext>
            </p:extLst>
          </p:nvPr>
        </p:nvGraphicFramePr>
        <p:xfrm>
          <a:off x="4043234" y="2739255"/>
          <a:ext cx="1934779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FDFC8F72-05C0-2D62-DD94-178D7ADA96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922991"/>
              </p:ext>
            </p:extLst>
          </p:nvPr>
        </p:nvGraphicFramePr>
        <p:xfrm>
          <a:off x="4041058" y="2536281"/>
          <a:ext cx="8059040" cy="281811"/>
        </p:xfrm>
        <a:graphic>
          <a:graphicData uri="http://schemas.openxmlformats.org/drawingml/2006/table">
            <a:tbl>
              <a:tblPr firstRow="1" bandRow="1"/>
              <a:tblGrid>
                <a:gridCol w="2014760">
                  <a:extLst>
                    <a:ext uri="{9D8B030D-6E8A-4147-A177-3AD203B41FA5}">
                      <a16:colId xmlns:a16="http://schemas.microsoft.com/office/drawing/2014/main" val="906647056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925033554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2150699793"/>
                    </a:ext>
                  </a:extLst>
                </a:gridCol>
                <a:gridCol w="2014760">
                  <a:extLst>
                    <a:ext uri="{9D8B030D-6E8A-4147-A177-3AD203B41FA5}">
                      <a16:colId xmlns:a16="http://schemas.microsoft.com/office/drawing/2014/main" val="1227597487"/>
                    </a:ext>
                  </a:extLst>
                </a:gridCol>
              </a:tblGrid>
              <a:tr h="281811">
                <a:tc>
                  <a:txBody>
                    <a:bodyPr/>
                    <a:lstStyle/>
                    <a:p>
                      <a:pPr algn="l" fontAlgn="b"/>
                      <a:r>
                        <a:rPr lang="uk-UA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-1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a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 роки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b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300" b="0" i="0" u="sng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 років </a:t>
                      </a:r>
                      <a:r>
                        <a:rPr lang="uk-UA" sz="1050" b="0" i="0" u="sng" strike="noStrike" noProof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c)</a:t>
                      </a:r>
                      <a:endParaRPr lang="uk-UA" sz="1200" b="0" i="0" u="sng" strike="noStrike" noProof="0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0929369"/>
                  </a:ext>
                </a:extLst>
              </a:tr>
            </a:tbl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9B76A148-D7D5-2E32-1EE9-2E7B64BA4C9C}"/>
              </a:ext>
            </a:extLst>
          </p:cNvPr>
          <p:cNvSpPr txBox="1">
            <a:spLocks/>
          </p:cNvSpPr>
          <p:nvPr/>
        </p:nvSpPr>
        <p:spPr>
          <a:xfrm>
            <a:off x="1" y="2201789"/>
            <a:ext cx="12192000" cy="35224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3199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uk-UA" sz="1800" b="1" kern="0" noProof="0" dirty="0">
                <a:solidFill>
                  <a:schemeClr val="accent2">
                    <a:lumMod val="50000"/>
                  </a:schemeClr>
                </a:solidFill>
              </a:rPr>
              <a:t>Плани після закінчення університету</a:t>
            </a:r>
          </a:p>
        </p:txBody>
      </p:sp>
      <p:graphicFrame>
        <p:nvGraphicFramePr>
          <p:cNvPr id="28" name="Диаграмма 16">
            <a:extLst>
              <a:ext uri="{FF2B5EF4-FFF2-40B4-BE49-F238E27FC236}">
                <a16:creationId xmlns:a16="http://schemas.microsoft.com/office/drawing/2014/main" id="{71CDE3A3-1DF7-01CA-DE23-028C50DF45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3266889"/>
              </p:ext>
            </p:extLst>
          </p:nvPr>
        </p:nvGraphicFramePr>
        <p:xfrm>
          <a:off x="6077158" y="2742107"/>
          <a:ext cx="1934779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Диаграмма 16">
            <a:extLst>
              <a:ext uri="{FF2B5EF4-FFF2-40B4-BE49-F238E27FC236}">
                <a16:creationId xmlns:a16="http://schemas.microsoft.com/office/drawing/2014/main" id="{A7BAE1DE-8C02-9037-016A-7EFC326391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5918779"/>
              </p:ext>
            </p:extLst>
          </p:nvPr>
        </p:nvGraphicFramePr>
        <p:xfrm>
          <a:off x="8092094" y="2736403"/>
          <a:ext cx="1934779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F948DE9-3CF5-FE1E-C0FD-C6E76FF4A3A2}"/>
              </a:ext>
            </a:extLst>
          </p:cNvPr>
          <p:cNvSpPr txBox="1">
            <a:spLocks/>
          </p:cNvSpPr>
          <p:nvPr/>
        </p:nvSpPr>
        <p:spPr>
          <a:xfrm>
            <a:off x="314631" y="773164"/>
            <a:ext cx="11621201" cy="1199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1600" noProof="0" dirty="0"/>
              <a:t>Серед студентів закладів вищої освіти 53% планують після закінчення навчання знайти роботи за отриманим фахом. Істотна частка – 40% - планує створити і розвивати бізнес. Водночас 27% планують присвятити себе особистому життю, ще 18% - взяти паузу для визначення майбутніх планів. Серед студентів університету є найменший відсоток тих, хто планує виїхати за кордон на навчання або роботу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751357-5CCE-04F9-06AF-FD18BC21AFF5}"/>
              </a:ext>
            </a:extLst>
          </p:cNvPr>
          <p:cNvSpPr txBox="1"/>
          <p:nvPr/>
        </p:nvSpPr>
        <p:spPr>
          <a:xfrm>
            <a:off x="59588" y="6393594"/>
            <a:ext cx="2516463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750" noProof="0" dirty="0">
                <a:solidFill>
                  <a:srgbClr val="C00000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a) (b) (c)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Значимо вище між групами на рівні 90%</a:t>
            </a:r>
          </a:p>
        </p:txBody>
      </p:sp>
      <p:graphicFrame>
        <p:nvGraphicFramePr>
          <p:cNvPr id="18" name="Table 9">
            <a:extLst>
              <a:ext uri="{FF2B5EF4-FFF2-40B4-BE49-F238E27FC236}">
                <a16:creationId xmlns:a16="http://schemas.microsoft.com/office/drawing/2014/main" id="{E5AA09D0-3C84-A068-6957-EF3617A088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057124"/>
              </p:ext>
            </p:extLst>
          </p:nvPr>
        </p:nvGraphicFramePr>
        <p:xfrm>
          <a:off x="4021394" y="6216848"/>
          <a:ext cx="8052620" cy="218225"/>
        </p:xfrm>
        <a:graphic>
          <a:graphicData uri="http://schemas.openxmlformats.org/drawingml/2006/table">
            <a:tbl>
              <a:tblPr firstRow="1" bandRow="1"/>
              <a:tblGrid>
                <a:gridCol w="2013155">
                  <a:extLst>
                    <a:ext uri="{9D8B030D-6E8A-4147-A177-3AD203B41FA5}">
                      <a16:colId xmlns:a16="http://schemas.microsoft.com/office/drawing/2014/main" val="860016155"/>
                    </a:ext>
                  </a:extLst>
                </a:gridCol>
                <a:gridCol w="2013155">
                  <a:extLst>
                    <a:ext uri="{9D8B030D-6E8A-4147-A177-3AD203B41FA5}">
                      <a16:colId xmlns:a16="http://schemas.microsoft.com/office/drawing/2014/main" val="1958929929"/>
                    </a:ext>
                  </a:extLst>
                </a:gridCol>
                <a:gridCol w="2013155">
                  <a:extLst>
                    <a:ext uri="{9D8B030D-6E8A-4147-A177-3AD203B41FA5}">
                      <a16:colId xmlns:a16="http://schemas.microsoft.com/office/drawing/2014/main" val="3831323688"/>
                    </a:ext>
                  </a:extLst>
                </a:gridCol>
                <a:gridCol w="2013155">
                  <a:extLst>
                    <a:ext uri="{9D8B030D-6E8A-4147-A177-3AD203B41FA5}">
                      <a16:colId xmlns:a16="http://schemas.microsoft.com/office/drawing/2014/main" val="459430664"/>
                    </a:ext>
                  </a:extLst>
                </a:gridCol>
              </a:tblGrid>
              <a:tr h="2182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N=56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0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29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N=7</a:t>
                      </a:r>
                      <a:r>
                        <a:rPr kumimoji="0" lang="uk-UA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071643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1FAA0753-4932-4E18-AE45-BC00C362AAFF}"/>
              </a:ext>
            </a:extLst>
          </p:cNvPr>
          <p:cNvSpPr txBox="1"/>
          <p:nvPr/>
        </p:nvSpPr>
        <p:spPr>
          <a:xfrm>
            <a:off x="7116971" y="3290473"/>
            <a:ext cx="32500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  <a:sym typeface="Arial"/>
              </a:rPr>
              <a:t>(b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89ACFA-6424-FC7E-09DE-1917B9499B0B}"/>
              </a:ext>
            </a:extLst>
          </p:cNvPr>
          <p:cNvSpPr txBox="1"/>
          <p:nvPr/>
        </p:nvSpPr>
        <p:spPr>
          <a:xfrm>
            <a:off x="11438268" y="6355698"/>
            <a:ext cx="73449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700" noProof="0" dirty="0">
                <a:solidFill>
                  <a:srgbClr val="FF0000"/>
                </a:solidFill>
              </a:rPr>
              <a:t>*</a:t>
            </a:r>
            <a:r>
              <a:rPr lang="uk-UA" sz="700" noProof="0" dirty="0"/>
              <a:t> </a:t>
            </a:r>
            <a:r>
              <a:rPr lang="uk-UA" sz="750" noProof="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Calibri" panose="020F0502020204030204" pitchFamily="34" charset="0"/>
              </a:rPr>
              <a:t>- мала баз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8CFD6B-F74D-C7B0-8E4D-6612BC513740}"/>
              </a:ext>
            </a:extLst>
          </p:cNvPr>
          <p:cNvSpPr txBox="1"/>
          <p:nvPr/>
        </p:nvSpPr>
        <p:spPr bwMode="gray">
          <a:xfrm>
            <a:off x="180219" y="2537238"/>
            <a:ext cx="2022208" cy="2808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900" i="1" noProof="0" dirty="0">
                <a:solidFill>
                  <a:srgbClr val="8E8581"/>
                </a:solidFill>
                <a:latin typeface="+mj-lt"/>
                <a:cs typeface="Arial" pitchFamily="34" charset="0"/>
              </a:rPr>
              <a:t>% респондентів, які навчаються у закладі вищої освіти (університет)</a:t>
            </a:r>
          </a:p>
        </p:txBody>
      </p:sp>
      <p:graphicFrame>
        <p:nvGraphicFramePr>
          <p:cNvPr id="8" name="Диаграмма 16">
            <a:extLst>
              <a:ext uri="{FF2B5EF4-FFF2-40B4-BE49-F238E27FC236}">
                <a16:creationId xmlns:a16="http://schemas.microsoft.com/office/drawing/2014/main" id="{3BAE46FF-32FB-D63B-C508-DDA9F4FFCA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6539359"/>
              </p:ext>
            </p:extLst>
          </p:nvPr>
        </p:nvGraphicFramePr>
        <p:xfrm>
          <a:off x="10118215" y="2734760"/>
          <a:ext cx="1934779" cy="35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62295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Офіс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Тема Office">
  <a:themeElements>
    <a:clrScheme name="Офі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Офіс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Офіс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  1">
    <a:dk1>
      <a:srgbClr val="2C2C2C"/>
    </a:dk1>
    <a:lt1>
      <a:srgbClr val="FFFFFF"/>
    </a:lt1>
    <a:dk2>
      <a:srgbClr val="979797"/>
    </a:dk2>
    <a:lt2>
      <a:srgbClr val="FFFFFF"/>
    </a:lt2>
    <a:accent1>
      <a:srgbClr val="2B2B2B"/>
    </a:accent1>
    <a:accent2>
      <a:srgbClr val="7F7F7F"/>
    </a:accent2>
    <a:accent3>
      <a:srgbClr val="FFCB24"/>
    </a:accent3>
    <a:accent4>
      <a:srgbClr val="D61150"/>
    </a:accent4>
    <a:accent5>
      <a:srgbClr val="009536"/>
    </a:accent5>
    <a:accent6>
      <a:srgbClr val="0DAEC5"/>
    </a:accent6>
    <a:hlink>
      <a:srgbClr val="2B2B2B"/>
    </a:hlink>
    <a:folHlink>
      <a:srgbClr val="2B2B2B"/>
    </a:folHlink>
  </a:clrScheme>
  <a:fontScheme name="Office 2">
    <a:majorFont>
      <a:latin typeface="Hero New Ultra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Hero New Light"/>
      <a:ea typeface=""/>
      <a:cs typeface=""/>
      <a:font script="Jpan" typeface="ＭＳ Ｐ明朝"/>
      <a:font script="Hang" typeface="맑은 고딕"/>
      <a:font script="Hans" typeface="黑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5dc3172-a1b9-40ae-98dd-f9ec6d52394c" xsi:nil="true"/>
    <lcf76f155ced4ddcb4097134ff3c332f xmlns="78ae87d7-d3f2-48a9-8ef2-89072e6a71d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D2A131E5F1FB14CBF60B1FBFF491AA6" ma:contentTypeVersion="19" ma:contentTypeDescription="Создание документа." ma:contentTypeScope="" ma:versionID="c8987dfab69ba4afe733704574522459">
  <xsd:schema xmlns:xsd="http://www.w3.org/2001/XMLSchema" xmlns:xs="http://www.w3.org/2001/XMLSchema" xmlns:p="http://schemas.microsoft.com/office/2006/metadata/properties" xmlns:ns2="78ae87d7-d3f2-48a9-8ef2-89072e6a71d7" xmlns:ns3="65dc3172-a1b9-40ae-98dd-f9ec6d52394c" targetNamespace="http://schemas.microsoft.com/office/2006/metadata/properties" ma:root="true" ma:fieldsID="5034db9b8fbdf7b80eafcd935b66e390" ns2:_="" ns3:_="">
    <xsd:import namespace="78ae87d7-d3f2-48a9-8ef2-89072e6a71d7"/>
    <xsd:import namespace="65dc3172-a1b9-40ae-98dd-f9ec6d52394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ae87d7-d3f2-48a9-8ef2-89072e6a71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Теги изображений" ma:readOnly="false" ma:fieldId="{5cf76f15-5ced-4ddc-b409-7134ff3c332f}" ma:taxonomyMulti="true" ma:sspId="40b44987-2487-452f-813a-374fdae567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dc3172-a1b9-40ae-98dd-f9ec6d52394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Стовпець для розміщення всіх термінів класифікації" ma:hidden="true" ma:list="{70cc4a2f-ca45-4b5f-a660-0c296dcdabaf}" ma:internalName="TaxCatchAll" ma:showField="CatchAllData" ma:web="65dc3172-a1b9-40ae-98dd-f9ec6d5239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673961-9F97-4732-B6D9-D257BAB1A25A}">
  <ds:schemaRefs>
    <ds:schemaRef ds:uri="http://purl.org/dc/elements/1.1/"/>
    <ds:schemaRef ds:uri="http://schemas.microsoft.com/office/2006/documentManagement/types"/>
    <ds:schemaRef ds:uri="65dc3172-a1b9-40ae-98dd-f9ec6d52394c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78ae87d7-d3f2-48a9-8ef2-89072e6a71d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B03C59E-ED6E-4256-8614-53EA645D4C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3A205F8-09B7-4DB8-A3E6-42F8155635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8ae87d7-d3f2-48a9-8ef2-89072e6a71d7"/>
    <ds:schemaRef ds:uri="65dc3172-a1b9-40ae-98dd-f9ec6d5239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80</TotalTime>
  <Words>28550</Words>
  <Application>Microsoft Office PowerPoint</Application>
  <PresentationFormat>Widescreen</PresentationFormat>
  <Paragraphs>4906</Paragraphs>
  <Slides>110</Slides>
  <Notes>37</Notes>
  <HiddenSlides>52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0</vt:i4>
      </vt:variant>
    </vt:vector>
  </HeadingPairs>
  <TitlesOfParts>
    <vt:vector size="118" baseType="lpstr">
      <vt:lpstr>Aptos</vt:lpstr>
      <vt:lpstr>Aptos Display</vt:lpstr>
      <vt:lpstr>Arial</vt:lpstr>
      <vt:lpstr>Calibri</vt:lpstr>
      <vt:lpstr>Times New Roman</vt:lpstr>
      <vt:lpstr>Тема Office</vt:lpstr>
      <vt:lpstr>1_Тема Office</vt:lpstr>
      <vt:lpstr>think-cell Slide</vt:lpstr>
      <vt:lpstr>Дослідження молоді Вінницької МТГ  Звіт за результатами кількісного опитування 602 мешканців Вінницької МТГ у віці 14-35 років</vt:lpstr>
      <vt:lpstr>Довідка про дослідження</vt:lpstr>
      <vt:lpstr>Довідка про дослідження</vt:lpstr>
      <vt:lpstr>Демографічна інформація про опитаних</vt:lpstr>
      <vt:lpstr>Розподіл опитаних за місцем проживання та статтю</vt:lpstr>
      <vt:lpstr>Історія проживання у Вінницькій МТГ</vt:lpstr>
      <vt:lpstr>Наявність дітей до 16-ти років та сімейний статус</vt:lpstr>
      <vt:lpstr>Розподіл опитаних за статусом зайнятості</vt:lpstr>
      <vt:lpstr>Розподіл осіб, які НЕ працюють і не шукають роботу</vt:lpstr>
      <vt:lpstr>Розподіл осіб, які працюють за наймом чи ведуть бізнес, за галуззю</vt:lpstr>
      <vt:lpstr>Розподіл опитаних за ступенем освіти</vt:lpstr>
      <vt:lpstr>Життєві цінності і пріоритети</vt:lpstr>
      <vt:lpstr>Аналіз життєвих цінностей молоді</vt:lpstr>
      <vt:lpstr>Життєві цінності</vt:lpstr>
      <vt:lpstr>Відмінності між цінностями різних вікових груп</vt:lpstr>
      <vt:lpstr>Належність до спільнот</vt:lpstr>
      <vt:lpstr>Цілі на наступні кілька років</vt:lpstr>
      <vt:lpstr>Активізм і прагнення проявити себе є більше актуальним для молоді 14-24 роки. Після 25 років набувають важливості цілі фінансової стабільності і безпеки задля створення сім’ї</vt:lpstr>
      <vt:lpstr>Можливість реалізації у місті Вінниця</vt:lpstr>
      <vt:lpstr>Можливість досягти цілей у місті Вінниця</vt:lpstr>
      <vt:lpstr>Матриця важливості цілей та можливості їх досягнення у Вінниці</vt:lpstr>
      <vt:lpstr>Цільовий індекс сприйняття Вінниці</vt:lpstr>
      <vt:lpstr>Цільове сприйняття міста Вінниця</vt:lpstr>
      <vt:lpstr>Сприйняття міста</vt:lpstr>
      <vt:lpstr>Переваги міста Вінниця </vt:lpstr>
      <vt:lpstr>Недоліки міста Вінниця</vt:lpstr>
      <vt:lpstr>Візія міста Вінниця очима молоді</vt:lpstr>
      <vt:lpstr>Бачення майбутнього розвитку Вінниці</vt:lpstr>
      <vt:lpstr>Ознаки позитивного розвитку Вінниці </vt:lpstr>
      <vt:lpstr>Ознаки негативного напрямку розвитку міста Вінниця</vt:lpstr>
      <vt:lpstr>Бачення ідеального міста</vt:lpstr>
      <vt:lpstr>Бачення ідеального міста</vt:lpstr>
      <vt:lpstr>Наміри виїхати з міста Вінниця</vt:lpstr>
      <vt:lpstr>Переїзд у інше місто України</vt:lpstr>
      <vt:lpstr>Причини переїзду у інше місто України</vt:lpstr>
      <vt:lpstr>Місто України, куди хотіли б переїхати</vt:lpstr>
      <vt:lpstr>Переїзд за кордон</vt:lpstr>
      <vt:lpstr>Причини переїзду за кордон</vt:lpstr>
      <vt:lpstr>Спонукання повернутись у Вінницю після життя у іншому місті або країні</vt:lpstr>
      <vt:lpstr>Причини наміру залишатися у Вінниці</vt:lpstr>
      <vt:lpstr>Аналіз груп молоді за намірами виїзду в інше місто або за кордон</vt:lpstr>
      <vt:lpstr>Найбільша частина – 44% - не планує переїзд до іншого міста або за кордон</vt:lpstr>
      <vt:lpstr>Наміри переїзду в інше місто: розподіл за віком і статтю</vt:lpstr>
      <vt:lpstr>Наміри переїзду за кордон: розподіл за віком і статтю</vt:lpstr>
      <vt:lpstr>Наміри переїзду в інше місто: розподіл за тривалістю проживання у Вінниці</vt:lpstr>
      <vt:lpstr>Наміри переїзду за кордон: розподіл за тривалістю проживання у Вінниці</vt:lpstr>
      <vt:lpstr>Наміри переїзду в інше місто: розподіл за наявністю дітей та сімейним статусом</vt:lpstr>
      <vt:lpstr>Наміри переїзду за кордон: розподіл за наявністю дітей та сімейним статусом</vt:lpstr>
      <vt:lpstr>Наміри переїзду в інше місто: розподіл за статусом зайнятості</vt:lpstr>
      <vt:lpstr>Наміри переїзду за кордон: розподіл за статусом зайнятості</vt:lpstr>
      <vt:lpstr>Наміри переїзду в інше місто: розподіл за освітнім ступенем</vt:lpstr>
      <vt:lpstr>Наміри переїзду за кордон: розподіл за освітнім ступенем</vt:lpstr>
      <vt:lpstr>Життєві цінності і пріоритети</vt:lpstr>
      <vt:lpstr>Наміри переїзду в інше місто: розподіл за життєвими цінностями</vt:lpstr>
      <vt:lpstr>Відмінності цінностей між групами за намірами переїзду в інше місто</vt:lpstr>
      <vt:lpstr>Наміри переїзду за кордон: розподіл за життєвими цінностями</vt:lpstr>
      <vt:lpstr>Відмінності цінностей між групами за намірами переїзду за кордон</vt:lpstr>
      <vt:lpstr>Наміри переїзду в інше місто: розподіл за належністю до спільнот</vt:lpstr>
      <vt:lpstr>Наміри переїзду за кордон: розподіл за належністю до спільнот</vt:lpstr>
      <vt:lpstr>Наміри переїзду в інше місто: розподіл за цілями на наступні кілька років</vt:lpstr>
      <vt:lpstr>Наміри переїзду в інше місто: вираженість цілей на наступні кілька років</vt:lpstr>
      <vt:lpstr>Наміри переїзду за кордон: розподіл за цілями на наступні кілька років</vt:lpstr>
      <vt:lpstr>Наміри переїзду за кордон: вираженість за цілями на наступні кілька років</vt:lpstr>
      <vt:lpstr>Можливість реалізації у місті Вінниця</vt:lpstr>
      <vt:lpstr>Наміри переїзду в інше місто: розподіл за оцінкою можливостей досягти цілей у місті Вінниця</vt:lpstr>
      <vt:lpstr>Наміри переїзду в інше місто: вираженість за оцінкою можливостей досягти цілей у місті Вінниця</vt:lpstr>
      <vt:lpstr>Наміри переїзду за кордон: розподіл за оцінкою можливостей досягти цілей у місті Вінниця</vt:lpstr>
      <vt:lpstr>Наміри переїзду за кордон: вираженість за оцінкою можливостей досягти цілей у місті Вінниця</vt:lpstr>
      <vt:lpstr>Порівняння важливості цілей і можливостей їх досягти у Вінниці</vt:lpstr>
      <vt:lpstr>Порівняння важливості цілей і можливостей їх досягти у Вінниці</vt:lpstr>
      <vt:lpstr>Порівняння важливості цілей і можливостей їх досягти у Вінниці</vt:lpstr>
      <vt:lpstr>Порівняння важливості цілей і можливостей їх досягти у Вінниці</vt:lpstr>
      <vt:lpstr>Порівняння важливості цілей і можливостей їх досягти у Вінниці</vt:lpstr>
      <vt:lpstr>Порівняння важливості цілей і можливостей їх досягти у Вінниці</vt:lpstr>
      <vt:lpstr>Цільовий індекс сприйняття Вінниці</vt:lpstr>
      <vt:lpstr>Наміри переїзду в інше місто та лояльність до Вінниці</vt:lpstr>
      <vt:lpstr>Наміри переїзду за кордон та лояльність до Вінниці</vt:lpstr>
      <vt:lpstr>Сприйняття міста</vt:lpstr>
      <vt:lpstr>Наміри переїзду до іншого міста та оцінка переваг Вінниці</vt:lpstr>
      <vt:lpstr>Наміри переїзду за кордон та оцінка переваг Вінниці</vt:lpstr>
      <vt:lpstr>Наміри переїзду до іншого міста та недоліки міста Вінниця</vt:lpstr>
      <vt:lpstr>Наміри переїзду за кордон та недоліки міста Вінниця</vt:lpstr>
      <vt:lpstr>Наміри переїзду в інше місто і сприйняття візії міста</vt:lpstr>
      <vt:lpstr>Наміри переїзду за кордон і сприйняття візії міста</vt:lpstr>
      <vt:lpstr>Наміри переїзду в інше місто та бачення розвитку Вінниці</vt:lpstr>
      <vt:lpstr>Наміри переїзду в інше місто та ознаки позитивного розвитку Вінниці</vt:lpstr>
      <vt:lpstr>Наміри переїзду в інше місто та ознаки негативної динаміки Вінниці</vt:lpstr>
      <vt:lpstr>Наміри переїзду за кордон та бачення розвитку Вінниці</vt:lpstr>
      <vt:lpstr>Наміри переїзду за кордон та ознаки позитивного розвитку Вінниці</vt:lpstr>
      <vt:lpstr>Наміри переїзду за кордон та ознаки негативної динаміки Вінниці</vt:lpstr>
      <vt:lpstr>Критерії ідеального міста</vt:lpstr>
      <vt:lpstr>Наміри переїзду в інше місто та критерії ідеального міста</vt:lpstr>
      <vt:lpstr>Наміри переїзду за кордон та критерії ідеального міста</vt:lpstr>
      <vt:lpstr>Освіта і працевлаштування</vt:lpstr>
      <vt:lpstr>Навички та вміння</vt:lpstr>
      <vt:lpstr>Плани після закінчення середньої школи</vt:lpstr>
      <vt:lpstr>Плани після закінчення коледжу, училища</vt:lpstr>
      <vt:lpstr>Сприйняття якості проф-тех освіти</vt:lpstr>
      <vt:lpstr>Плани після закінчення університету</vt:lpstr>
      <vt:lpstr>Сприйняття якості вищої освіти</vt:lpstr>
      <vt:lpstr>Дозвілля і саморозвиток</vt:lpstr>
      <vt:lpstr>Дозвілля</vt:lpstr>
      <vt:lpstr>Саморозвиток</vt:lpstr>
      <vt:lpstr>Створення  і розвиток бізнесу</vt:lpstr>
      <vt:lpstr>Очікувані види підтримки для ведення бізнесу</vt:lpstr>
      <vt:lpstr>Очікування від міської влади</vt:lpstr>
      <vt:lpstr>Очікування від міської влади</vt:lpstr>
      <vt:lpstr>Висновки</vt:lpstr>
      <vt:lpstr>Висновки</vt:lpstr>
      <vt:lpstr>Висновки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ina Demianenko</dc:creator>
  <cp:lastModifiedBy>Tetiana Sytnyk</cp:lastModifiedBy>
  <cp:revision>4</cp:revision>
  <dcterms:created xsi:type="dcterms:W3CDTF">2024-09-13T11:52:56Z</dcterms:created>
  <dcterms:modified xsi:type="dcterms:W3CDTF">2025-07-25T13:0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2A131E5F1FB14CBF60B1FBFF491AA6</vt:lpwstr>
  </property>
  <property fmtid="{D5CDD505-2E9C-101B-9397-08002B2CF9AE}" pid="3" name="MediaServiceImageTags">
    <vt:lpwstr/>
  </property>
</Properties>
</file>